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0" r:id="rId4"/>
    <p:sldMasterId id="2147483814" r:id="rId5"/>
  </p:sldMasterIdLst>
  <p:notesMasterIdLst>
    <p:notesMasterId r:id="rId25"/>
  </p:notesMasterIdLst>
  <p:handoutMasterIdLst>
    <p:handoutMasterId r:id="rId26"/>
  </p:handoutMasterIdLst>
  <p:sldIdLst>
    <p:sldId id="275" r:id="rId6"/>
    <p:sldId id="316" r:id="rId7"/>
    <p:sldId id="437" r:id="rId8"/>
    <p:sldId id="328" r:id="rId9"/>
    <p:sldId id="2147376815" r:id="rId10"/>
    <p:sldId id="2147376819" r:id="rId11"/>
    <p:sldId id="319" r:id="rId12"/>
    <p:sldId id="298" r:id="rId13"/>
    <p:sldId id="321" r:id="rId14"/>
    <p:sldId id="2147376857" r:id="rId15"/>
    <p:sldId id="2147376858" r:id="rId16"/>
    <p:sldId id="2147376859" r:id="rId17"/>
    <p:sldId id="2147376860" r:id="rId18"/>
    <p:sldId id="2147376861" r:id="rId19"/>
    <p:sldId id="2147376827" r:id="rId20"/>
    <p:sldId id="2147376862" r:id="rId21"/>
    <p:sldId id="2147376863" r:id="rId22"/>
    <p:sldId id="2147376813" r:id="rId23"/>
    <p:sldId id="309" r:id="rId24"/>
  </p:sldIdLst>
  <p:sldSz cx="12190413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29">
          <p15:clr>
            <a:srgbClr val="A4A3A4"/>
          </p15:clr>
        </p15:guide>
        <p15:guide id="3" pos="234">
          <p15:clr>
            <a:srgbClr val="A4A3A4"/>
          </p15:clr>
        </p15:guide>
        <p15:guide id="4" pos="7444">
          <p15:clr>
            <a:srgbClr val="A4A3A4"/>
          </p15:clr>
        </p15:guide>
        <p15:guide id="5" pos="3976" userDrawn="1">
          <p15:clr>
            <a:srgbClr val="A4A3A4"/>
          </p15:clr>
        </p15:guide>
        <p15:guide id="6" pos="3725">
          <p15:clr>
            <a:srgbClr val="A4A3A4"/>
          </p15:clr>
        </p15:guide>
        <p15:guide id="9" orient="horz" pos="527" userDrawn="1">
          <p15:clr>
            <a:srgbClr val="A4A3A4"/>
          </p15:clr>
        </p15:guide>
        <p15:guide id="10" orient="horz" pos="10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1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51" autoAdjust="0"/>
    <p:restoredTop sz="95214" autoAdjust="0"/>
  </p:normalViewPr>
  <p:slideViewPr>
    <p:cSldViewPr snapToGrid="0" snapToObjects="1">
      <p:cViewPr varScale="1">
        <p:scale>
          <a:sx n="86" d="100"/>
          <a:sy n="86" d="100"/>
        </p:scale>
        <p:origin x="715" y="58"/>
      </p:cViewPr>
      <p:guideLst>
        <p:guide orient="horz" pos="3929"/>
        <p:guide pos="234"/>
        <p:guide pos="7444"/>
        <p:guide pos="3976"/>
        <p:guide pos="3725"/>
        <p:guide orient="horz" pos="527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757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828" y="-78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63898511264144E-2"/>
          <c:y val="2.5529644510208938E-2"/>
          <c:w val="0.96948574080899919"/>
          <c:h val="0.88202472555085265"/>
        </c:manualLayout>
      </c:layout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msatz</c:v>
                </c:pt>
              </c:strCache>
            </c:strRef>
          </c:tx>
          <c:spPr>
            <a:solidFill>
              <a:srgbClr val="00469B"/>
            </a:solidFill>
            <a:ln w="9525" cap="flat" cmpd="sng" algn="ctr">
              <a:noFill/>
              <a:round/>
            </a:ln>
            <a:effectLst/>
          </c:spPr>
          <c:cat>
            <c:numRef>
              <c:f>Tabelle1!$A$2:$A$26</c:f>
              <c:numCache>
                <c:formatCode>General</c:formatCode>
                <c:ptCount val="25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</c:numCache>
            </c:numRef>
          </c:cat>
          <c:val>
            <c:numRef>
              <c:f>Tabelle1!$B$2:$B$26</c:f>
              <c:numCache>
                <c:formatCode>General</c:formatCode>
                <c:ptCount val="25"/>
                <c:pt idx="0">
                  <c:v>0.4</c:v>
                </c:pt>
                <c:pt idx="1">
                  <c:v>0.6</c:v>
                </c:pt>
                <c:pt idx="2">
                  <c:v>0.8</c:v>
                </c:pt>
                <c:pt idx="3">
                  <c:v>1</c:v>
                </c:pt>
                <c:pt idx="4">
                  <c:v>1.2</c:v>
                </c:pt>
                <c:pt idx="5">
                  <c:v>1.4</c:v>
                </c:pt>
                <c:pt idx="6">
                  <c:v>1.6</c:v>
                </c:pt>
                <c:pt idx="7">
                  <c:v>1.8</c:v>
                </c:pt>
                <c:pt idx="8">
                  <c:v>2</c:v>
                </c:pt>
                <c:pt idx="9">
                  <c:v>2.6</c:v>
                </c:pt>
                <c:pt idx="10">
                  <c:v>3.1</c:v>
                </c:pt>
                <c:pt idx="11">
                  <c:v>2.6</c:v>
                </c:pt>
                <c:pt idx="12">
                  <c:v>3</c:v>
                </c:pt>
                <c:pt idx="13">
                  <c:v>3.3</c:v>
                </c:pt>
                <c:pt idx="14">
                  <c:v>4</c:v>
                </c:pt>
                <c:pt idx="15">
                  <c:v>4.0999999999999996</c:v>
                </c:pt>
                <c:pt idx="16">
                  <c:v>4.2</c:v>
                </c:pt>
                <c:pt idx="17">
                  <c:v>4.5999999999999996</c:v>
                </c:pt>
                <c:pt idx="18">
                  <c:v>4.8</c:v>
                </c:pt>
                <c:pt idx="19">
                  <c:v>4.8</c:v>
                </c:pt>
                <c:pt idx="20">
                  <c:v>5.0999999999999996</c:v>
                </c:pt>
                <c:pt idx="21" formatCode="#,##0">
                  <c:v>5.5</c:v>
                </c:pt>
                <c:pt idx="22">
                  <c:v>5.4</c:v>
                </c:pt>
                <c:pt idx="23">
                  <c:v>7</c:v>
                </c:pt>
                <c:pt idx="24">
                  <c:v>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10-4D7C-8373-7064CC09E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8542952"/>
        <c:axId val="708545304"/>
      </c:areaChart>
      <c:catAx>
        <c:axId val="708542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>
                <a:solidFill>
                  <a:srgbClr val="505050"/>
                </a:solidFill>
              </a:defRPr>
            </a:pPr>
            <a:endParaRPr lang="ru-RU"/>
          </a:p>
        </c:txPr>
        <c:crossAx val="708545304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708545304"/>
        <c:scaling>
          <c:orientation val="minMax"/>
          <c:max val="1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8542952"/>
        <c:crosses val="autoZero"/>
        <c:crossBetween val="midCat"/>
        <c:majorUnit val="1000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59-4F58-8F78-F78588CB14D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59-4F58-8F78-F78588CB14D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D59-4F58-8F78-F78588CB14DF}"/>
              </c:ext>
            </c:extLst>
          </c:dPt>
          <c:cat>
            <c:strRef>
              <c:f>Sheet1!$A$2:$A$4</c:f>
              <c:strCache>
                <c:ptCount val="3"/>
                <c:pt idx="0">
                  <c:v>Road</c:v>
                </c:pt>
                <c:pt idx="1">
                  <c:v>Rail</c:v>
                </c:pt>
                <c:pt idx="2">
                  <c:v>Intermod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</c:v>
                </c:pt>
                <c:pt idx="1">
                  <c:v>11</c:v>
                </c:pt>
                <c:pt idx="2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D59-4F58-8F78-F78588CB14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3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69004-F1DF-4891-9299-96CAE2121B8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D9747-5360-4567-993C-04C16E602D12}" type="datetimeFigureOut">
              <a:rPr lang="en-US" smtClean="0"/>
              <a:t>9/11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2088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F4E3E-28F2-4A78-BF32-7779338ECFA8}" type="datetimeFigureOut">
              <a:rPr lang="en-US" smtClean="0"/>
              <a:t>9/11/2023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 bwMode="gray"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113931-A432-43F3-B4D2-A35186D79A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417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12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432000" indent="-144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13931-A432-43F3-B4D2-A35186D79AD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210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sz="1200" b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DB6C28-C224-40DE-B77E-0671EC91CF3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93427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1" dirty="0"/>
              <a:t>Anmerkung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dirty="0"/>
              <a:t>Wenn vorhanden, bitte die Zahl der Kunden weltweit hier nennen. Alternativen: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dirty="0"/>
              <a:t>Umsatz 5,5 Mrd. Euro (wie zuvor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dirty="0"/>
              <a:t>Zahl der einzelnen Rhenus Einheit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dirty="0"/>
              <a:t>Wenn vorhanden, bitte auch die genaue Zahl der Länder nennen (Angabe war „mehr als 50“). Sonst Länderangabe streichen.</a:t>
            </a:r>
          </a:p>
          <a:p>
            <a:pPr algn="l"/>
            <a:endParaRPr lang="de-DE" b="1" dirty="0"/>
          </a:p>
          <a:p>
            <a:pPr marL="171450" indent="-171450" algn="l">
              <a:buFontTx/>
              <a:buChar char="-"/>
            </a:pPr>
            <a:endParaRPr lang="de-DE" b="0" dirty="0"/>
          </a:p>
          <a:p>
            <a:pPr algn="l"/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DB6C28-C224-40DE-B77E-0671EC91CF3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56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113931-A432-43F3-B4D2-A35186D79AD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487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113931-A432-43F3-B4D2-A35186D79AD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775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DB6C28-C224-40DE-B77E-0671EC91CF3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249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E8A5A-B07A-45B3-899E-7583D09913A8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7571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/>
            <a:ahLst/>
            <a:cxnLst/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lnTo>
                  <a:pt x="12192000" y="4346489"/>
                </a:lnTo>
                <a:lnTo>
                  <a:pt x="11112000" y="5426489"/>
                </a:lnTo>
                <a:lnTo>
                  <a:pt x="0" y="542648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3" name="Titel 42"/>
          <p:cNvSpPr>
            <a:spLocks noGrp="1"/>
          </p:cNvSpPr>
          <p:nvPr>
            <p:ph type="ctrTitle"/>
          </p:nvPr>
        </p:nvSpPr>
        <p:spPr bwMode="gray">
          <a:xfrm>
            <a:off x="1" y="4038601"/>
            <a:ext cx="8509000" cy="1600199"/>
          </a:xfrm>
          <a:custGeom>
            <a:avLst/>
            <a:gdLst>
              <a:gd name="connsiteX0" fmla="*/ 0 w 8509000"/>
              <a:gd name="connsiteY0" fmla="*/ 0 h 1600199"/>
              <a:gd name="connsiteX1" fmla="*/ 8509000 w 8509000"/>
              <a:gd name="connsiteY1" fmla="*/ 0 h 1600199"/>
              <a:gd name="connsiteX2" fmla="*/ 8509000 w 8509000"/>
              <a:gd name="connsiteY2" fmla="*/ 39 h 1600199"/>
              <a:gd name="connsiteX3" fmla="*/ 6908840 w 8509000"/>
              <a:gd name="connsiteY3" fmla="*/ 1600199 h 1600199"/>
              <a:gd name="connsiteX4" fmla="*/ 0 w 8509000"/>
              <a:gd name="connsiteY4" fmla="*/ 1600199 h 160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9000" h="1600199">
                <a:moveTo>
                  <a:pt x="0" y="0"/>
                </a:moveTo>
                <a:lnTo>
                  <a:pt x="8509000" y="0"/>
                </a:lnTo>
                <a:lnTo>
                  <a:pt x="8509000" y="39"/>
                </a:lnTo>
                <a:lnTo>
                  <a:pt x="6908840" y="1600199"/>
                </a:lnTo>
                <a:lnTo>
                  <a:pt x="0" y="160019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31200" rIns="1440000" bIns="72000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43AE4E83-6612-49EF-803C-B646A73BE75D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47664" y="4949133"/>
            <a:ext cx="6480000" cy="39096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9pPr>
          </a:lstStyle>
          <a:p>
            <a:pPr lvl="8"/>
            <a:r>
              <a:rPr lang="de-DE"/>
              <a:t>Formatvorlage des Untertitelmasters durch Klicken bearbeiten</a:t>
            </a:r>
            <a:endParaRPr lang="de-DE" dirty="0"/>
          </a:p>
        </p:txBody>
      </p:sp>
      <p:grpSp>
        <p:nvGrpSpPr>
          <p:cNvPr id="7" name="Gruppieren 6"/>
          <p:cNvGrpSpPr/>
          <p:nvPr/>
        </p:nvGrpSpPr>
        <p:grpSpPr bwMode="gray">
          <a:xfrm>
            <a:off x="-381778" y="756197"/>
            <a:ext cx="355089" cy="5529012"/>
            <a:chOff x="-381778" y="756197"/>
            <a:chExt cx="355089" cy="5529012"/>
          </a:xfrm>
        </p:grpSpPr>
        <p:cxnSp>
          <p:nvCxnSpPr>
            <p:cNvPr id="41" name="Gerade Verbindung 40"/>
            <p:cNvCxnSpPr/>
            <p:nvPr userDrawn="1"/>
          </p:nvCxnSpPr>
          <p:spPr bwMode="gray">
            <a:xfrm>
              <a:off x="-98689" y="1697832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hteck 41"/>
            <p:cNvSpPr/>
            <p:nvPr userDrawn="1"/>
          </p:nvSpPr>
          <p:spPr bwMode="gray">
            <a:xfrm>
              <a:off x="-381778" y="1644404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de-DE" sz="600" dirty="0">
                  <a:solidFill>
                    <a:schemeClr val="accent2"/>
                  </a:solidFill>
                </a:rPr>
                <a:t>4,80</a:t>
              </a:r>
            </a:p>
          </p:txBody>
        </p:sp>
        <p:cxnSp>
          <p:nvCxnSpPr>
            <p:cNvPr id="44" name="Gerade Verbindung 43"/>
            <p:cNvCxnSpPr/>
            <p:nvPr userDrawn="1"/>
          </p:nvCxnSpPr>
          <p:spPr bwMode="gray">
            <a:xfrm>
              <a:off x="-98689" y="6230637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/>
            <p:cNvSpPr/>
            <p:nvPr userDrawn="1"/>
          </p:nvSpPr>
          <p:spPr bwMode="gray">
            <a:xfrm>
              <a:off x="-381778" y="6177209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de-DE" sz="600" dirty="0">
                  <a:solidFill>
                    <a:schemeClr val="accent2"/>
                  </a:solidFill>
                </a:rPr>
                <a:t>7,80</a:t>
              </a:r>
            </a:p>
          </p:txBody>
        </p:sp>
        <p:cxnSp>
          <p:nvCxnSpPr>
            <p:cNvPr id="46" name="Gerade Verbindung 45"/>
            <p:cNvCxnSpPr/>
            <p:nvPr userDrawn="1"/>
          </p:nvCxnSpPr>
          <p:spPr bwMode="gray">
            <a:xfrm>
              <a:off x="-98689" y="809625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hteck 46"/>
            <p:cNvSpPr/>
            <p:nvPr userDrawn="1"/>
          </p:nvSpPr>
          <p:spPr bwMode="gray">
            <a:xfrm>
              <a:off x="-381778" y="756197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de-DE" sz="600" dirty="0">
                  <a:solidFill>
                    <a:schemeClr val="accent2"/>
                  </a:solidFill>
                </a:rPr>
                <a:t>7,28</a:t>
              </a:r>
            </a:p>
          </p:txBody>
        </p:sp>
      </p:grpSp>
      <p:grpSp>
        <p:nvGrpSpPr>
          <p:cNvPr id="2" name="Gruppieren 1"/>
          <p:cNvGrpSpPr/>
          <p:nvPr/>
        </p:nvGrpSpPr>
        <p:grpSpPr bwMode="gray">
          <a:xfrm>
            <a:off x="245475" y="-233733"/>
            <a:ext cx="11696637" cy="207062"/>
            <a:chOff x="245475" y="-233733"/>
            <a:chExt cx="11696637" cy="207062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333094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hteck 48"/>
            <p:cNvSpPr/>
            <p:nvPr userDrawn="1"/>
          </p:nvSpPr>
          <p:spPr bwMode="gray">
            <a:xfrm>
              <a:off x="245475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de-DE" sz="600" dirty="0">
                  <a:solidFill>
                    <a:schemeClr val="accent2"/>
                  </a:solidFill>
                </a:rPr>
                <a:t>15,90</a:t>
              </a:r>
            </a:p>
          </p:txBody>
        </p: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5870694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hteck 50"/>
            <p:cNvSpPr/>
            <p:nvPr userDrawn="1"/>
          </p:nvSpPr>
          <p:spPr bwMode="gray">
            <a:xfrm>
              <a:off x="5783075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de-DE" sz="600" dirty="0">
                  <a:solidFill>
                    <a:schemeClr val="accent2"/>
                  </a:solidFill>
                </a:rPr>
                <a:t>0,50</a:t>
              </a:r>
            </a:p>
          </p:txBody>
        </p: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6235785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 userDrawn="1"/>
          </p:nvSpPr>
          <p:spPr bwMode="gray">
            <a:xfrm>
              <a:off x="6148166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de-DE" sz="600" dirty="0">
                  <a:solidFill>
                    <a:schemeClr val="accent2"/>
                  </a:solidFill>
                </a:rPr>
                <a:t>0,50</a:t>
              </a:r>
            </a:p>
          </p:txBody>
        </p: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11777731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 userDrawn="1"/>
          </p:nvSpPr>
          <p:spPr bwMode="gray">
            <a:xfrm>
              <a:off x="11690112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de-DE" sz="600" dirty="0">
                  <a:solidFill>
                    <a:schemeClr val="accent2"/>
                  </a:solidFill>
                </a:rPr>
                <a:t>15,90</a:t>
              </a:r>
            </a:p>
          </p:txBody>
        </p:sp>
      </p:grpSp>
      <p:grpSp>
        <p:nvGrpSpPr>
          <p:cNvPr id="94" name="Group 20">
            <a:extLst>
              <a:ext uri="{FF2B5EF4-FFF2-40B4-BE49-F238E27FC236}">
                <a16:creationId xmlns:a16="http://schemas.microsoft.com/office/drawing/2014/main" id="{6BE67EA3-40EF-4985-834E-73B0493542E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D0372DCE-5CBB-4E48-934F-056A6776A55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9A8FF9BA-7799-4315-B920-DC70467168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54F16012-1309-4439-88B5-44B87B4D4D3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C3ED595B-D698-47A5-ADCF-F462CBD260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03593398-D513-4691-9629-9FA8A912CD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0" name="Freeform 10">
              <a:extLst>
                <a:ext uri="{FF2B5EF4-FFF2-40B4-BE49-F238E27FC236}">
                  <a16:creationId xmlns:a16="http://schemas.microsoft.com/office/drawing/2014/main" id="{F503F265-0D69-440C-B232-7AA6C4920D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1" name="Freeform 11">
              <a:extLst>
                <a:ext uri="{FF2B5EF4-FFF2-40B4-BE49-F238E27FC236}">
                  <a16:creationId xmlns:a16="http://schemas.microsoft.com/office/drawing/2014/main" id="{DF5ECADE-FE56-4563-A432-91ACA7AA86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2" name="Freeform 12">
              <a:extLst>
                <a:ext uri="{FF2B5EF4-FFF2-40B4-BE49-F238E27FC236}">
                  <a16:creationId xmlns:a16="http://schemas.microsoft.com/office/drawing/2014/main" id="{88F9FFC0-BD38-44FE-9E6F-185FCD5C63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id="{F92C4C4D-97B4-442F-8D48-D3A312BFFDB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4" name="Freeform 14">
              <a:extLst>
                <a:ext uri="{FF2B5EF4-FFF2-40B4-BE49-F238E27FC236}">
                  <a16:creationId xmlns:a16="http://schemas.microsoft.com/office/drawing/2014/main" id="{911183DF-26AF-43D3-9536-A82402FE51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5" name="Freeform 15">
              <a:extLst>
                <a:ext uri="{FF2B5EF4-FFF2-40B4-BE49-F238E27FC236}">
                  <a16:creationId xmlns:a16="http://schemas.microsoft.com/office/drawing/2014/main" id="{7E33E84B-8B57-48D9-8988-A7E679EEAA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6" name="Freeform 16">
              <a:extLst>
                <a:ext uri="{FF2B5EF4-FFF2-40B4-BE49-F238E27FC236}">
                  <a16:creationId xmlns:a16="http://schemas.microsoft.com/office/drawing/2014/main" id="{32686718-1C66-40AD-9157-5A82724E43C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7" name="Rectangle 17">
              <a:extLst>
                <a:ext uri="{FF2B5EF4-FFF2-40B4-BE49-F238E27FC236}">
                  <a16:creationId xmlns:a16="http://schemas.microsoft.com/office/drawing/2014/main" id="{FECA8965-F7D7-44C0-AEE3-254E9E8CC30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2CA755E5-1200-4564-9170-D7315456C7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09" name="Rectangle 19">
              <a:extLst>
                <a:ext uri="{FF2B5EF4-FFF2-40B4-BE49-F238E27FC236}">
                  <a16:creationId xmlns:a16="http://schemas.microsoft.com/office/drawing/2014/main" id="{DC691761-E587-4532-8C4C-6B143F3DCA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10" name="Freeform 20">
              <a:extLst>
                <a:ext uri="{FF2B5EF4-FFF2-40B4-BE49-F238E27FC236}">
                  <a16:creationId xmlns:a16="http://schemas.microsoft.com/office/drawing/2014/main" id="{EDD8CA4C-EF67-46AF-A0A1-6F7C3A7C2D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11" name="Freeform 21">
              <a:extLst>
                <a:ext uri="{FF2B5EF4-FFF2-40B4-BE49-F238E27FC236}">
                  <a16:creationId xmlns:a16="http://schemas.microsoft.com/office/drawing/2014/main" id="{C924B37D-A8DE-44ED-A85C-CD4A1BACB8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112" name="Freeform 22">
              <a:extLst>
                <a:ext uri="{FF2B5EF4-FFF2-40B4-BE49-F238E27FC236}">
                  <a16:creationId xmlns:a16="http://schemas.microsoft.com/office/drawing/2014/main" id="{DCAF3227-9D2D-416B-AA5A-19EA5710BB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</p:grpSp>
      <p:sp>
        <p:nvSpPr>
          <p:cNvPr id="56" name="Freeform 6"/>
          <p:cNvSpPr>
            <a:spLocks noChangeAspect="1" noEditPoints="1"/>
          </p:cNvSpPr>
          <p:nvPr/>
        </p:nvSpPr>
        <p:spPr bwMode="gray">
          <a:xfrm>
            <a:off x="371475" y="465599"/>
            <a:ext cx="1735200" cy="153386"/>
          </a:xfrm>
          <a:custGeom>
            <a:avLst/>
            <a:gdLst>
              <a:gd name="T0" fmla="*/ 946 w 26146"/>
              <a:gd name="T1" fmla="*/ 922 h 2648"/>
              <a:gd name="T2" fmla="*/ 376 w 26146"/>
              <a:gd name="T3" fmla="*/ 464 h 2648"/>
              <a:gd name="T4" fmla="*/ 220 w 26146"/>
              <a:gd name="T5" fmla="*/ 337 h 2648"/>
              <a:gd name="T6" fmla="*/ 2805 w 26146"/>
              <a:gd name="T7" fmla="*/ 1253 h 2648"/>
              <a:gd name="T8" fmla="*/ 2932 w 26146"/>
              <a:gd name="T9" fmla="*/ 1266 h 2648"/>
              <a:gd name="T10" fmla="*/ 3851 w 26146"/>
              <a:gd name="T11" fmla="*/ 1025 h 2648"/>
              <a:gd name="T12" fmla="*/ 3725 w 26146"/>
              <a:gd name="T13" fmla="*/ 1299 h 2648"/>
              <a:gd name="T14" fmla="*/ 2863 w 26146"/>
              <a:gd name="T15" fmla="*/ 2581 h 2648"/>
              <a:gd name="T16" fmla="*/ 3732 w 26146"/>
              <a:gd name="T17" fmla="*/ 1611 h 2648"/>
              <a:gd name="T18" fmla="*/ 3998 w 26146"/>
              <a:gd name="T19" fmla="*/ 1053 h 2648"/>
              <a:gd name="T20" fmla="*/ 4826 w 26146"/>
              <a:gd name="T21" fmla="*/ 1660 h 2648"/>
              <a:gd name="T22" fmla="*/ 4639 w 26146"/>
              <a:gd name="T23" fmla="*/ 1358 h 2648"/>
              <a:gd name="T24" fmla="*/ 6094 w 26146"/>
              <a:gd name="T25" fmla="*/ 639 h 2648"/>
              <a:gd name="T26" fmla="*/ 5658 w 26146"/>
              <a:gd name="T27" fmla="*/ 1632 h 2648"/>
              <a:gd name="T28" fmla="*/ 5667 w 26146"/>
              <a:gd name="T29" fmla="*/ 834 h 2648"/>
              <a:gd name="T30" fmla="*/ 5840 w 26146"/>
              <a:gd name="T31" fmla="*/ 692 h 2648"/>
              <a:gd name="T32" fmla="*/ 7554 w 26146"/>
              <a:gd name="T33" fmla="*/ 1825 h 2648"/>
              <a:gd name="T34" fmla="*/ 6494 w 26146"/>
              <a:gd name="T35" fmla="*/ 1735 h 2648"/>
              <a:gd name="T36" fmla="*/ 7405 w 26146"/>
              <a:gd name="T37" fmla="*/ 241 h 2648"/>
              <a:gd name="T38" fmla="*/ 8398 w 26146"/>
              <a:gd name="T39" fmla="*/ 1060 h 2648"/>
              <a:gd name="T40" fmla="*/ 8250 w 26146"/>
              <a:gd name="T41" fmla="*/ 995 h 2648"/>
              <a:gd name="T42" fmla="*/ 8280 w 26146"/>
              <a:gd name="T43" fmla="*/ 1591 h 2648"/>
              <a:gd name="T44" fmla="*/ 9105 w 26146"/>
              <a:gd name="T45" fmla="*/ 1499 h 2648"/>
              <a:gd name="T46" fmla="*/ 9650 w 26146"/>
              <a:gd name="T47" fmla="*/ 968 h 2648"/>
              <a:gd name="T48" fmla="*/ 11818 w 26146"/>
              <a:gd name="T49" fmla="*/ 1526 h 2648"/>
              <a:gd name="T50" fmla="*/ 11402 w 26146"/>
              <a:gd name="T51" fmla="*/ 1356 h 2648"/>
              <a:gd name="T52" fmla="*/ 12066 w 26146"/>
              <a:gd name="T53" fmla="*/ 1227 h 2648"/>
              <a:gd name="T54" fmla="*/ 12797 w 26146"/>
              <a:gd name="T55" fmla="*/ 906 h 2648"/>
              <a:gd name="T56" fmla="*/ 13451 w 26146"/>
              <a:gd name="T57" fmla="*/ 287 h 2648"/>
              <a:gd name="T58" fmla="*/ 13171 w 26146"/>
              <a:gd name="T59" fmla="*/ 1600 h 2648"/>
              <a:gd name="T60" fmla="*/ 13420 w 26146"/>
              <a:gd name="T61" fmla="*/ 1034 h 2648"/>
              <a:gd name="T62" fmla="*/ 14516 w 26146"/>
              <a:gd name="T63" fmla="*/ 807 h 2648"/>
              <a:gd name="T64" fmla="*/ 13748 w 26146"/>
              <a:gd name="T65" fmla="*/ 1499 h 2648"/>
              <a:gd name="T66" fmla="*/ 13891 w 26146"/>
              <a:gd name="T67" fmla="*/ 747 h 2648"/>
              <a:gd name="T68" fmla="*/ 16249 w 26146"/>
              <a:gd name="T69" fmla="*/ 986 h 2648"/>
              <a:gd name="T70" fmla="*/ 16063 w 26146"/>
              <a:gd name="T71" fmla="*/ 991 h 2648"/>
              <a:gd name="T72" fmla="*/ 15610 w 26146"/>
              <a:gd name="T73" fmla="*/ 437 h 2648"/>
              <a:gd name="T74" fmla="*/ 16249 w 26146"/>
              <a:gd name="T75" fmla="*/ 986 h 2648"/>
              <a:gd name="T76" fmla="*/ 17897 w 26146"/>
              <a:gd name="T77" fmla="*/ 1126 h 2648"/>
              <a:gd name="T78" fmla="*/ 17718 w 26146"/>
              <a:gd name="T79" fmla="*/ 1402 h 2648"/>
              <a:gd name="T80" fmla="*/ 17789 w 26146"/>
              <a:gd name="T81" fmla="*/ 1080 h 2648"/>
              <a:gd name="T82" fmla="*/ 18658 w 26146"/>
              <a:gd name="T83" fmla="*/ 200 h 2648"/>
              <a:gd name="T84" fmla="*/ 19984 w 26146"/>
              <a:gd name="T85" fmla="*/ 1733 h 2648"/>
              <a:gd name="T86" fmla="*/ 19908 w 26146"/>
              <a:gd name="T87" fmla="*/ 938 h 2648"/>
              <a:gd name="T88" fmla="*/ 19687 w 26146"/>
              <a:gd name="T89" fmla="*/ 1202 h 2648"/>
              <a:gd name="T90" fmla="*/ 19044 w 26146"/>
              <a:gd name="T91" fmla="*/ 1708 h 2648"/>
              <a:gd name="T92" fmla="*/ 19745 w 26146"/>
              <a:gd name="T93" fmla="*/ 1496 h 2648"/>
              <a:gd name="T94" fmla="*/ 21193 w 26146"/>
              <a:gd name="T95" fmla="*/ 1287 h 2648"/>
              <a:gd name="T96" fmla="*/ 20770 w 26146"/>
              <a:gd name="T97" fmla="*/ 1554 h 2648"/>
              <a:gd name="T98" fmla="*/ 21358 w 26146"/>
              <a:gd name="T99" fmla="*/ 595 h 2648"/>
              <a:gd name="T100" fmla="*/ 21869 w 26146"/>
              <a:gd name="T101" fmla="*/ 1758 h 2648"/>
              <a:gd name="T102" fmla="*/ 22324 w 26146"/>
              <a:gd name="T103" fmla="*/ 1172 h 2648"/>
              <a:gd name="T104" fmla="*/ 23333 w 26146"/>
              <a:gd name="T105" fmla="*/ 485 h 2648"/>
              <a:gd name="T106" fmla="*/ 23098 w 26146"/>
              <a:gd name="T107" fmla="*/ 1400 h 2648"/>
              <a:gd name="T108" fmla="*/ 23034 w 26146"/>
              <a:gd name="T109" fmla="*/ 1099 h 2648"/>
              <a:gd name="T110" fmla="*/ 24043 w 26146"/>
              <a:gd name="T111" fmla="*/ 1597 h 2648"/>
              <a:gd name="T112" fmla="*/ 24427 w 26146"/>
              <a:gd name="T113" fmla="*/ 890 h 2648"/>
              <a:gd name="T114" fmla="*/ 25859 w 26146"/>
              <a:gd name="T115" fmla="*/ 1726 h 2648"/>
              <a:gd name="T116" fmla="*/ 24976 w 26146"/>
              <a:gd name="T117" fmla="*/ 1696 h 2648"/>
              <a:gd name="T118" fmla="*/ 25560 w 26146"/>
              <a:gd name="T119" fmla="*/ 903 h 2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146" h="2648">
                <a:moveTo>
                  <a:pt x="2265" y="67"/>
                </a:moveTo>
                <a:cubicBezTo>
                  <a:pt x="2221" y="185"/>
                  <a:pt x="2124" y="244"/>
                  <a:pt x="1976" y="244"/>
                </a:cubicBezTo>
                <a:lnTo>
                  <a:pt x="2019" y="156"/>
                </a:lnTo>
                <a:cubicBezTo>
                  <a:pt x="1981" y="146"/>
                  <a:pt x="1937" y="140"/>
                  <a:pt x="1888" y="140"/>
                </a:cubicBezTo>
                <a:cubicBezTo>
                  <a:pt x="1813" y="140"/>
                  <a:pt x="1691" y="157"/>
                  <a:pt x="1523" y="191"/>
                </a:cubicBezTo>
                <a:cubicBezTo>
                  <a:pt x="1345" y="226"/>
                  <a:pt x="1229" y="258"/>
                  <a:pt x="1176" y="287"/>
                </a:cubicBezTo>
                <a:lnTo>
                  <a:pt x="1063" y="650"/>
                </a:lnTo>
                <a:cubicBezTo>
                  <a:pt x="1028" y="762"/>
                  <a:pt x="989" y="853"/>
                  <a:pt x="946" y="922"/>
                </a:cubicBezTo>
                <a:cubicBezTo>
                  <a:pt x="903" y="991"/>
                  <a:pt x="825" y="1118"/>
                  <a:pt x="711" y="1303"/>
                </a:cubicBezTo>
                <a:cubicBezTo>
                  <a:pt x="626" y="1443"/>
                  <a:pt x="564" y="1580"/>
                  <a:pt x="528" y="1715"/>
                </a:cubicBezTo>
                <a:lnTo>
                  <a:pt x="353" y="1676"/>
                </a:lnTo>
                <a:cubicBezTo>
                  <a:pt x="365" y="1604"/>
                  <a:pt x="424" y="1487"/>
                  <a:pt x="530" y="1326"/>
                </a:cubicBezTo>
                <a:cubicBezTo>
                  <a:pt x="675" y="1103"/>
                  <a:pt x="770" y="949"/>
                  <a:pt x="813" y="867"/>
                </a:cubicBezTo>
                <a:cubicBezTo>
                  <a:pt x="911" y="672"/>
                  <a:pt x="960" y="493"/>
                  <a:pt x="960" y="331"/>
                </a:cubicBezTo>
                <a:lnTo>
                  <a:pt x="948" y="340"/>
                </a:lnTo>
                <a:lnTo>
                  <a:pt x="376" y="464"/>
                </a:lnTo>
                <a:cubicBezTo>
                  <a:pt x="285" y="503"/>
                  <a:pt x="196" y="540"/>
                  <a:pt x="107" y="577"/>
                </a:cubicBezTo>
                <a:cubicBezTo>
                  <a:pt x="73" y="577"/>
                  <a:pt x="46" y="562"/>
                  <a:pt x="25" y="533"/>
                </a:cubicBezTo>
                <a:cubicBezTo>
                  <a:pt x="9" y="510"/>
                  <a:pt x="0" y="485"/>
                  <a:pt x="0" y="459"/>
                </a:cubicBezTo>
                <a:lnTo>
                  <a:pt x="0" y="455"/>
                </a:lnTo>
                <a:cubicBezTo>
                  <a:pt x="0" y="450"/>
                  <a:pt x="0" y="445"/>
                  <a:pt x="1" y="439"/>
                </a:cubicBezTo>
                <a:lnTo>
                  <a:pt x="43" y="359"/>
                </a:lnTo>
                <a:cubicBezTo>
                  <a:pt x="87" y="342"/>
                  <a:pt x="125" y="333"/>
                  <a:pt x="158" y="333"/>
                </a:cubicBezTo>
                <a:cubicBezTo>
                  <a:pt x="171" y="333"/>
                  <a:pt x="192" y="334"/>
                  <a:pt x="220" y="337"/>
                </a:cubicBezTo>
                <a:cubicBezTo>
                  <a:pt x="247" y="339"/>
                  <a:pt x="268" y="340"/>
                  <a:pt x="282" y="340"/>
                </a:cubicBezTo>
                <a:cubicBezTo>
                  <a:pt x="467" y="340"/>
                  <a:pt x="676" y="311"/>
                  <a:pt x="909" y="253"/>
                </a:cubicBezTo>
                <a:cubicBezTo>
                  <a:pt x="1047" y="216"/>
                  <a:pt x="1253" y="162"/>
                  <a:pt x="1527" y="90"/>
                </a:cubicBezTo>
                <a:cubicBezTo>
                  <a:pt x="1760" y="30"/>
                  <a:pt x="1960" y="0"/>
                  <a:pt x="2127" y="0"/>
                </a:cubicBezTo>
                <a:lnTo>
                  <a:pt x="2129" y="0"/>
                </a:lnTo>
                <a:cubicBezTo>
                  <a:pt x="2168" y="0"/>
                  <a:pt x="2194" y="3"/>
                  <a:pt x="2208" y="9"/>
                </a:cubicBezTo>
                <a:cubicBezTo>
                  <a:pt x="2222" y="15"/>
                  <a:pt x="2241" y="34"/>
                  <a:pt x="2265" y="67"/>
                </a:cubicBezTo>
                <a:close/>
                <a:moveTo>
                  <a:pt x="2805" y="1253"/>
                </a:moveTo>
                <a:cubicBezTo>
                  <a:pt x="2805" y="1178"/>
                  <a:pt x="2767" y="1121"/>
                  <a:pt x="2690" y="1083"/>
                </a:cubicBezTo>
                <a:cubicBezTo>
                  <a:pt x="2629" y="1052"/>
                  <a:pt x="2557" y="1037"/>
                  <a:pt x="2474" y="1037"/>
                </a:cubicBezTo>
                <a:cubicBezTo>
                  <a:pt x="2336" y="1037"/>
                  <a:pt x="2193" y="1075"/>
                  <a:pt x="2045" y="1152"/>
                </a:cubicBezTo>
                <a:cubicBezTo>
                  <a:pt x="1888" y="1230"/>
                  <a:pt x="1776" y="1325"/>
                  <a:pt x="1709" y="1439"/>
                </a:cubicBezTo>
                <a:cubicBezTo>
                  <a:pt x="1813" y="1545"/>
                  <a:pt x="1938" y="1597"/>
                  <a:pt x="2084" y="1597"/>
                </a:cubicBezTo>
                <a:cubicBezTo>
                  <a:pt x="2223" y="1597"/>
                  <a:pt x="2366" y="1572"/>
                  <a:pt x="2513" y="1522"/>
                </a:cubicBezTo>
                <a:cubicBezTo>
                  <a:pt x="2708" y="1454"/>
                  <a:pt x="2805" y="1365"/>
                  <a:pt x="2805" y="1253"/>
                </a:cubicBezTo>
                <a:close/>
                <a:moveTo>
                  <a:pt x="2932" y="1266"/>
                </a:moveTo>
                <a:cubicBezTo>
                  <a:pt x="2932" y="1411"/>
                  <a:pt x="2828" y="1523"/>
                  <a:pt x="2619" y="1604"/>
                </a:cubicBezTo>
                <a:cubicBezTo>
                  <a:pt x="2461" y="1666"/>
                  <a:pt x="2295" y="1696"/>
                  <a:pt x="2120" y="1696"/>
                </a:cubicBezTo>
                <a:cubicBezTo>
                  <a:pt x="1754" y="1696"/>
                  <a:pt x="1571" y="1606"/>
                  <a:pt x="1571" y="1425"/>
                </a:cubicBezTo>
                <a:cubicBezTo>
                  <a:pt x="1571" y="1296"/>
                  <a:pt x="1691" y="1171"/>
                  <a:pt x="1930" y="1050"/>
                </a:cubicBezTo>
                <a:cubicBezTo>
                  <a:pt x="2143" y="943"/>
                  <a:pt x="2322" y="890"/>
                  <a:pt x="2467" y="890"/>
                </a:cubicBezTo>
                <a:cubicBezTo>
                  <a:pt x="2596" y="890"/>
                  <a:pt x="2703" y="919"/>
                  <a:pt x="2787" y="979"/>
                </a:cubicBezTo>
                <a:cubicBezTo>
                  <a:pt x="2884" y="1047"/>
                  <a:pt x="2932" y="1142"/>
                  <a:pt x="2932" y="1266"/>
                </a:cubicBezTo>
                <a:close/>
                <a:moveTo>
                  <a:pt x="3851" y="1025"/>
                </a:moveTo>
                <a:cubicBezTo>
                  <a:pt x="3851" y="975"/>
                  <a:pt x="3804" y="949"/>
                  <a:pt x="3711" y="949"/>
                </a:cubicBezTo>
                <a:cubicBezTo>
                  <a:pt x="3613" y="949"/>
                  <a:pt x="3503" y="991"/>
                  <a:pt x="3382" y="1073"/>
                </a:cubicBezTo>
                <a:cubicBezTo>
                  <a:pt x="3249" y="1164"/>
                  <a:pt x="3182" y="1256"/>
                  <a:pt x="3182" y="1349"/>
                </a:cubicBezTo>
                <a:cubicBezTo>
                  <a:pt x="3182" y="1452"/>
                  <a:pt x="3283" y="1503"/>
                  <a:pt x="3483" y="1503"/>
                </a:cubicBezTo>
                <a:cubicBezTo>
                  <a:pt x="3535" y="1503"/>
                  <a:pt x="3587" y="1496"/>
                  <a:pt x="3637" y="1480"/>
                </a:cubicBezTo>
                <a:cubicBezTo>
                  <a:pt x="3709" y="1459"/>
                  <a:pt x="3745" y="1428"/>
                  <a:pt x="3745" y="1388"/>
                </a:cubicBezTo>
                <a:cubicBezTo>
                  <a:pt x="3745" y="1378"/>
                  <a:pt x="3742" y="1362"/>
                  <a:pt x="3735" y="1342"/>
                </a:cubicBezTo>
                <a:cubicBezTo>
                  <a:pt x="3728" y="1322"/>
                  <a:pt x="3725" y="1308"/>
                  <a:pt x="3725" y="1299"/>
                </a:cubicBezTo>
                <a:cubicBezTo>
                  <a:pt x="3725" y="1280"/>
                  <a:pt x="3753" y="1224"/>
                  <a:pt x="3810" y="1131"/>
                </a:cubicBezTo>
                <a:cubicBezTo>
                  <a:pt x="3837" y="1086"/>
                  <a:pt x="3851" y="1051"/>
                  <a:pt x="3851" y="1025"/>
                </a:cubicBezTo>
                <a:close/>
                <a:moveTo>
                  <a:pt x="3998" y="1053"/>
                </a:moveTo>
                <a:cubicBezTo>
                  <a:pt x="3998" y="1086"/>
                  <a:pt x="3982" y="1145"/>
                  <a:pt x="3950" y="1227"/>
                </a:cubicBezTo>
                <a:cubicBezTo>
                  <a:pt x="3935" y="1267"/>
                  <a:pt x="3927" y="1299"/>
                  <a:pt x="3927" y="1322"/>
                </a:cubicBezTo>
                <a:cubicBezTo>
                  <a:pt x="3927" y="1555"/>
                  <a:pt x="3912" y="1748"/>
                  <a:pt x="3883" y="1903"/>
                </a:cubicBezTo>
                <a:cubicBezTo>
                  <a:pt x="3791" y="2400"/>
                  <a:pt x="3545" y="2648"/>
                  <a:pt x="3143" y="2648"/>
                </a:cubicBezTo>
                <a:cubicBezTo>
                  <a:pt x="3071" y="2648"/>
                  <a:pt x="2978" y="2626"/>
                  <a:pt x="2863" y="2581"/>
                </a:cubicBezTo>
                <a:cubicBezTo>
                  <a:pt x="2725" y="2529"/>
                  <a:pt x="2656" y="2473"/>
                  <a:pt x="2656" y="2413"/>
                </a:cubicBezTo>
                <a:cubicBezTo>
                  <a:pt x="2656" y="2400"/>
                  <a:pt x="2663" y="2372"/>
                  <a:pt x="2677" y="2331"/>
                </a:cubicBezTo>
                <a:lnTo>
                  <a:pt x="2700" y="2331"/>
                </a:lnTo>
                <a:cubicBezTo>
                  <a:pt x="2739" y="2375"/>
                  <a:pt x="2807" y="2420"/>
                  <a:pt x="2902" y="2464"/>
                </a:cubicBezTo>
                <a:cubicBezTo>
                  <a:pt x="2997" y="2508"/>
                  <a:pt x="3073" y="2531"/>
                  <a:pt x="3129" y="2531"/>
                </a:cubicBezTo>
                <a:cubicBezTo>
                  <a:pt x="3315" y="2531"/>
                  <a:pt x="3470" y="2442"/>
                  <a:pt x="3594" y="2264"/>
                </a:cubicBezTo>
                <a:cubicBezTo>
                  <a:pt x="3704" y="2105"/>
                  <a:pt x="3759" y="1927"/>
                  <a:pt x="3759" y="1731"/>
                </a:cubicBezTo>
                <a:cubicBezTo>
                  <a:pt x="3759" y="1683"/>
                  <a:pt x="3750" y="1643"/>
                  <a:pt x="3732" y="1611"/>
                </a:cubicBezTo>
                <a:cubicBezTo>
                  <a:pt x="3701" y="1599"/>
                  <a:pt x="3677" y="1593"/>
                  <a:pt x="3660" y="1593"/>
                </a:cubicBezTo>
                <a:cubicBezTo>
                  <a:pt x="3651" y="1593"/>
                  <a:pt x="3635" y="1596"/>
                  <a:pt x="3612" y="1602"/>
                </a:cubicBezTo>
                <a:cubicBezTo>
                  <a:pt x="3589" y="1608"/>
                  <a:pt x="3571" y="1611"/>
                  <a:pt x="3559" y="1611"/>
                </a:cubicBezTo>
                <a:cubicBezTo>
                  <a:pt x="3411" y="1611"/>
                  <a:pt x="3302" y="1603"/>
                  <a:pt x="3233" y="1586"/>
                </a:cubicBezTo>
                <a:cubicBezTo>
                  <a:pt x="3095" y="1552"/>
                  <a:pt x="3026" y="1483"/>
                  <a:pt x="3026" y="1379"/>
                </a:cubicBezTo>
                <a:cubicBezTo>
                  <a:pt x="3026" y="1232"/>
                  <a:pt x="3110" y="1101"/>
                  <a:pt x="3279" y="986"/>
                </a:cubicBezTo>
                <a:cubicBezTo>
                  <a:pt x="3434" y="880"/>
                  <a:pt x="3587" y="827"/>
                  <a:pt x="3739" y="827"/>
                </a:cubicBezTo>
                <a:cubicBezTo>
                  <a:pt x="3912" y="827"/>
                  <a:pt x="3998" y="903"/>
                  <a:pt x="3998" y="1053"/>
                </a:cubicBezTo>
                <a:close/>
                <a:moveTo>
                  <a:pt x="4915" y="1103"/>
                </a:moveTo>
                <a:cubicBezTo>
                  <a:pt x="4869" y="1054"/>
                  <a:pt x="4813" y="1030"/>
                  <a:pt x="4748" y="1030"/>
                </a:cubicBezTo>
                <a:cubicBezTo>
                  <a:pt x="4700" y="1030"/>
                  <a:pt x="4657" y="1040"/>
                  <a:pt x="4619" y="1060"/>
                </a:cubicBezTo>
                <a:cubicBezTo>
                  <a:pt x="4617" y="1061"/>
                  <a:pt x="4578" y="1083"/>
                  <a:pt x="4502" y="1124"/>
                </a:cubicBezTo>
                <a:cubicBezTo>
                  <a:pt x="4548" y="1198"/>
                  <a:pt x="4610" y="1234"/>
                  <a:pt x="4690" y="1234"/>
                </a:cubicBezTo>
                <a:cubicBezTo>
                  <a:pt x="4780" y="1234"/>
                  <a:pt x="4856" y="1191"/>
                  <a:pt x="4915" y="1103"/>
                </a:cubicBezTo>
                <a:close/>
                <a:moveTo>
                  <a:pt x="5152" y="1545"/>
                </a:moveTo>
                <a:cubicBezTo>
                  <a:pt x="5106" y="1595"/>
                  <a:pt x="4997" y="1633"/>
                  <a:pt x="4826" y="1660"/>
                </a:cubicBezTo>
                <a:cubicBezTo>
                  <a:pt x="4705" y="1678"/>
                  <a:pt x="4581" y="1687"/>
                  <a:pt x="4456" y="1687"/>
                </a:cubicBezTo>
                <a:cubicBezTo>
                  <a:pt x="4197" y="1687"/>
                  <a:pt x="4067" y="1613"/>
                  <a:pt x="4067" y="1464"/>
                </a:cubicBezTo>
                <a:cubicBezTo>
                  <a:pt x="4067" y="1282"/>
                  <a:pt x="4202" y="1126"/>
                  <a:pt x="4472" y="995"/>
                </a:cubicBezTo>
                <a:cubicBezTo>
                  <a:pt x="4565" y="949"/>
                  <a:pt x="4662" y="912"/>
                  <a:pt x="4764" y="883"/>
                </a:cubicBezTo>
                <a:cubicBezTo>
                  <a:pt x="4862" y="906"/>
                  <a:pt x="4927" y="922"/>
                  <a:pt x="4959" y="933"/>
                </a:cubicBezTo>
                <a:cubicBezTo>
                  <a:pt x="5028" y="956"/>
                  <a:pt x="5062" y="1014"/>
                  <a:pt x="5062" y="1106"/>
                </a:cubicBezTo>
                <a:cubicBezTo>
                  <a:pt x="5062" y="1187"/>
                  <a:pt x="5010" y="1251"/>
                  <a:pt x="4906" y="1299"/>
                </a:cubicBezTo>
                <a:cubicBezTo>
                  <a:pt x="4819" y="1339"/>
                  <a:pt x="4730" y="1358"/>
                  <a:pt x="4639" y="1358"/>
                </a:cubicBezTo>
                <a:cubicBezTo>
                  <a:pt x="4499" y="1358"/>
                  <a:pt x="4397" y="1337"/>
                  <a:pt x="4336" y="1294"/>
                </a:cubicBezTo>
                <a:cubicBezTo>
                  <a:pt x="4259" y="1331"/>
                  <a:pt x="4221" y="1378"/>
                  <a:pt x="4221" y="1437"/>
                </a:cubicBezTo>
                <a:cubicBezTo>
                  <a:pt x="4221" y="1539"/>
                  <a:pt x="4315" y="1591"/>
                  <a:pt x="4502" y="1591"/>
                </a:cubicBezTo>
                <a:cubicBezTo>
                  <a:pt x="4571" y="1591"/>
                  <a:pt x="4651" y="1586"/>
                  <a:pt x="4743" y="1577"/>
                </a:cubicBezTo>
                <a:cubicBezTo>
                  <a:pt x="4959" y="1555"/>
                  <a:pt x="5095" y="1545"/>
                  <a:pt x="5152" y="1545"/>
                </a:cubicBezTo>
                <a:close/>
                <a:moveTo>
                  <a:pt x="6274" y="315"/>
                </a:moveTo>
                <a:cubicBezTo>
                  <a:pt x="6274" y="353"/>
                  <a:pt x="6261" y="396"/>
                  <a:pt x="6235" y="444"/>
                </a:cubicBezTo>
                <a:cubicBezTo>
                  <a:pt x="6224" y="464"/>
                  <a:pt x="6177" y="529"/>
                  <a:pt x="6094" y="639"/>
                </a:cubicBezTo>
                <a:cubicBezTo>
                  <a:pt x="6133" y="665"/>
                  <a:pt x="6172" y="690"/>
                  <a:pt x="6212" y="715"/>
                </a:cubicBezTo>
                <a:cubicBezTo>
                  <a:pt x="6255" y="750"/>
                  <a:pt x="6274" y="790"/>
                  <a:pt x="6269" y="834"/>
                </a:cubicBezTo>
                <a:lnTo>
                  <a:pt x="6267" y="860"/>
                </a:lnTo>
                <a:cubicBezTo>
                  <a:pt x="6265" y="860"/>
                  <a:pt x="6230" y="849"/>
                  <a:pt x="6161" y="827"/>
                </a:cubicBezTo>
                <a:cubicBezTo>
                  <a:pt x="6117" y="814"/>
                  <a:pt x="6082" y="807"/>
                  <a:pt x="6058" y="807"/>
                </a:cubicBezTo>
                <a:cubicBezTo>
                  <a:pt x="5973" y="807"/>
                  <a:pt x="5852" y="895"/>
                  <a:pt x="5693" y="1072"/>
                </a:cubicBezTo>
                <a:cubicBezTo>
                  <a:pt x="5535" y="1249"/>
                  <a:pt x="5455" y="1381"/>
                  <a:pt x="5455" y="1469"/>
                </a:cubicBezTo>
                <a:cubicBezTo>
                  <a:pt x="5455" y="1544"/>
                  <a:pt x="5523" y="1598"/>
                  <a:pt x="5658" y="1632"/>
                </a:cubicBezTo>
                <a:cubicBezTo>
                  <a:pt x="5744" y="1653"/>
                  <a:pt x="5840" y="1664"/>
                  <a:pt x="5947" y="1664"/>
                </a:cubicBezTo>
                <a:cubicBezTo>
                  <a:pt x="5989" y="1664"/>
                  <a:pt x="6031" y="1661"/>
                  <a:pt x="6074" y="1655"/>
                </a:cubicBezTo>
                <a:cubicBezTo>
                  <a:pt x="6072" y="1663"/>
                  <a:pt x="6079" y="1676"/>
                  <a:pt x="6094" y="1696"/>
                </a:cubicBezTo>
                <a:cubicBezTo>
                  <a:pt x="5998" y="1733"/>
                  <a:pt x="5902" y="1751"/>
                  <a:pt x="5807" y="1751"/>
                </a:cubicBezTo>
                <a:cubicBezTo>
                  <a:pt x="5462" y="1751"/>
                  <a:pt x="5290" y="1667"/>
                  <a:pt x="5290" y="1499"/>
                </a:cubicBezTo>
                <a:cubicBezTo>
                  <a:pt x="5290" y="1399"/>
                  <a:pt x="5377" y="1253"/>
                  <a:pt x="5550" y="1060"/>
                </a:cubicBezTo>
                <a:lnTo>
                  <a:pt x="5747" y="839"/>
                </a:lnTo>
                <a:lnTo>
                  <a:pt x="5667" y="834"/>
                </a:lnTo>
                <a:cubicBezTo>
                  <a:pt x="5633" y="833"/>
                  <a:pt x="5588" y="842"/>
                  <a:pt x="5531" y="862"/>
                </a:cubicBezTo>
                <a:cubicBezTo>
                  <a:pt x="5419" y="902"/>
                  <a:pt x="5354" y="922"/>
                  <a:pt x="5334" y="922"/>
                </a:cubicBezTo>
                <a:cubicBezTo>
                  <a:pt x="5308" y="922"/>
                  <a:pt x="5283" y="914"/>
                  <a:pt x="5261" y="898"/>
                </a:cubicBezTo>
                <a:cubicBezTo>
                  <a:pt x="5239" y="881"/>
                  <a:pt x="5228" y="861"/>
                  <a:pt x="5228" y="837"/>
                </a:cubicBezTo>
                <a:cubicBezTo>
                  <a:pt x="5228" y="777"/>
                  <a:pt x="5296" y="747"/>
                  <a:pt x="5432" y="747"/>
                </a:cubicBezTo>
                <a:cubicBezTo>
                  <a:pt x="5446" y="747"/>
                  <a:pt x="5466" y="748"/>
                  <a:pt x="5492" y="749"/>
                </a:cubicBezTo>
                <a:cubicBezTo>
                  <a:pt x="5518" y="751"/>
                  <a:pt x="5538" y="752"/>
                  <a:pt x="5552" y="752"/>
                </a:cubicBezTo>
                <a:cubicBezTo>
                  <a:pt x="5668" y="752"/>
                  <a:pt x="5765" y="732"/>
                  <a:pt x="5840" y="692"/>
                </a:cubicBezTo>
                <a:cubicBezTo>
                  <a:pt x="5916" y="652"/>
                  <a:pt x="5983" y="583"/>
                  <a:pt x="6042" y="485"/>
                </a:cubicBezTo>
                <a:cubicBezTo>
                  <a:pt x="6061" y="451"/>
                  <a:pt x="6108" y="356"/>
                  <a:pt x="6182" y="200"/>
                </a:cubicBezTo>
                <a:cubicBezTo>
                  <a:pt x="6202" y="200"/>
                  <a:pt x="6222" y="214"/>
                  <a:pt x="6243" y="241"/>
                </a:cubicBezTo>
                <a:cubicBezTo>
                  <a:pt x="6263" y="269"/>
                  <a:pt x="6274" y="293"/>
                  <a:pt x="6274" y="315"/>
                </a:cubicBezTo>
                <a:close/>
                <a:moveTo>
                  <a:pt x="7791" y="986"/>
                </a:moveTo>
                <a:cubicBezTo>
                  <a:pt x="7791" y="1057"/>
                  <a:pt x="7745" y="1179"/>
                  <a:pt x="7654" y="1354"/>
                </a:cubicBezTo>
                <a:cubicBezTo>
                  <a:pt x="7563" y="1528"/>
                  <a:pt x="7517" y="1643"/>
                  <a:pt x="7517" y="1696"/>
                </a:cubicBezTo>
                <a:cubicBezTo>
                  <a:pt x="7517" y="1741"/>
                  <a:pt x="7529" y="1784"/>
                  <a:pt x="7554" y="1825"/>
                </a:cubicBezTo>
                <a:cubicBezTo>
                  <a:pt x="7499" y="1854"/>
                  <a:pt x="7456" y="1869"/>
                  <a:pt x="7425" y="1869"/>
                </a:cubicBezTo>
                <a:cubicBezTo>
                  <a:pt x="7369" y="1869"/>
                  <a:pt x="7340" y="1840"/>
                  <a:pt x="7340" y="1781"/>
                </a:cubicBezTo>
                <a:cubicBezTo>
                  <a:pt x="7340" y="1720"/>
                  <a:pt x="7385" y="1598"/>
                  <a:pt x="7475" y="1415"/>
                </a:cubicBezTo>
                <a:cubicBezTo>
                  <a:pt x="7564" y="1232"/>
                  <a:pt x="7609" y="1105"/>
                  <a:pt x="7609" y="1034"/>
                </a:cubicBezTo>
                <a:cubicBezTo>
                  <a:pt x="7609" y="1025"/>
                  <a:pt x="7608" y="1011"/>
                  <a:pt x="7605" y="991"/>
                </a:cubicBezTo>
                <a:cubicBezTo>
                  <a:pt x="7601" y="971"/>
                  <a:pt x="7600" y="956"/>
                  <a:pt x="7600" y="947"/>
                </a:cubicBezTo>
                <a:cubicBezTo>
                  <a:pt x="7375" y="973"/>
                  <a:pt x="7157" y="1059"/>
                  <a:pt x="6947" y="1204"/>
                </a:cubicBezTo>
                <a:cubicBezTo>
                  <a:pt x="6730" y="1356"/>
                  <a:pt x="6579" y="1533"/>
                  <a:pt x="6494" y="1735"/>
                </a:cubicBezTo>
                <a:cubicBezTo>
                  <a:pt x="6461" y="1723"/>
                  <a:pt x="6410" y="1710"/>
                  <a:pt x="6343" y="1696"/>
                </a:cubicBezTo>
                <a:cubicBezTo>
                  <a:pt x="6350" y="1663"/>
                  <a:pt x="6403" y="1581"/>
                  <a:pt x="6501" y="1450"/>
                </a:cubicBezTo>
                <a:cubicBezTo>
                  <a:pt x="6536" y="1406"/>
                  <a:pt x="6634" y="1278"/>
                  <a:pt x="6793" y="1067"/>
                </a:cubicBezTo>
                <a:cubicBezTo>
                  <a:pt x="6910" y="912"/>
                  <a:pt x="6983" y="808"/>
                  <a:pt x="7014" y="756"/>
                </a:cubicBezTo>
                <a:cubicBezTo>
                  <a:pt x="7023" y="741"/>
                  <a:pt x="7069" y="634"/>
                  <a:pt x="7152" y="437"/>
                </a:cubicBezTo>
                <a:cubicBezTo>
                  <a:pt x="7212" y="296"/>
                  <a:pt x="7267" y="202"/>
                  <a:pt x="7317" y="156"/>
                </a:cubicBezTo>
                <a:cubicBezTo>
                  <a:pt x="7336" y="167"/>
                  <a:pt x="7355" y="179"/>
                  <a:pt x="7375" y="191"/>
                </a:cubicBezTo>
                <a:cubicBezTo>
                  <a:pt x="7395" y="203"/>
                  <a:pt x="7405" y="220"/>
                  <a:pt x="7405" y="241"/>
                </a:cubicBezTo>
                <a:cubicBezTo>
                  <a:pt x="7405" y="264"/>
                  <a:pt x="7275" y="536"/>
                  <a:pt x="7016" y="1057"/>
                </a:cubicBezTo>
                <a:cubicBezTo>
                  <a:pt x="7145" y="1001"/>
                  <a:pt x="7257" y="952"/>
                  <a:pt x="7354" y="912"/>
                </a:cubicBezTo>
                <a:cubicBezTo>
                  <a:pt x="7538" y="836"/>
                  <a:pt x="7642" y="798"/>
                  <a:pt x="7667" y="798"/>
                </a:cubicBezTo>
                <a:cubicBezTo>
                  <a:pt x="7694" y="798"/>
                  <a:pt x="7715" y="804"/>
                  <a:pt x="7729" y="818"/>
                </a:cubicBezTo>
                <a:cubicBezTo>
                  <a:pt x="7770" y="860"/>
                  <a:pt x="7791" y="916"/>
                  <a:pt x="7791" y="986"/>
                </a:cubicBezTo>
                <a:close/>
                <a:moveTo>
                  <a:pt x="8694" y="1103"/>
                </a:moveTo>
                <a:cubicBezTo>
                  <a:pt x="8648" y="1054"/>
                  <a:pt x="8592" y="1030"/>
                  <a:pt x="8526" y="1030"/>
                </a:cubicBezTo>
                <a:cubicBezTo>
                  <a:pt x="8479" y="1030"/>
                  <a:pt x="8436" y="1040"/>
                  <a:pt x="8398" y="1060"/>
                </a:cubicBezTo>
                <a:cubicBezTo>
                  <a:pt x="8396" y="1061"/>
                  <a:pt x="8357" y="1083"/>
                  <a:pt x="8280" y="1124"/>
                </a:cubicBezTo>
                <a:cubicBezTo>
                  <a:pt x="8326" y="1198"/>
                  <a:pt x="8389" y="1234"/>
                  <a:pt x="8469" y="1234"/>
                </a:cubicBezTo>
                <a:cubicBezTo>
                  <a:pt x="8559" y="1234"/>
                  <a:pt x="8634" y="1191"/>
                  <a:pt x="8694" y="1103"/>
                </a:cubicBezTo>
                <a:close/>
                <a:moveTo>
                  <a:pt x="8931" y="1545"/>
                </a:moveTo>
                <a:cubicBezTo>
                  <a:pt x="8885" y="1595"/>
                  <a:pt x="8776" y="1633"/>
                  <a:pt x="8604" y="1660"/>
                </a:cubicBezTo>
                <a:cubicBezTo>
                  <a:pt x="8483" y="1678"/>
                  <a:pt x="8360" y="1687"/>
                  <a:pt x="8234" y="1687"/>
                </a:cubicBezTo>
                <a:cubicBezTo>
                  <a:pt x="7975" y="1687"/>
                  <a:pt x="7846" y="1613"/>
                  <a:pt x="7846" y="1464"/>
                </a:cubicBezTo>
                <a:cubicBezTo>
                  <a:pt x="7846" y="1282"/>
                  <a:pt x="7981" y="1126"/>
                  <a:pt x="8250" y="995"/>
                </a:cubicBezTo>
                <a:cubicBezTo>
                  <a:pt x="8344" y="949"/>
                  <a:pt x="8441" y="912"/>
                  <a:pt x="8542" y="883"/>
                </a:cubicBezTo>
                <a:cubicBezTo>
                  <a:pt x="8640" y="906"/>
                  <a:pt x="8705" y="922"/>
                  <a:pt x="8738" y="933"/>
                </a:cubicBezTo>
                <a:cubicBezTo>
                  <a:pt x="8807" y="956"/>
                  <a:pt x="8841" y="1014"/>
                  <a:pt x="8841" y="1106"/>
                </a:cubicBezTo>
                <a:cubicBezTo>
                  <a:pt x="8841" y="1187"/>
                  <a:pt x="8789" y="1251"/>
                  <a:pt x="8685" y="1299"/>
                </a:cubicBezTo>
                <a:cubicBezTo>
                  <a:pt x="8597" y="1339"/>
                  <a:pt x="8509" y="1358"/>
                  <a:pt x="8418" y="1358"/>
                </a:cubicBezTo>
                <a:cubicBezTo>
                  <a:pt x="8277" y="1358"/>
                  <a:pt x="8176" y="1337"/>
                  <a:pt x="8115" y="1294"/>
                </a:cubicBezTo>
                <a:cubicBezTo>
                  <a:pt x="8038" y="1331"/>
                  <a:pt x="8000" y="1378"/>
                  <a:pt x="8000" y="1437"/>
                </a:cubicBezTo>
                <a:cubicBezTo>
                  <a:pt x="8000" y="1539"/>
                  <a:pt x="8093" y="1591"/>
                  <a:pt x="8280" y="1591"/>
                </a:cubicBezTo>
                <a:cubicBezTo>
                  <a:pt x="8349" y="1591"/>
                  <a:pt x="8430" y="1586"/>
                  <a:pt x="8522" y="1577"/>
                </a:cubicBezTo>
                <a:cubicBezTo>
                  <a:pt x="8738" y="1555"/>
                  <a:pt x="8874" y="1545"/>
                  <a:pt x="8931" y="1545"/>
                </a:cubicBezTo>
                <a:close/>
                <a:moveTo>
                  <a:pt x="9981" y="1170"/>
                </a:moveTo>
                <a:lnTo>
                  <a:pt x="9620" y="1053"/>
                </a:lnTo>
                <a:cubicBezTo>
                  <a:pt x="9531" y="1053"/>
                  <a:pt x="9453" y="1113"/>
                  <a:pt x="9386" y="1234"/>
                </a:cubicBezTo>
                <a:cubicBezTo>
                  <a:pt x="9361" y="1276"/>
                  <a:pt x="9320" y="1373"/>
                  <a:pt x="9263" y="1527"/>
                </a:cubicBezTo>
                <a:cubicBezTo>
                  <a:pt x="9205" y="1681"/>
                  <a:pt x="9113" y="1758"/>
                  <a:pt x="8986" y="1758"/>
                </a:cubicBezTo>
                <a:cubicBezTo>
                  <a:pt x="8994" y="1696"/>
                  <a:pt x="9033" y="1609"/>
                  <a:pt x="9105" y="1499"/>
                </a:cubicBezTo>
                <a:cubicBezTo>
                  <a:pt x="9184" y="1379"/>
                  <a:pt x="9230" y="1291"/>
                  <a:pt x="9246" y="1234"/>
                </a:cubicBezTo>
                <a:cubicBezTo>
                  <a:pt x="9258" y="1187"/>
                  <a:pt x="9266" y="1109"/>
                  <a:pt x="9271" y="1000"/>
                </a:cubicBezTo>
                <a:cubicBezTo>
                  <a:pt x="9272" y="954"/>
                  <a:pt x="9283" y="906"/>
                  <a:pt x="9303" y="857"/>
                </a:cubicBezTo>
                <a:cubicBezTo>
                  <a:pt x="9331" y="788"/>
                  <a:pt x="9362" y="752"/>
                  <a:pt x="9397" y="749"/>
                </a:cubicBezTo>
                <a:lnTo>
                  <a:pt x="9441" y="752"/>
                </a:lnTo>
                <a:lnTo>
                  <a:pt x="9464" y="908"/>
                </a:lnTo>
                <a:cubicBezTo>
                  <a:pt x="9475" y="948"/>
                  <a:pt x="9511" y="968"/>
                  <a:pt x="9572" y="968"/>
                </a:cubicBezTo>
                <a:lnTo>
                  <a:pt x="9650" y="968"/>
                </a:lnTo>
                <a:cubicBezTo>
                  <a:pt x="9664" y="966"/>
                  <a:pt x="9675" y="965"/>
                  <a:pt x="9682" y="965"/>
                </a:cubicBezTo>
                <a:cubicBezTo>
                  <a:pt x="9859" y="962"/>
                  <a:pt x="9958" y="1031"/>
                  <a:pt x="9981" y="1170"/>
                </a:cubicBezTo>
                <a:close/>
                <a:moveTo>
                  <a:pt x="12983" y="1207"/>
                </a:moveTo>
                <a:cubicBezTo>
                  <a:pt x="12983" y="1368"/>
                  <a:pt x="12887" y="1499"/>
                  <a:pt x="12696" y="1602"/>
                </a:cubicBezTo>
                <a:cubicBezTo>
                  <a:pt x="12536" y="1686"/>
                  <a:pt x="12367" y="1728"/>
                  <a:pt x="12188" y="1728"/>
                </a:cubicBezTo>
                <a:cubicBezTo>
                  <a:pt x="12051" y="1728"/>
                  <a:pt x="11944" y="1682"/>
                  <a:pt x="11866" y="1588"/>
                </a:cubicBezTo>
                <a:lnTo>
                  <a:pt x="11866" y="1545"/>
                </a:lnTo>
                <a:lnTo>
                  <a:pt x="11818" y="1526"/>
                </a:lnTo>
                <a:cubicBezTo>
                  <a:pt x="11796" y="1529"/>
                  <a:pt x="11696" y="1570"/>
                  <a:pt x="11516" y="1648"/>
                </a:cubicBezTo>
                <a:cubicBezTo>
                  <a:pt x="11443" y="1680"/>
                  <a:pt x="11379" y="1696"/>
                  <a:pt x="11323" y="1696"/>
                </a:cubicBezTo>
                <a:cubicBezTo>
                  <a:pt x="11164" y="1696"/>
                  <a:pt x="11084" y="1648"/>
                  <a:pt x="11084" y="1551"/>
                </a:cubicBezTo>
                <a:cubicBezTo>
                  <a:pt x="11084" y="1509"/>
                  <a:pt x="11155" y="1394"/>
                  <a:pt x="11297" y="1208"/>
                </a:cubicBezTo>
                <a:cubicBezTo>
                  <a:pt x="11439" y="1022"/>
                  <a:pt x="11526" y="929"/>
                  <a:pt x="11558" y="929"/>
                </a:cubicBezTo>
                <a:cubicBezTo>
                  <a:pt x="11581" y="929"/>
                  <a:pt x="11601" y="939"/>
                  <a:pt x="11618" y="958"/>
                </a:cubicBezTo>
                <a:cubicBezTo>
                  <a:pt x="11634" y="978"/>
                  <a:pt x="11643" y="1000"/>
                  <a:pt x="11643" y="1023"/>
                </a:cubicBezTo>
                <a:cubicBezTo>
                  <a:pt x="11643" y="1078"/>
                  <a:pt x="11562" y="1189"/>
                  <a:pt x="11402" y="1356"/>
                </a:cubicBezTo>
                <a:cubicBezTo>
                  <a:pt x="11314" y="1447"/>
                  <a:pt x="11260" y="1509"/>
                  <a:pt x="11238" y="1545"/>
                </a:cubicBezTo>
                <a:cubicBezTo>
                  <a:pt x="11294" y="1577"/>
                  <a:pt x="11333" y="1593"/>
                  <a:pt x="11358" y="1593"/>
                </a:cubicBezTo>
                <a:cubicBezTo>
                  <a:pt x="11505" y="1593"/>
                  <a:pt x="11631" y="1547"/>
                  <a:pt x="11735" y="1455"/>
                </a:cubicBezTo>
                <a:cubicBezTo>
                  <a:pt x="11808" y="1391"/>
                  <a:pt x="11889" y="1280"/>
                  <a:pt x="11976" y="1124"/>
                </a:cubicBezTo>
                <a:cubicBezTo>
                  <a:pt x="11982" y="1132"/>
                  <a:pt x="11988" y="1139"/>
                  <a:pt x="11995" y="1145"/>
                </a:cubicBezTo>
                <a:cubicBezTo>
                  <a:pt x="11996" y="1146"/>
                  <a:pt x="12004" y="1147"/>
                  <a:pt x="12018" y="1147"/>
                </a:cubicBezTo>
                <a:cubicBezTo>
                  <a:pt x="12039" y="1165"/>
                  <a:pt x="12051" y="1177"/>
                  <a:pt x="12054" y="1181"/>
                </a:cubicBezTo>
                <a:cubicBezTo>
                  <a:pt x="12062" y="1192"/>
                  <a:pt x="12066" y="1208"/>
                  <a:pt x="12066" y="1227"/>
                </a:cubicBezTo>
                <a:cubicBezTo>
                  <a:pt x="12066" y="1257"/>
                  <a:pt x="12055" y="1299"/>
                  <a:pt x="12034" y="1355"/>
                </a:cubicBezTo>
                <a:cubicBezTo>
                  <a:pt x="12012" y="1411"/>
                  <a:pt x="12001" y="1453"/>
                  <a:pt x="12001" y="1480"/>
                </a:cubicBezTo>
                <a:cubicBezTo>
                  <a:pt x="12001" y="1526"/>
                  <a:pt x="12029" y="1562"/>
                  <a:pt x="12084" y="1588"/>
                </a:cubicBezTo>
                <a:cubicBezTo>
                  <a:pt x="12127" y="1608"/>
                  <a:pt x="12175" y="1618"/>
                  <a:pt x="12227" y="1618"/>
                </a:cubicBezTo>
                <a:cubicBezTo>
                  <a:pt x="12406" y="1618"/>
                  <a:pt x="12556" y="1574"/>
                  <a:pt x="12677" y="1487"/>
                </a:cubicBezTo>
                <a:cubicBezTo>
                  <a:pt x="12815" y="1389"/>
                  <a:pt x="12884" y="1254"/>
                  <a:pt x="12884" y="1083"/>
                </a:cubicBezTo>
                <a:cubicBezTo>
                  <a:pt x="12884" y="1038"/>
                  <a:pt x="12878" y="1004"/>
                  <a:pt x="12866" y="981"/>
                </a:cubicBezTo>
                <a:cubicBezTo>
                  <a:pt x="12856" y="965"/>
                  <a:pt x="12833" y="939"/>
                  <a:pt x="12797" y="906"/>
                </a:cubicBezTo>
                <a:cubicBezTo>
                  <a:pt x="12769" y="906"/>
                  <a:pt x="12740" y="890"/>
                  <a:pt x="12709" y="860"/>
                </a:cubicBezTo>
                <a:lnTo>
                  <a:pt x="12742" y="823"/>
                </a:lnTo>
                <a:cubicBezTo>
                  <a:pt x="12820" y="823"/>
                  <a:pt x="12882" y="869"/>
                  <a:pt x="12928" y="961"/>
                </a:cubicBezTo>
                <a:cubicBezTo>
                  <a:pt x="12965" y="1034"/>
                  <a:pt x="12983" y="1116"/>
                  <a:pt x="12983" y="1207"/>
                </a:cubicBezTo>
                <a:close/>
                <a:moveTo>
                  <a:pt x="13636" y="402"/>
                </a:moveTo>
                <a:cubicBezTo>
                  <a:pt x="13636" y="457"/>
                  <a:pt x="13599" y="485"/>
                  <a:pt x="13525" y="485"/>
                </a:cubicBezTo>
                <a:cubicBezTo>
                  <a:pt x="13458" y="485"/>
                  <a:pt x="13424" y="457"/>
                  <a:pt x="13424" y="402"/>
                </a:cubicBezTo>
                <a:cubicBezTo>
                  <a:pt x="13424" y="375"/>
                  <a:pt x="13433" y="336"/>
                  <a:pt x="13451" y="287"/>
                </a:cubicBezTo>
                <a:cubicBezTo>
                  <a:pt x="13468" y="238"/>
                  <a:pt x="13478" y="202"/>
                  <a:pt x="13479" y="177"/>
                </a:cubicBezTo>
                <a:cubicBezTo>
                  <a:pt x="13495" y="186"/>
                  <a:pt x="13524" y="230"/>
                  <a:pt x="13567" y="308"/>
                </a:cubicBezTo>
                <a:cubicBezTo>
                  <a:pt x="13570" y="313"/>
                  <a:pt x="13584" y="326"/>
                  <a:pt x="13608" y="349"/>
                </a:cubicBezTo>
                <a:cubicBezTo>
                  <a:pt x="13626" y="366"/>
                  <a:pt x="13636" y="384"/>
                  <a:pt x="13636" y="402"/>
                </a:cubicBezTo>
                <a:close/>
                <a:moveTo>
                  <a:pt x="13420" y="1034"/>
                </a:moveTo>
                <a:cubicBezTo>
                  <a:pt x="13420" y="1059"/>
                  <a:pt x="13377" y="1181"/>
                  <a:pt x="13291" y="1400"/>
                </a:cubicBezTo>
                <a:cubicBezTo>
                  <a:pt x="13280" y="1427"/>
                  <a:pt x="13264" y="1468"/>
                  <a:pt x="13243" y="1522"/>
                </a:cubicBezTo>
                <a:cubicBezTo>
                  <a:pt x="13224" y="1563"/>
                  <a:pt x="13200" y="1589"/>
                  <a:pt x="13171" y="1600"/>
                </a:cubicBezTo>
                <a:cubicBezTo>
                  <a:pt x="13154" y="1606"/>
                  <a:pt x="13120" y="1609"/>
                  <a:pt x="13068" y="1609"/>
                </a:cubicBezTo>
                <a:cubicBezTo>
                  <a:pt x="13068" y="1598"/>
                  <a:pt x="13066" y="1583"/>
                  <a:pt x="13062" y="1563"/>
                </a:cubicBezTo>
                <a:cubicBezTo>
                  <a:pt x="13058" y="1543"/>
                  <a:pt x="13056" y="1528"/>
                  <a:pt x="13056" y="1517"/>
                </a:cubicBezTo>
                <a:cubicBezTo>
                  <a:pt x="13056" y="1483"/>
                  <a:pt x="13069" y="1446"/>
                  <a:pt x="13095" y="1404"/>
                </a:cubicBezTo>
                <a:cubicBezTo>
                  <a:pt x="13131" y="1348"/>
                  <a:pt x="13151" y="1313"/>
                  <a:pt x="13155" y="1301"/>
                </a:cubicBezTo>
                <a:cubicBezTo>
                  <a:pt x="13168" y="1263"/>
                  <a:pt x="13191" y="1195"/>
                  <a:pt x="13227" y="1099"/>
                </a:cubicBezTo>
                <a:cubicBezTo>
                  <a:pt x="13253" y="1031"/>
                  <a:pt x="13294" y="975"/>
                  <a:pt x="13351" y="929"/>
                </a:cubicBezTo>
                <a:cubicBezTo>
                  <a:pt x="13397" y="975"/>
                  <a:pt x="13420" y="1010"/>
                  <a:pt x="13420" y="1034"/>
                </a:cubicBezTo>
                <a:close/>
                <a:moveTo>
                  <a:pt x="14732" y="315"/>
                </a:moveTo>
                <a:cubicBezTo>
                  <a:pt x="14732" y="353"/>
                  <a:pt x="14719" y="396"/>
                  <a:pt x="14693" y="444"/>
                </a:cubicBezTo>
                <a:cubicBezTo>
                  <a:pt x="14682" y="464"/>
                  <a:pt x="14635" y="529"/>
                  <a:pt x="14553" y="639"/>
                </a:cubicBezTo>
                <a:cubicBezTo>
                  <a:pt x="14591" y="665"/>
                  <a:pt x="14630" y="690"/>
                  <a:pt x="14670" y="715"/>
                </a:cubicBezTo>
                <a:cubicBezTo>
                  <a:pt x="14713" y="750"/>
                  <a:pt x="14732" y="790"/>
                  <a:pt x="14727" y="834"/>
                </a:cubicBezTo>
                <a:lnTo>
                  <a:pt x="14725" y="860"/>
                </a:lnTo>
                <a:cubicBezTo>
                  <a:pt x="14724" y="860"/>
                  <a:pt x="14688" y="849"/>
                  <a:pt x="14619" y="827"/>
                </a:cubicBezTo>
                <a:cubicBezTo>
                  <a:pt x="14575" y="814"/>
                  <a:pt x="14540" y="807"/>
                  <a:pt x="14516" y="807"/>
                </a:cubicBezTo>
                <a:cubicBezTo>
                  <a:pt x="14432" y="807"/>
                  <a:pt x="14310" y="895"/>
                  <a:pt x="14152" y="1072"/>
                </a:cubicBezTo>
                <a:cubicBezTo>
                  <a:pt x="13993" y="1249"/>
                  <a:pt x="13914" y="1381"/>
                  <a:pt x="13914" y="1469"/>
                </a:cubicBezTo>
                <a:cubicBezTo>
                  <a:pt x="13914" y="1544"/>
                  <a:pt x="13981" y="1598"/>
                  <a:pt x="14116" y="1632"/>
                </a:cubicBezTo>
                <a:cubicBezTo>
                  <a:pt x="14202" y="1653"/>
                  <a:pt x="14298" y="1664"/>
                  <a:pt x="14406" y="1664"/>
                </a:cubicBezTo>
                <a:cubicBezTo>
                  <a:pt x="14447" y="1664"/>
                  <a:pt x="14489" y="1661"/>
                  <a:pt x="14532" y="1655"/>
                </a:cubicBezTo>
                <a:cubicBezTo>
                  <a:pt x="14530" y="1663"/>
                  <a:pt x="14537" y="1676"/>
                  <a:pt x="14553" y="1696"/>
                </a:cubicBezTo>
                <a:cubicBezTo>
                  <a:pt x="14456" y="1733"/>
                  <a:pt x="14360" y="1751"/>
                  <a:pt x="14265" y="1751"/>
                </a:cubicBezTo>
                <a:cubicBezTo>
                  <a:pt x="13921" y="1751"/>
                  <a:pt x="13748" y="1667"/>
                  <a:pt x="13748" y="1499"/>
                </a:cubicBezTo>
                <a:cubicBezTo>
                  <a:pt x="13748" y="1399"/>
                  <a:pt x="13835" y="1253"/>
                  <a:pt x="14008" y="1060"/>
                </a:cubicBezTo>
                <a:lnTo>
                  <a:pt x="14206" y="839"/>
                </a:lnTo>
                <a:lnTo>
                  <a:pt x="14125" y="834"/>
                </a:lnTo>
                <a:cubicBezTo>
                  <a:pt x="14091" y="833"/>
                  <a:pt x="14046" y="842"/>
                  <a:pt x="13990" y="862"/>
                </a:cubicBezTo>
                <a:cubicBezTo>
                  <a:pt x="13878" y="902"/>
                  <a:pt x="13812" y="922"/>
                  <a:pt x="13792" y="922"/>
                </a:cubicBezTo>
                <a:cubicBezTo>
                  <a:pt x="13766" y="922"/>
                  <a:pt x="13742" y="914"/>
                  <a:pt x="13719" y="898"/>
                </a:cubicBezTo>
                <a:cubicBezTo>
                  <a:pt x="13697" y="881"/>
                  <a:pt x="13686" y="861"/>
                  <a:pt x="13686" y="837"/>
                </a:cubicBezTo>
                <a:cubicBezTo>
                  <a:pt x="13686" y="777"/>
                  <a:pt x="13754" y="747"/>
                  <a:pt x="13891" y="747"/>
                </a:cubicBezTo>
                <a:cubicBezTo>
                  <a:pt x="13905" y="747"/>
                  <a:pt x="13924" y="748"/>
                  <a:pt x="13950" y="749"/>
                </a:cubicBezTo>
                <a:cubicBezTo>
                  <a:pt x="13977" y="751"/>
                  <a:pt x="13996" y="752"/>
                  <a:pt x="14010" y="752"/>
                </a:cubicBezTo>
                <a:cubicBezTo>
                  <a:pt x="14127" y="752"/>
                  <a:pt x="14223" y="732"/>
                  <a:pt x="14299" y="692"/>
                </a:cubicBezTo>
                <a:cubicBezTo>
                  <a:pt x="14375" y="652"/>
                  <a:pt x="14442" y="583"/>
                  <a:pt x="14500" y="485"/>
                </a:cubicBezTo>
                <a:cubicBezTo>
                  <a:pt x="14520" y="451"/>
                  <a:pt x="14566" y="356"/>
                  <a:pt x="14640" y="200"/>
                </a:cubicBezTo>
                <a:cubicBezTo>
                  <a:pt x="14660" y="200"/>
                  <a:pt x="14680" y="214"/>
                  <a:pt x="14701" y="241"/>
                </a:cubicBezTo>
                <a:cubicBezTo>
                  <a:pt x="14722" y="269"/>
                  <a:pt x="14732" y="293"/>
                  <a:pt x="14732" y="315"/>
                </a:cubicBezTo>
                <a:close/>
                <a:moveTo>
                  <a:pt x="16249" y="986"/>
                </a:moveTo>
                <a:cubicBezTo>
                  <a:pt x="16249" y="1057"/>
                  <a:pt x="16203" y="1179"/>
                  <a:pt x="16112" y="1354"/>
                </a:cubicBezTo>
                <a:cubicBezTo>
                  <a:pt x="16021" y="1528"/>
                  <a:pt x="15975" y="1643"/>
                  <a:pt x="15975" y="1696"/>
                </a:cubicBezTo>
                <a:cubicBezTo>
                  <a:pt x="15975" y="1741"/>
                  <a:pt x="15988" y="1784"/>
                  <a:pt x="16012" y="1825"/>
                </a:cubicBezTo>
                <a:cubicBezTo>
                  <a:pt x="15957" y="1854"/>
                  <a:pt x="15914" y="1869"/>
                  <a:pt x="15883" y="1869"/>
                </a:cubicBezTo>
                <a:cubicBezTo>
                  <a:pt x="15827" y="1869"/>
                  <a:pt x="15798" y="1840"/>
                  <a:pt x="15798" y="1781"/>
                </a:cubicBezTo>
                <a:cubicBezTo>
                  <a:pt x="15798" y="1720"/>
                  <a:pt x="15843" y="1598"/>
                  <a:pt x="15933" y="1415"/>
                </a:cubicBezTo>
                <a:cubicBezTo>
                  <a:pt x="16023" y="1232"/>
                  <a:pt x="16067" y="1105"/>
                  <a:pt x="16067" y="1034"/>
                </a:cubicBezTo>
                <a:cubicBezTo>
                  <a:pt x="16067" y="1025"/>
                  <a:pt x="16066" y="1011"/>
                  <a:pt x="16063" y="991"/>
                </a:cubicBezTo>
                <a:cubicBezTo>
                  <a:pt x="16060" y="971"/>
                  <a:pt x="16058" y="956"/>
                  <a:pt x="16058" y="947"/>
                </a:cubicBezTo>
                <a:cubicBezTo>
                  <a:pt x="15833" y="973"/>
                  <a:pt x="15615" y="1059"/>
                  <a:pt x="15405" y="1204"/>
                </a:cubicBezTo>
                <a:cubicBezTo>
                  <a:pt x="15188" y="1356"/>
                  <a:pt x="15037" y="1533"/>
                  <a:pt x="14953" y="1735"/>
                </a:cubicBezTo>
                <a:cubicBezTo>
                  <a:pt x="14919" y="1723"/>
                  <a:pt x="14868" y="1710"/>
                  <a:pt x="14801" y="1696"/>
                </a:cubicBezTo>
                <a:cubicBezTo>
                  <a:pt x="14809" y="1663"/>
                  <a:pt x="14861" y="1581"/>
                  <a:pt x="14959" y="1450"/>
                </a:cubicBezTo>
                <a:cubicBezTo>
                  <a:pt x="14995" y="1406"/>
                  <a:pt x="15092" y="1278"/>
                  <a:pt x="15251" y="1067"/>
                </a:cubicBezTo>
                <a:cubicBezTo>
                  <a:pt x="15368" y="912"/>
                  <a:pt x="15441" y="808"/>
                  <a:pt x="15472" y="756"/>
                </a:cubicBezTo>
                <a:cubicBezTo>
                  <a:pt x="15481" y="741"/>
                  <a:pt x="15527" y="634"/>
                  <a:pt x="15610" y="437"/>
                </a:cubicBezTo>
                <a:cubicBezTo>
                  <a:pt x="15670" y="296"/>
                  <a:pt x="15725" y="202"/>
                  <a:pt x="15775" y="156"/>
                </a:cubicBezTo>
                <a:cubicBezTo>
                  <a:pt x="15794" y="167"/>
                  <a:pt x="15813" y="179"/>
                  <a:pt x="15833" y="191"/>
                </a:cubicBezTo>
                <a:cubicBezTo>
                  <a:pt x="15853" y="203"/>
                  <a:pt x="15863" y="220"/>
                  <a:pt x="15863" y="241"/>
                </a:cubicBezTo>
                <a:cubicBezTo>
                  <a:pt x="15863" y="264"/>
                  <a:pt x="15733" y="536"/>
                  <a:pt x="15474" y="1057"/>
                </a:cubicBezTo>
                <a:cubicBezTo>
                  <a:pt x="15603" y="1001"/>
                  <a:pt x="15716" y="952"/>
                  <a:pt x="15812" y="912"/>
                </a:cubicBezTo>
                <a:cubicBezTo>
                  <a:pt x="15996" y="836"/>
                  <a:pt x="16100" y="798"/>
                  <a:pt x="16125" y="798"/>
                </a:cubicBezTo>
                <a:cubicBezTo>
                  <a:pt x="16152" y="798"/>
                  <a:pt x="16173" y="804"/>
                  <a:pt x="16187" y="818"/>
                </a:cubicBezTo>
                <a:cubicBezTo>
                  <a:pt x="16228" y="860"/>
                  <a:pt x="16249" y="916"/>
                  <a:pt x="16249" y="986"/>
                </a:cubicBezTo>
                <a:close/>
                <a:moveTo>
                  <a:pt x="18851" y="536"/>
                </a:moveTo>
                <a:cubicBezTo>
                  <a:pt x="18851" y="465"/>
                  <a:pt x="18826" y="411"/>
                  <a:pt x="18777" y="372"/>
                </a:cubicBezTo>
                <a:cubicBezTo>
                  <a:pt x="18734" y="339"/>
                  <a:pt x="18676" y="322"/>
                  <a:pt x="18603" y="322"/>
                </a:cubicBezTo>
                <a:cubicBezTo>
                  <a:pt x="18541" y="322"/>
                  <a:pt x="18481" y="333"/>
                  <a:pt x="18423" y="356"/>
                </a:cubicBezTo>
                <a:cubicBezTo>
                  <a:pt x="18356" y="384"/>
                  <a:pt x="18310" y="421"/>
                  <a:pt x="18285" y="467"/>
                </a:cubicBezTo>
                <a:cubicBezTo>
                  <a:pt x="18264" y="519"/>
                  <a:pt x="18242" y="570"/>
                  <a:pt x="18221" y="621"/>
                </a:cubicBezTo>
                <a:lnTo>
                  <a:pt x="18044" y="864"/>
                </a:lnTo>
                <a:cubicBezTo>
                  <a:pt x="17980" y="958"/>
                  <a:pt x="17931" y="1045"/>
                  <a:pt x="17897" y="1126"/>
                </a:cubicBezTo>
                <a:lnTo>
                  <a:pt x="17918" y="1149"/>
                </a:lnTo>
                <a:lnTo>
                  <a:pt x="17938" y="1149"/>
                </a:lnTo>
                <a:cubicBezTo>
                  <a:pt x="18076" y="1149"/>
                  <a:pt x="18258" y="1082"/>
                  <a:pt x="18483" y="947"/>
                </a:cubicBezTo>
                <a:cubicBezTo>
                  <a:pt x="18728" y="800"/>
                  <a:pt x="18851" y="663"/>
                  <a:pt x="18851" y="536"/>
                </a:cubicBezTo>
                <a:close/>
                <a:moveTo>
                  <a:pt x="18968" y="501"/>
                </a:moveTo>
                <a:cubicBezTo>
                  <a:pt x="18968" y="780"/>
                  <a:pt x="18756" y="995"/>
                  <a:pt x="18331" y="1147"/>
                </a:cubicBezTo>
                <a:cubicBezTo>
                  <a:pt x="18245" y="1178"/>
                  <a:pt x="18094" y="1222"/>
                  <a:pt x="17876" y="1280"/>
                </a:cubicBezTo>
                <a:cubicBezTo>
                  <a:pt x="17813" y="1297"/>
                  <a:pt x="17761" y="1338"/>
                  <a:pt x="17718" y="1402"/>
                </a:cubicBezTo>
                <a:cubicBezTo>
                  <a:pt x="17708" y="1416"/>
                  <a:pt x="17679" y="1474"/>
                  <a:pt x="17628" y="1577"/>
                </a:cubicBezTo>
                <a:cubicBezTo>
                  <a:pt x="17597" y="1640"/>
                  <a:pt x="17564" y="1678"/>
                  <a:pt x="17529" y="1692"/>
                </a:cubicBezTo>
                <a:cubicBezTo>
                  <a:pt x="17482" y="1670"/>
                  <a:pt x="17458" y="1640"/>
                  <a:pt x="17458" y="1602"/>
                </a:cubicBezTo>
                <a:cubicBezTo>
                  <a:pt x="17458" y="1568"/>
                  <a:pt x="17482" y="1521"/>
                  <a:pt x="17531" y="1460"/>
                </a:cubicBezTo>
                <a:cubicBezTo>
                  <a:pt x="17551" y="1435"/>
                  <a:pt x="17587" y="1390"/>
                  <a:pt x="17637" y="1324"/>
                </a:cubicBezTo>
                <a:cubicBezTo>
                  <a:pt x="17649" y="1307"/>
                  <a:pt x="17665" y="1246"/>
                  <a:pt x="17683" y="1140"/>
                </a:cubicBezTo>
                <a:cubicBezTo>
                  <a:pt x="17691" y="1094"/>
                  <a:pt x="17705" y="1060"/>
                  <a:pt x="17725" y="1037"/>
                </a:cubicBezTo>
                <a:lnTo>
                  <a:pt x="17789" y="1080"/>
                </a:lnTo>
                <a:cubicBezTo>
                  <a:pt x="17914" y="901"/>
                  <a:pt x="17982" y="805"/>
                  <a:pt x="17991" y="793"/>
                </a:cubicBezTo>
                <a:cubicBezTo>
                  <a:pt x="18075" y="660"/>
                  <a:pt x="18118" y="557"/>
                  <a:pt x="18118" y="485"/>
                </a:cubicBezTo>
                <a:cubicBezTo>
                  <a:pt x="18026" y="534"/>
                  <a:pt x="17945" y="564"/>
                  <a:pt x="17876" y="575"/>
                </a:cubicBezTo>
                <a:lnTo>
                  <a:pt x="17876" y="552"/>
                </a:lnTo>
                <a:lnTo>
                  <a:pt x="17856" y="529"/>
                </a:lnTo>
                <a:lnTo>
                  <a:pt x="17876" y="444"/>
                </a:lnTo>
                <a:cubicBezTo>
                  <a:pt x="17945" y="390"/>
                  <a:pt x="18070" y="336"/>
                  <a:pt x="18251" y="280"/>
                </a:cubicBezTo>
                <a:cubicBezTo>
                  <a:pt x="18427" y="227"/>
                  <a:pt x="18563" y="200"/>
                  <a:pt x="18658" y="200"/>
                </a:cubicBezTo>
                <a:cubicBezTo>
                  <a:pt x="18754" y="200"/>
                  <a:pt x="18830" y="226"/>
                  <a:pt x="18885" y="278"/>
                </a:cubicBezTo>
                <a:cubicBezTo>
                  <a:pt x="18940" y="330"/>
                  <a:pt x="18968" y="405"/>
                  <a:pt x="18968" y="501"/>
                </a:cubicBezTo>
                <a:close/>
                <a:moveTo>
                  <a:pt x="19984" y="1761"/>
                </a:moveTo>
                <a:lnTo>
                  <a:pt x="19984" y="1754"/>
                </a:lnTo>
                <a:lnTo>
                  <a:pt x="19989" y="1754"/>
                </a:lnTo>
                <a:lnTo>
                  <a:pt x="19989" y="1747"/>
                </a:lnTo>
                <a:lnTo>
                  <a:pt x="19984" y="1747"/>
                </a:lnTo>
                <a:lnTo>
                  <a:pt x="19984" y="1733"/>
                </a:lnTo>
                <a:lnTo>
                  <a:pt x="19993" y="1733"/>
                </a:lnTo>
                <a:lnTo>
                  <a:pt x="19993" y="1738"/>
                </a:lnTo>
                <a:lnTo>
                  <a:pt x="19989" y="1738"/>
                </a:lnTo>
                <a:lnTo>
                  <a:pt x="19989" y="1742"/>
                </a:lnTo>
                <a:lnTo>
                  <a:pt x="19993" y="1742"/>
                </a:lnTo>
                <a:lnTo>
                  <a:pt x="19993" y="1761"/>
                </a:lnTo>
                <a:lnTo>
                  <a:pt x="19984" y="1761"/>
                </a:lnTo>
                <a:close/>
                <a:moveTo>
                  <a:pt x="19908" y="938"/>
                </a:moveTo>
                <a:cubicBezTo>
                  <a:pt x="19908" y="883"/>
                  <a:pt x="19861" y="855"/>
                  <a:pt x="19766" y="855"/>
                </a:cubicBezTo>
                <a:cubicBezTo>
                  <a:pt x="19626" y="855"/>
                  <a:pt x="19510" y="886"/>
                  <a:pt x="19418" y="949"/>
                </a:cubicBezTo>
                <a:cubicBezTo>
                  <a:pt x="19333" y="1008"/>
                  <a:pt x="19244" y="1086"/>
                  <a:pt x="19152" y="1184"/>
                </a:cubicBezTo>
                <a:cubicBezTo>
                  <a:pt x="19035" y="1308"/>
                  <a:pt x="18977" y="1406"/>
                  <a:pt x="18977" y="1478"/>
                </a:cubicBezTo>
                <a:cubicBezTo>
                  <a:pt x="18977" y="1521"/>
                  <a:pt x="18996" y="1554"/>
                  <a:pt x="19032" y="1577"/>
                </a:cubicBezTo>
                <a:cubicBezTo>
                  <a:pt x="19065" y="1597"/>
                  <a:pt x="19104" y="1607"/>
                  <a:pt x="19150" y="1607"/>
                </a:cubicBezTo>
                <a:cubicBezTo>
                  <a:pt x="19283" y="1607"/>
                  <a:pt x="19397" y="1560"/>
                  <a:pt x="19492" y="1466"/>
                </a:cubicBezTo>
                <a:cubicBezTo>
                  <a:pt x="19515" y="1443"/>
                  <a:pt x="19580" y="1355"/>
                  <a:pt x="19687" y="1202"/>
                </a:cubicBezTo>
                <a:cubicBezTo>
                  <a:pt x="19753" y="1107"/>
                  <a:pt x="19817" y="1060"/>
                  <a:pt x="19878" y="1060"/>
                </a:cubicBezTo>
                <a:cubicBezTo>
                  <a:pt x="19898" y="1017"/>
                  <a:pt x="19908" y="976"/>
                  <a:pt x="19908" y="938"/>
                </a:cubicBezTo>
                <a:close/>
                <a:moveTo>
                  <a:pt x="19991" y="1715"/>
                </a:moveTo>
                <a:cubicBezTo>
                  <a:pt x="19957" y="1788"/>
                  <a:pt x="19917" y="1825"/>
                  <a:pt x="19871" y="1825"/>
                </a:cubicBezTo>
                <a:cubicBezTo>
                  <a:pt x="19819" y="1825"/>
                  <a:pt x="19762" y="1787"/>
                  <a:pt x="19699" y="1710"/>
                </a:cubicBezTo>
                <a:cubicBezTo>
                  <a:pt x="19650" y="1652"/>
                  <a:pt x="19610" y="1589"/>
                  <a:pt x="19579" y="1522"/>
                </a:cubicBezTo>
                <a:cubicBezTo>
                  <a:pt x="19451" y="1583"/>
                  <a:pt x="19363" y="1623"/>
                  <a:pt x="19317" y="1641"/>
                </a:cubicBezTo>
                <a:cubicBezTo>
                  <a:pt x="19204" y="1686"/>
                  <a:pt x="19113" y="1708"/>
                  <a:pt x="19044" y="1708"/>
                </a:cubicBezTo>
                <a:cubicBezTo>
                  <a:pt x="18923" y="1708"/>
                  <a:pt x="18862" y="1647"/>
                  <a:pt x="18862" y="1524"/>
                </a:cubicBezTo>
                <a:cubicBezTo>
                  <a:pt x="18862" y="1326"/>
                  <a:pt x="18970" y="1150"/>
                  <a:pt x="19184" y="995"/>
                </a:cubicBezTo>
                <a:cubicBezTo>
                  <a:pt x="19255" y="945"/>
                  <a:pt x="19350" y="890"/>
                  <a:pt x="19469" y="832"/>
                </a:cubicBezTo>
                <a:cubicBezTo>
                  <a:pt x="19612" y="763"/>
                  <a:pt x="19713" y="729"/>
                  <a:pt x="19772" y="729"/>
                </a:cubicBezTo>
                <a:cubicBezTo>
                  <a:pt x="19814" y="729"/>
                  <a:pt x="19853" y="751"/>
                  <a:pt x="19890" y="795"/>
                </a:cubicBezTo>
                <a:cubicBezTo>
                  <a:pt x="19926" y="840"/>
                  <a:pt x="19945" y="883"/>
                  <a:pt x="19945" y="926"/>
                </a:cubicBezTo>
                <a:cubicBezTo>
                  <a:pt x="19945" y="1011"/>
                  <a:pt x="19912" y="1121"/>
                  <a:pt x="19845" y="1258"/>
                </a:cubicBezTo>
                <a:cubicBezTo>
                  <a:pt x="19778" y="1396"/>
                  <a:pt x="19745" y="1475"/>
                  <a:pt x="19745" y="1496"/>
                </a:cubicBezTo>
                <a:cubicBezTo>
                  <a:pt x="19745" y="1570"/>
                  <a:pt x="19756" y="1620"/>
                  <a:pt x="19779" y="1648"/>
                </a:cubicBezTo>
                <a:cubicBezTo>
                  <a:pt x="19798" y="1671"/>
                  <a:pt x="19868" y="1693"/>
                  <a:pt x="19991" y="1715"/>
                </a:cubicBezTo>
                <a:close/>
                <a:moveTo>
                  <a:pt x="21358" y="595"/>
                </a:moveTo>
                <a:cubicBezTo>
                  <a:pt x="21345" y="667"/>
                  <a:pt x="21287" y="718"/>
                  <a:pt x="21186" y="747"/>
                </a:cubicBezTo>
                <a:cubicBezTo>
                  <a:pt x="21126" y="762"/>
                  <a:pt x="21020" y="789"/>
                  <a:pt x="20867" y="827"/>
                </a:cubicBezTo>
                <a:cubicBezTo>
                  <a:pt x="20735" y="861"/>
                  <a:pt x="20639" y="909"/>
                  <a:pt x="20579" y="970"/>
                </a:cubicBezTo>
                <a:cubicBezTo>
                  <a:pt x="20772" y="1017"/>
                  <a:pt x="20893" y="1050"/>
                  <a:pt x="20940" y="1069"/>
                </a:cubicBezTo>
                <a:cubicBezTo>
                  <a:pt x="21109" y="1132"/>
                  <a:pt x="21193" y="1204"/>
                  <a:pt x="21193" y="1287"/>
                </a:cubicBezTo>
                <a:cubicBezTo>
                  <a:pt x="21193" y="1407"/>
                  <a:pt x="21093" y="1519"/>
                  <a:pt x="20892" y="1623"/>
                </a:cubicBezTo>
                <a:cubicBezTo>
                  <a:pt x="20714" y="1713"/>
                  <a:pt x="20559" y="1758"/>
                  <a:pt x="20428" y="1758"/>
                </a:cubicBezTo>
                <a:cubicBezTo>
                  <a:pt x="20319" y="1758"/>
                  <a:pt x="20219" y="1716"/>
                  <a:pt x="20129" y="1632"/>
                </a:cubicBezTo>
                <a:cubicBezTo>
                  <a:pt x="20031" y="1540"/>
                  <a:pt x="19985" y="1442"/>
                  <a:pt x="19993" y="1338"/>
                </a:cubicBezTo>
                <a:lnTo>
                  <a:pt x="19995" y="1303"/>
                </a:lnTo>
                <a:cubicBezTo>
                  <a:pt x="20038" y="1319"/>
                  <a:pt x="20100" y="1383"/>
                  <a:pt x="20182" y="1496"/>
                </a:cubicBezTo>
                <a:cubicBezTo>
                  <a:pt x="20258" y="1602"/>
                  <a:pt x="20326" y="1655"/>
                  <a:pt x="20384" y="1655"/>
                </a:cubicBezTo>
                <a:cubicBezTo>
                  <a:pt x="20483" y="1655"/>
                  <a:pt x="20612" y="1621"/>
                  <a:pt x="20770" y="1554"/>
                </a:cubicBezTo>
                <a:cubicBezTo>
                  <a:pt x="20952" y="1476"/>
                  <a:pt x="21043" y="1394"/>
                  <a:pt x="21043" y="1310"/>
                </a:cubicBezTo>
                <a:cubicBezTo>
                  <a:pt x="21044" y="1250"/>
                  <a:pt x="20990" y="1204"/>
                  <a:pt x="20883" y="1172"/>
                </a:cubicBezTo>
                <a:cubicBezTo>
                  <a:pt x="20878" y="1172"/>
                  <a:pt x="20764" y="1143"/>
                  <a:pt x="20540" y="1085"/>
                </a:cubicBezTo>
                <a:cubicBezTo>
                  <a:pt x="20416" y="1053"/>
                  <a:pt x="20335" y="1015"/>
                  <a:pt x="20297" y="972"/>
                </a:cubicBezTo>
                <a:cubicBezTo>
                  <a:pt x="20342" y="922"/>
                  <a:pt x="20434" y="868"/>
                  <a:pt x="20570" y="811"/>
                </a:cubicBezTo>
                <a:cubicBezTo>
                  <a:pt x="20657" y="775"/>
                  <a:pt x="20788" y="730"/>
                  <a:pt x="20961" y="678"/>
                </a:cubicBezTo>
                <a:cubicBezTo>
                  <a:pt x="21148" y="621"/>
                  <a:pt x="21258" y="587"/>
                  <a:pt x="21292" y="575"/>
                </a:cubicBezTo>
                <a:cubicBezTo>
                  <a:pt x="21312" y="585"/>
                  <a:pt x="21334" y="592"/>
                  <a:pt x="21358" y="595"/>
                </a:cubicBezTo>
                <a:close/>
                <a:moveTo>
                  <a:pt x="22800" y="595"/>
                </a:moveTo>
                <a:cubicBezTo>
                  <a:pt x="22786" y="667"/>
                  <a:pt x="22728" y="718"/>
                  <a:pt x="22627" y="747"/>
                </a:cubicBezTo>
                <a:cubicBezTo>
                  <a:pt x="22567" y="762"/>
                  <a:pt x="22461" y="789"/>
                  <a:pt x="22308" y="827"/>
                </a:cubicBezTo>
                <a:cubicBezTo>
                  <a:pt x="22176" y="861"/>
                  <a:pt x="22080" y="909"/>
                  <a:pt x="22020" y="970"/>
                </a:cubicBezTo>
                <a:cubicBezTo>
                  <a:pt x="22213" y="1017"/>
                  <a:pt x="22334" y="1050"/>
                  <a:pt x="22381" y="1069"/>
                </a:cubicBezTo>
                <a:cubicBezTo>
                  <a:pt x="22550" y="1132"/>
                  <a:pt x="22634" y="1204"/>
                  <a:pt x="22634" y="1287"/>
                </a:cubicBezTo>
                <a:cubicBezTo>
                  <a:pt x="22634" y="1407"/>
                  <a:pt x="22534" y="1519"/>
                  <a:pt x="22333" y="1623"/>
                </a:cubicBezTo>
                <a:cubicBezTo>
                  <a:pt x="22155" y="1713"/>
                  <a:pt x="22000" y="1758"/>
                  <a:pt x="21869" y="1758"/>
                </a:cubicBezTo>
                <a:cubicBezTo>
                  <a:pt x="21760" y="1758"/>
                  <a:pt x="21660" y="1716"/>
                  <a:pt x="21570" y="1632"/>
                </a:cubicBezTo>
                <a:cubicBezTo>
                  <a:pt x="21472" y="1540"/>
                  <a:pt x="21427" y="1442"/>
                  <a:pt x="21434" y="1338"/>
                </a:cubicBezTo>
                <a:lnTo>
                  <a:pt x="21437" y="1303"/>
                </a:lnTo>
                <a:cubicBezTo>
                  <a:pt x="21479" y="1319"/>
                  <a:pt x="21541" y="1383"/>
                  <a:pt x="21623" y="1496"/>
                </a:cubicBezTo>
                <a:cubicBezTo>
                  <a:pt x="21699" y="1602"/>
                  <a:pt x="21767" y="1655"/>
                  <a:pt x="21825" y="1655"/>
                </a:cubicBezTo>
                <a:cubicBezTo>
                  <a:pt x="21925" y="1655"/>
                  <a:pt x="22053" y="1621"/>
                  <a:pt x="22211" y="1554"/>
                </a:cubicBezTo>
                <a:cubicBezTo>
                  <a:pt x="22393" y="1476"/>
                  <a:pt x="22485" y="1394"/>
                  <a:pt x="22485" y="1310"/>
                </a:cubicBezTo>
                <a:cubicBezTo>
                  <a:pt x="22485" y="1250"/>
                  <a:pt x="22431" y="1204"/>
                  <a:pt x="22324" y="1172"/>
                </a:cubicBezTo>
                <a:cubicBezTo>
                  <a:pt x="22319" y="1172"/>
                  <a:pt x="22205" y="1143"/>
                  <a:pt x="21981" y="1085"/>
                </a:cubicBezTo>
                <a:cubicBezTo>
                  <a:pt x="21857" y="1053"/>
                  <a:pt x="21776" y="1015"/>
                  <a:pt x="21738" y="972"/>
                </a:cubicBezTo>
                <a:cubicBezTo>
                  <a:pt x="21784" y="922"/>
                  <a:pt x="21875" y="868"/>
                  <a:pt x="22011" y="811"/>
                </a:cubicBezTo>
                <a:cubicBezTo>
                  <a:pt x="22099" y="775"/>
                  <a:pt x="22229" y="730"/>
                  <a:pt x="22402" y="678"/>
                </a:cubicBezTo>
                <a:cubicBezTo>
                  <a:pt x="22589" y="621"/>
                  <a:pt x="22699" y="587"/>
                  <a:pt x="22733" y="575"/>
                </a:cubicBezTo>
                <a:cubicBezTo>
                  <a:pt x="22753" y="585"/>
                  <a:pt x="22775" y="592"/>
                  <a:pt x="22800" y="595"/>
                </a:cubicBezTo>
                <a:close/>
                <a:moveTo>
                  <a:pt x="23443" y="402"/>
                </a:moveTo>
                <a:cubicBezTo>
                  <a:pt x="23443" y="457"/>
                  <a:pt x="23406" y="485"/>
                  <a:pt x="23333" y="485"/>
                </a:cubicBezTo>
                <a:cubicBezTo>
                  <a:pt x="23265" y="485"/>
                  <a:pt x="23232" y="457"/>
                  <a:pt x="23232" y="402"/>
                </a:cubicBezTo>
                <a:cubicBezTo>
                  <a:pt x="23232" y="375"/>
                  <a:pt x="23240" y="336"/>
                  <a:pt x="23258" y="287"/>
                </a:cubicBezTo>
                <a:cubicBezTo>
                  <a:pt x="23276" y="238"/>
                  <a:pt x="23285" y="202"/>
                  <a:pt x="23287" y="177"/>
                </a:cubicBezTo>
                <a:cubicBezTo>
                  <a:pt x="23302" y="186"/>
                  <a:pt x="23331" y="230"/>
                  <a:pt x="23374" y="308"/>
                </a:cubicBezTo>
                <a:cubicBezTo>
                  <a:pt x="23377" y="313"/>
                  <a:pt x="23391" y="326"/>
                  <a:pt x="23416" y="349"/>
                </a:cubicBezTo>
                <a:cubicBezTo>
                  <a:pt x="23434" y="366"/>
                  <a:pt x="23443" y="384"/>
                  <a:pt x="23443" y="402"/>
                </a:cubicBezTo>
                <a:close/>
                <a:moveTo>
                  <a:pt x="23227" y="1034"/>
                </a:moveTo>
                <a:cubicBezTo>
                  <a:pt x="23227" y="1059"/>
                  <a:pt x="23184" y="1181"/>
                  <a:pt x="23098" y="1400"/>
                </a:cubicBezTo>
                <a:cubicBezTo>
                  <a:pt x="23088" y="1427"/>
                  <a:pt x="23072" y="1468"/>
                  <a:pt x="23050" y="1522"/>
                </a:cubicBezTo>
                <a:cubicBezTo>
                  <a:pt x="23032" y="1563"/>
                  <a:pt x="23008" y="1589"/>
                  <a:pt x="22979" y="1600"/>
                </a:cubicBezTo>
                <a:cubicBezTo>
                  <a:pt x="22962" y="1606"/>
                  <a:pt x="22927" y="1609"/>
                  <a:pt x="22875" y="1609"/>
                </a:cubicBezTo>
                <a:cubicBezTo>
                  <a:pt x="22875" y="1598"/>
                  <a:pt x="22873" y="1583"/>
                  <a:pt x="22870" y="1563"/>
                </a:cubicBezTo>
                <a:cubicBezTo>
                  <a:pt x="22866" y="1543"/>
                  <a:pt x="22864" y="1528"/>
                  <a:pt x="22864" y="1517"/>
                </a:cubicBezTo>
                <a:cubicBezTo>
                  <a:pt x="22864" y="1483"/>
                  <a:pt x="22877" y="1446"/>
                  <a:pt x="22903" y="1404"/>
                </a:cubicBezTo>
                <a:cubicBezTo>
                  <a:pt x="22938" y="1348"/>
                  <a:pt x="22958" y="1313"/>
                  <a:pt x="22963" y="1301"/>
                </a:cubicBezTo>
                <a:cubicBezTo>
                  <a:pt x="22975" y="1263"/>
                  <a:pt x="22999" y="1195"/>
                  <a:pt x="23034" y="1099"/>
                </a:cubicBezTo>
                <a:cubicBezTo>
                  <a:pt x="23060" y="1031"/>
                  <a:pt x="23101" y="975"/>
                  <a:pt x="23158" y="929"/>
                </a:cubicBezTo>
                <a:cubicBezTo>
                  <a:pt x="23204" y="975"/>
                  <a:pt x="23227" y="1010"/>
                  <a:pt x="23227" y="1034"/>
                </a:cubicBezTo>
                <a:close/>
                <a:moveTo>
                  <a:pt x="24765" y="1253"/>
                </a:moveTo>
                <a:cubicBezTo>
                  <a:pt x="24765" y="1178"/>
                  <a:pt x="24726" y="1121"/>
                  <a:pt x="24650" y="1083"/>
                </a:cubicBezTo>
                <a:cubicBezTo>
                  <a:pt x="24588" y="1052"/>
                  <a:pt x="24516" y="1037"/>
                  <a:pt x="24434" y="1037"/>
                </a:cubicBezTo>
                <a:cubicBezTo>
                  <a:pt x="24296" y="1037"/>
                  <a:pt x="24153" y="1075"/>
                  <a:pt x="24004" y="1152"/>
                </a:cubicBezTo>
                <a:cubicBezTo>
                  <a:pt x="23848" y="1230"/>
                  <a:pt x="23736" y="1325"/>
                  <a:pt x="23668" y="1439"/>
                </a:cubicBezTo>
                <a:cubicBezTo>
                  <a:pt x="23773" y="1545"/>
                  <a:pt x="23897" y="1597"/>
                  <a:pt x="24043" y="1597"/>
                </a:cubicBezTo>
                <a:cubicBezTo>
                  <a:pt x="24182" y="1597"/>
                  <a:pt x="24326" y="1572"/>
                  <a:pt x="24473" y="1522"/>
                </a:cubicBezTo>
                <a:cubicBezTo>
                  <a:pt x="24667" y="1454"/>
                  <a:pt x="24765" y="1365"/>
                  <a:pt x="24765" y="1253"/>
                </a:cubicBezTo>
                <a:close/>
                <a:moveTo>
                  <a:pt x="24891" y="1266"/>
                </a:moveTo>
                <a:cubicBezTo>
                  <a:pt x="24891" y="1411"/>
                  <a:pt x="24787" y="1523"/>
                  <a:pt x="24579" y="1604"/>
                </a:cubicBezTo>
                <a:cubicBezTo>
                  <a:pt x="24421" y="1666"/>
                  <a:pt x="24254" y="1696"/>
                  <a:pt x="24080" y="1696"/>
                </a:cubicBezTo>
                <a:cubicBezTo>
                  <a:pt x="23714" y="1696"/>
                  <a:pt x="23530" y="1606"/>
                  <a:pt x="23530" y="1425"/>
                </a:cubicBezTo>
                <a:cubicBezTo>
                  <a:pt x="23530" y="1296"/>
                  <a:pt x="23650" y="1171"/>
                  <a:pt x="23889" y="1050"/>
                </a:cubicBezTo>
                <a:cubicBezTo>
                  <a:pt x="24102" y="943"/>
                  <a:pt x="24281" y="890"/>
                  <a:pt x="24427" y="890"/>
                </a:cubicBezTo>
                <a:cubicBezTo>
                  <a:pt x="24556" y="890"/>
                  <a:pt x="24662" y="919"/>
                  <a:pt x="24746" y="979"/>
                </a:cubicBezTo>
                <a:cubicBezTo>
                  <a:pt x="24843" y="1047"/>
                  <a:pt x="24891" y="1142"/>
                  <a:pt x="24891" y="1266"/>
                </a:cubicBezTo>
                <a:close/>
                <a:moveTo>
                  <a:pt x="26146" y="1142"/>
                </a:moveTo>
                <a:cubicBezTo>
                  <a:pt x="26146" y="1196"/>
                  <a:pt x="26121" y="1273"/>
                  <a:pt x="26070" y="1375"/>
                </a:cubicBezTo>
                <a:cubicBezTo>
                  <a:pt x="26020" y="1476"/>
                  <a:pt x="25973" y="1546"/>
                  <a:pt x="25930" y="1586"/>
                </a:cubicBezTo>
                <a:cubicBezTo>
                  <a:pt x="25932" y="1606"/>
                  <a:pt x="25933" y="1618"/>
                  <a:pt x="25935" y="1623"/>
                </a:cubicBezTo>
                <a:cubicBezTo>
                  <a:pt x="25938" y="1633"/>
                  <a:pt x="25943" y="1645"/>
                  <a:pt x="25951" y="1657"/>
                </a:cubicBezTo>
                <a:cubicBezTo>
                  <a:pt x="25938" y="1703"/>
                  <a:pt x="25908" y="1726"/>
                  <a:pt x="25859" y="1726"/>
                </a:cubicBezTo>
                <a:cubicBezTo>
                  <a:pt x="25833" y="1726"/>
                  <a:pt x="25809" y="1718"/>
                  <a:pt x="25789" y="1703"/>
                </a:cubicBezTo>
                <a:cubicBezTo>
                  <a:pt x="25768" y="1688"/>
                  <a:pt x="25758" y="1668"/>
                  <a:pt x="25758" y="1643"/>
                </a:cubicBezTo>
                <a:cubicBezTo>
                  <a:pt x="25758" y="1599"/>
                  <a:pt x="25797" y="1523"/>
                  <a:pt x="25875" y="1416"/>
                </a:cubicBezTo>
                <a:cubicBezTo>
                  <a:pt x="25953" y="1309"/>
                  <a:pt x="25992" y="1234"/>
                  <a:pt x="25992" y="1193"/>
                </a:cubicBezTo>
                <a:cubicBezTo>
                  <a:pt x="25992" y="1115"/>
                  <a:pt x="25952" y="1076"/>
                  <a:pt x="25873" y="1076"/>
                </a:cubicBezTo>
                <a:cubicBezTo>
                  <a:pt x="25767" y="1076"/>
                  <a:pt x="25664" y="1125"/>
                  <a:pt x="25565" y="1223"/>
                </a:cubicBezTo>
                <a:cubicBezTo>
                  <a:pt x="25514" y="1276"/>
                  <a:pt x="25421" y="1371"/>
                  <a:pt x="25286" y="1508"/>
                </a:cubicBezTo>
                <a:cubicBezTo>
                  <a:pt x="25179" y="1617"/>
                  <a:pt x="25076" y="1679"/>
                  <a:pt x="24976" y="1696"/>
                </a:cubicBezTo>
                <a:lnTo>
                  <a:pt x="24976" y="1676"/>
                </a:lnTo>
                <a:lnTo>
                  <a:pt x="24955" y="1653"/>
                </a:lnTo>
                <a:cubicBezTo>
                  <a:pt x="24955" y="1571"/>
                  <a:pt x="25030" y="1441"/>
                  <a:pt x="25181" y="1262"/>
                </a:cubicBezTo>
                <a:cubicBezTo>
                  <a:pt x="25267" y="1159"/>
                  <a:pt x="25322" y="1085"/>
                  <a:pt x="25346" y="1039"/>
                </a:cubicBezTo>
                <a:cubicBezTo>
                  <a:pt x="25360" y="999"/>
                  <a:pt x="25375" y="959"/>
                  <a:pt x="25392" y="919"/>
                </a:cubicBezTo>
                <a:cubicBezTo>
                  <a:pt x="25406" y="889"/>
                  <a:pt x="25419" y="867"/>
                  <a:pt x="25432" y="855"/>
                </a:cubicBezTo>
                <a:cubicBezTo>
                  <a:pt x="25445" y="843"/>
                  <a:pt x="25466" y="837"/>
                  <a:pt x="25496" y="837"/>
                </a:cubicBezTo>
                <a:cubicBezTo>
                  <a:pt x="25538" y="837"/>
                  <a:pt x="25560" y="859"/>
                  <a:pt x="25560" y="903"/>
                </a:cubicBezTo>
                <a:cubicBezTo>
                  <a:pt x="25560" y="934"/>
                  <a:pt x="25556" y="958"/>
                  <a:pt x="25548" y="977"/>
                </a:cubicBezTo>
                <a:cubicBezTo>
                  <a:pt x="25547" y="983"/>
                  <a:pt x="25530" y="1024"/>
                  <a:pt x="25498" y="1101"/>
                </a:cubicBezTo>
                <a:cubicBezTo>
                  <a:pt x="25630" y="1031"/>
                  <a:pt x="25705" y="991"/>
                  <a:pt x="25723" y="984"/>
                </a:cubicBezTo>
                <a:cubicBezTo>
                  <a:pt x="25827" y="933"/>
                  <a:pt x="25904" y="908"/>
                  <a:pt x="25953" y="908"/>
                </a:cubicBezTo>
                <a:cubicBezTo>
                  <a:pt x="26011" y="908"/>
                  <a:pt x="26058" y="932"/>
                  <a:pt x="26093" y="980"/>
                </a:cubicBezTo>
                <a:cubicBezTo>
                  <a:pt x="26128" y="1029"/>
                  <a:pt x="26146" y="1083"/>
                  <a:pt x="26146" y="1142"/>
                </a:cubicBezTo>
                <a:close/>
              </a:path>
            </a:pathLst>
          </a:custGeom>
          <a:solidFill>
            <a:srgbClr val="00469B"/>
          </a:solidFill>
          <a:ln>
            <a:noFill/>
          </a:ln>
        </p:spPr>
        <p:txBody>
          <a:bodyPr vert="horz" wrap="square" lIns="89309" tIns="44655" rIns="89309" bIns="44655" numCol="1" anchor="t" anchorCtr="0" compatLnSpc="1">
            <a:prstTxWarp prst="textNoShape">
              <a:avLst/>
            </a:prstTxWarp>
          </a:bodyPr>
          <a:lstStyle/>
          <a:p>
            <a:pPr defTabSz="914350"/>
            <a:endParaRPr lang="de-DE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16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A7807B3-A5E6-4024-B8ED-B81E6B6CA2A7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69093" y="1697832"/>
            <a:ext cx="11447300" cy="4536676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576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&amp;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/>
            <a:ahLst/>
            <a:cxnLst/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lnTo>
                  <a:pt x="12192000" y="4346489"/>
                </a:lnTo>
                <a:lnTo>
                  <a:pt x="11112000" y="5426489"/>
                </a:lnTo>
                <a:lnTo>
                  <a:pt x="0" y="542648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E871208-225D-4644-87F1-EAFD42905059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804863" y="975360"/>
            <a:ext cx="2906077" cy="4246880"/>
          </a:xfrm>
          <a:custGeom>
            <a:avLst/>
            <a:gdLst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2768867 h 4246880"/>
              <a:gd name="connsiteX3" fmla="*/ 2906077 w 2906077"/>
              <a:gd name="connsiteY3" fmla="*/ 3078481 h 4246880"/>
              <a:gd name="connsiteX4" fmla="*/ 2906077 w 2906077"/>
              <a:gd name="connsiteY4" fmla="*/ 3454880 h 4246880"/>
              <a:gd name="connsiteX5" fmla="*/ 2114077 w 2906077"/>
              <a:gd name="connsiteY5" fmla="*/ 4246880 h 4246880"/>
              <a:gd name="connsiteX6" fmla="*/ 1737678 w 2906077"/>
              <a:gd name="connsiteY6" fmla="*/ 4246880 h 4246880"/>
              <a:gd name="connsiteX7" fmla="*/ 1466699 w 2906077"/>
              <a:gd name="connsiteY7" fmla="*/ 4246880 h 4246880"/>
              <a:gd name="connsiteX8" fmla="*/ 0 w 2906077"/>
              <a:gd name="connsiteY8" fmla="*/ 424688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2768867 h 4246880"/>
              <a:gd name="connsiteX3" fmla="*/ 2906077 w 2906077"/>
              <a:gd name="connsiteY3" fmla="*/ 3454880 h 4246880"/>
              <a:gd name="connsiteX4" fmla="*/ 2114077 w 2906077"/>
              <a:gd name="connsiteY4" fmla="*/ 4246880 h 4246880"/>
              <a:gd name="connsiteX5" fmla="*/ 1737678 w 2906077"/>
              <a:gd name="connsiteY5" fmla="*/ 4246880 h 4246880"/>
              <a:gd name="connsiteX6" fmla="*/ 1466699 w 2906077"/>
              <a:gd name="connsiteY6" fmla="*/ 4246880 h 4246880"/>
              <a:gd name="connsiteX7" fmla="*/ 0 w 2906077"/>
              <a:gd name="connsiteY7" fmla="*/ 4246880 h 4246880"/>
              <a:gd name="connsiteX8" fmla="*/ 0 w 2906077"/>
              <a:gd name="connsiteY8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1737678 w 2906077"/>
              <a:gd name="connsiteY4" fmla="*/ 4246880 h 4246880"/>
              <a:gd name="connsiteX5" fmla="*/ 1466699 w 2906077"/>
              <a:gd name="connsiteY5" fmla="*/ 4246880 h 4246880"/>
              <a:gd name="connsiteX6" fmla="*/ 0 w 2906077"/>
              <a:gd name="connsiteY6" fmla="*/ 4246880 h 4246880"/>
              <a:gd name="connsiteX7" fmla="*/ 0 w 2906077"/>
              <a:gd name="connsiteY7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1466699 w 2906077"/>
              <a:gd name="connsiteY4" fmla="*/ 4246880 h 4246880"/>
              <a:gd name="connsiteX5" fmla="*/ 0 w 2906077"/>
              <a:gd name="connsiteY5" fmla="*/ 4246880 h 4246880"/>
              <a:gd name="connsiteX6" fmla="*/ 0 w 2906077"/>
              <a:gd name="connsiteY6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0 w 2906077"/>
              <a:gd name="connsiteY4" fmla="*/ 4246880 h 4246880"/>
              <a:gd name="connsiteX5" fmla="*/ 0 w 2906077"/>
              <a:gd name="connsiteY5" fmla="*/ 0 h 424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06077" h="4246880">
                <a:moveTo>
                  <a:pt x="0" y="0"/>
                </a:moveTo>
                <a:lnTo>
                  <a:pt x="2906077" y="0"/>
                </a:lnTo>
                <a:lnTo>
                  <a:pt x="2906077" y="3454880"/>
                </a:lnTo>
                <a:lnTo>
                  <a:pt x="2114077" y="4246880"/>
                </a:lnTo>
                <a:lnTo>
                  <a:pt x="0" y="42468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>
            <a:noAutofit/>
          </a:bodyPr>
          <a:lstStyle>
            <a:lvl1pPr>
              <a:spcBef>
                <a:spcPts val="0"/>
              </a:spcBef>
              <a:spcAft>
                <a:spcPts val="2000"/>
              </a:spcAft>
              <a:defRPr sz="2400" b="1" cap="all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554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332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809911F-300E-414E-B299-C50A99857B5F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>
              <a:gd name="connsiteX0" fmla="*/ 4267541 w 12192000"/>
              <a:gd name="connsiteY0" fmla="*/ 5426489 h 5426489"/>
              <a:gd name="connsiteX1" fmla="*/ 4831635 w 12192000"/>
              <a:gd name="connsiteY1" fmla="*/ 5426489 h 5426489"/>
              <a:gd name="connsiteX2" fmla="*/ 4267541 w 12192000"/>
              <a:gd name="connsiteY2" fmla="*/ 5426489 h 5426489"/>
              <a:gd name="connsiteX3" fmla="*/ 0 w 12192000"/>
              <a:gd name="connsiteY3" fmla="*/ 0 h 5426489"/>
              <a:gd name="connsiteX4" fmla="*/ 12191999 w 12192000"/>
              <a:gd name="connsiteY4" fmla="*/ 0 h 5426489"/>
              <a:gd name="connsiteX5" fmla="*/ 12192000 w 12192000"/>
              <a:gd name="connsiteY5" fmla="*/ 4346489 h 5426489"/>
              <a:gd name="connsiteX6" fmla="*/ 11112000 w 12192000"/>
              <a:gd name="connsiteY6" fmla="*/ 5426489 h 5426489"/>
              <a:gd name="connsiteX7" fmla="*/ 4831635 w 12192000"/>
              <a:gd name="connsiteY7" fmla="*/ 5426489 h 5426489"/>
              <a:gd name="connsiteX8" fmla="*/ 5911635 w 12192000"/>
              <a:gd name="connsiteY8" fmla="*/ 4346489 h 5426489"/>
              <a:gd name="connsiteX9" fmla="*/ 5911635 w 12192000"/>
              <a:gd name="connsiteY9" fmla="*/ 3773266 h 5426489"/>
              <a:gd name="connsiteX10" fmla="*/ 5911637 w 12192000"/>
              <a:gd name="connsiteY10" fmla="*/ 3773264 h 5426489"/>
              <a:gd name="connsiteX11" fmla="*/ 5911637 w 12192000"/>
              <a:gd name="connsiteY11" fmla="*/ 1342934 h 5426489"/>
              <a:gd name="connsiteX12" fmla="*/ 5911635 w 12192000"/>
              <a:gd name="connsiteY12" fmla="*/ 1342934 h 5426489"/>
              <a:gd name="connsiteX13" fmla="*/ 5911635 w 12192000"/>
              <a:gd name="connsiteY13" fmla="*/ 1340158 h 5426489"/>
              <a:gd name="connsiteX14" fmla="*/ 0 w 12192000"/>
              <a:gd name="connsiteY14" fmla="*/ 1340158 h 5426489"/>
              <a:gd name="connsiteX15" fmla="*/ 0 w 12192000"/>
              <a:gd name="connsiteY15" fmla="*/ 761984 h 5426489"/>
              <a:gd name="connsiteX16" fmla="*/ 0 w 12192000"/>
              <a:gd name="connsiteY16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3773264 h 5426489"/>
              <a:gd name="connsiteX8" fmla="*/ 5911637 w 12192000"/>
              <a:gd name="connsiteY8" fmla="*/ 1342934 h 5426489"/>
              <a:gd name="connsiteX9" fmla="*/ 5911635 w 12192000"/>
              <a:gd name="connsiteY9" fmla="*/ 1342934 h 5426489"/>
              <a:gd name="connsiteX10" fmla="*/ 5911635 w 12192000"/>
              <a:gd name="connsiteY10" fmla="*/ 1340158 h 5426489"/>
              <a:gd name="connsiteX11" fmla="*/ 0 w 12192000"/>
              <a:gd name="connsiteY11" fmla="*/ 1340158 h 5426489"/>
              <a:gd name="connsiteX12" fmla="*/ 0 w 12192000"/>
              <a:gd name="connsiteY12" fmla="*/ 761984 h 5426489"/>
              <a:gd name="connsiteX13" fmla="*/ 0 w 12192000"/>
              <a:gd name="connsiteY13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1342934 h 5426489"/>
              <a:gd name="connsiteX8" fmla="*/ 5911635 w 12192000"/>
              <a:gd name="connsiteY8" fmla="*/ 1342934 h 5426489"/>
              <a:gd name="connsiteX9" fmla="*/ 5911635 w 12192000"/>
              <a:gd name="connsiteY9" fmla="*/ 1340158 h 5426489"/>
              <a:gd name="connsiteX10" fmla="*/ 0 w 12192000"/>
              <a:gd name="connsiteY10" fmla="*/ 1340158 h 5426489"/>
              <a:gd name="connsiteX11" fmla="*/ 0 w 12192000"/>
              <a:gd name="connsiteY11" fmla="*/ 761984 h 5426489"/>
              <a:gd name="connsiteX12" fmla="*/ 0 w 12192000"/>
              <a:gd name="connsiteY12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761984 h 5426489"/>
              <a:gd name="connsiteX11" fmla="*/ 0 w 12192000"/>
              <a:gd name="connsiteY11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0 h 5426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cubicBezTo>
                  <a:pt x="12191999" y="1448830"/>
                  <a:pt x="12192000" y="2897659"/>
                  <a:pt x="12192000" y="4346489"/>
                </a:cubicBezTo>
                <a:lnTo>
                  <a:pt x="11112000" y="5426489"/>
                </a:lnTo>
                <a:lnTo>
                  <a:pt x="4831635" y="5426489"/>
                </a:lnTo>
                <a:lnTo>
                  <a:pt x="5911635" y="4346489"/>
                </a:lnTo>
                <a:cubicBezTo>
                  <a:pt x="5911636" y="3345304"/>
                  <a:pt x="5911636" y="2344119"/>
                  <a:pt x="5911637" y="1342934"/>
                </a:cubicBezTo>
                <a:lnTo>
                  <a:pt x="5911635" y="1342934"/>
                </a:lnTo>
                <a:lnTo>
                  <a:pt x="5911635" y="1340158"/>
                </a:lnTo>
                <a:lnTo>
                  <a:pt x="0" y="134015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8FC2B87-2E99-4CCB-AFB9-1A1F4515BEDB}"/>
              </a:ext>
            </a:extLst>
          </p:cNvPr>
          <p:cNvSpPr/>
          <p:nvPr/>
        </p:nvSpPr>
        <p:spPr bwMode="gray">
          <a:xfrm flipV="1">
            <a:off x="1" y="2148183"/>
            <a:ext cx="5911635" cy="4086331"/>
          </a:xfrm>
          <a:custGeom>
            <a:avLst/>
            <a:gdLst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3965607 w 5911635"/>
              <a:gd name="connsiteY6" fmla="*/ 0 h 4086331"/>
              <a:gd name="connsiteX7" fmla="*/ 0 w 5911635"/>
              <a:gd name="connsiteY7" fmla="*/ 1 h 4086331"/>
              <a:gd name="connsiteX8" fmla="*/ 0 w 5911635"/>
              <a:gd name="connsiteY8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0 w 5911635"/>
              <a:gd name="connsiteY6" fmla="*/ 1 h 4086331"/>
              <a:gd name="connsiteX7" fmla="*/ 0 w 5911635"/>
              <a:gd name="connsiteY7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080000 h 4086331"/>
              <a:gd name="connsiteX4" fmla="*/ 4831635 w 5911635"/>
              <a:gd name="connsiteY4" fmla="*/ 0 h 4086331"/>
              <a:gd name="connsiteX5" fmla="*/ 0 w 5911635"/>
              <a:gd name="connsiteY5" fmla="*/ 1 h 4086331"/>
              <a:gd name="connsiteX6" fmla="*/ 0 w 5911635"/>
              <a:gd name="connsiteY6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1080000 h 4086331"/>
              <a:gd name="connsiteX3" fmla="*/ 4831635 w 5911635"/>
              <a:gd name="connsiteY3" fmla="*/ 0 h 4086331"/>
              <a:gd name="connsiteX4" fmla="*/ 0 w 5911635"/>
              <a:gd name="connsiteY4" fmla="*/ 1 h 4086331"/>
              <a:gd name="connsiteX5" fmla="*/ 0 w 5911635"/>
              <a:gd name="connsiteY5" fmla="*/ 4086331 h 408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1635" h="4086331">
                <a:moveTo>
                  <a:pt x="0" y="4086331"/>
                </a:moveTo>
                <a:lnTo>
                  <a:pt x="5911635" y="4086331"/>
                </a:lnTo>
                <a:lnTo>
                  <a:pt x="5911635" y="1080000"/>
                </a:lnTo>
                <a:lnTo>
                  <a:pt x="4831635" y="0"/>
                </a:lnTo>
                <a:lnTo>
                  <a:pt x="0" y="1"/>
                </a:lnTo>
                <a:lnTo>
                  <a:pt x="0" y="40863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D5C4684-4986-4A53-B19F-63001F9D2ABB}"/>
              </a:ext>
            </a:extLst>
          </p:cNvPr>
          <p:cNvGrpSpPr/>
          <p:nvPr/>
        </p:nvGrpSpPr>
        <p:grpSpPr bwMode="gray">
          <a:xfrm>
            <a:off x="366281" y="2333338"/>
            <a:ext cx="687011" cy="799999"/>
            <a:chOff x="5575300" y="4071938"/>
            <a:chExt cx="1081088" cy="1258887"/>
          </a:xfrm>
          <a:solidFill>
            <a:schemeClr val="accent6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3729C28-DB4F-4C05-9073-3590440137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5300" y="4835525"/>
              <a:ext cx="1081088" cy="495300"/>
            </a:xfrm>
            <a:custGeom>
              <a:avLst/>
              <a:gdLst>
                <a:gd name="T0" fmla="*/ 1196 w 1380"/>
                <a:gd name="T1" fmla="*/ 129 h 631"/>
                <a:gd name="T2" fmla="*/ 930 w 1380"/>
                <a:gd name="T3" fmla="*/ 0 h 631"/>
                <a:gd name="T4" fmla="*/ 801 w 1380"/>
                <a:gd name="T5" fmla="*/ 407 h 631"/>
                <a:gd name="T6" fmla="*/ 783 w 1380"/>
                <a:gd name="T7" fmla="*/ 462 h 631"/>
                <a:gd name="T8" fmla="*/ 726 w 1380"/>
                <a:gd name="T9" fmla="*/ 299 h 631"/>
                <a:gd name="T10" fmla="*/ 691 w 1380"/>
                <a:gd name="T11" fmla="*/ 105 h 631"/>
                <a:gd name="T12" fmla="*/ 690 w 1380"/>
                <a:gd name="T13" fmla="*/ 105 h 631"/>
                <a:gd name="T14" fmla="*/ 655 w 1380"/>
                <a:gd name="T15" fmla="*/ 299 h 631"/>
                <a:gd name="T16" fmla="*/ 597 w 1380"/>
                <a:gd name="T17" fmla="*/ 462 h 631"/>
                <a:gd name="T18" fmla="*/ 580 w 1380"/>
                <a:gd name="T19" fmla="*/ 407 h 631"/>
                <a:gd name="T20" fmla="*/ 451 w 1380"/>
                <a:gd name="T21" fmla="*/ 0 h 631"/>
                <a:gd name="T22" fmla="*/ 184 w 1380"/>
                <a:gd name="T23" fmla="*/ 129 h 631"/>
                <a:gd name="T24" fmla="*/ 8 w 1380"/>
                <a:gd name="T25" fmla="*/ 631 h 631"/>
                <a:gd name="T26" fmla="*/ 1373 w 1380"/>
                <a:gd name="T27" fmla="*/ 631 h 631"/>
                <a:gd name="T28" fmla="*/ 1196 w 1380"/>
                <a:gd name="T29" fmla="*/ 129 h 631"/>
                <a:gd name="T30" fmla="*/ 1196 w 1380"/>
                <a:gd name="T31" fmla="*/ 129 h 631"/>
                <a:gd name="T32" fmla="*/ 1196 w 1380"/>
                <a:gd name="T33" fmla="*/ 12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0" h="631">
                  <a:moveTo>
                    <a:pt x="1196" y="129"/>
                  </a:moveTo>
                  <a:cubicBezTo>
                    <a:pt x="1029" y="65"/>
                    <a:pt x="930" y="0"/>
                    <a:pt x="930" y="0"/>
                  </a:cubicBezTo>
                  <a:cubicBezTo>
                    <a:pt x="801" y="407"/>
                    <a:pt x="801" y="407"/>
                    <a:pt x="801" y="407"/>
                  </a:cubicBezTo>
                  <a:cubicBezTo>
                    <a:pt x="783" y="462"/>
                    <a:pt x="783" y="462"/>
                    <a:pt x="783" y="462"/>
                  </a:cubicBezTo>
                  <a:cubicBezTo>
                    <a:pt x="726" y="299"/>
                    <a:pt x="726" y="299"/>
                    <a:pt x="726" y="299"/>
                  </a:cubicBezTo>
                  <a:cubicBezTo>
                    <a:pt x="858" y="114"/>
                    <a:pt x="716" y="105"/>
                    <a:pt x="691" y="105"/>
                  </a:cubicBezTo>
                  <a:cubicBezTo>
                    <a:pt x="690" y="105"/>
                    <a:pt x="690" y="105"/>
                    <a:pt x="690" y="105"/>
                  </a:cubicBezTo>
                  <a:cubicBezTo>
                    <a:pt x="665" y="106"/>
                    <a:pt x="523" y="114"/>
                    <a:pt x="655" y="299"/>
                  </a:cubicBezTo>
                  <a:cubicBezTo>
                    <a:pt x="597" y="462"/>
                    <a:pt x="597" y="462"/>
                    <a:pt x="597" y="462"/>
                  </a:cubicBezTo>
                  <a:cubicBezTo>
                    <a:pt x="580" y="407"/>
                    <a:pt x="580" y="407"/>
                    <a:pt x="580" y="407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351" y="65"/>
                    <a:pt x="184" y="129"/>
                  </a:cubicBezTo>
                  <a:cubicBezTo>
                    <a:pt x="0" y="196"/>
                    <a:pt x="12" y="347"/>
                    <a:pt x="8" y="631"/>
                  </a:cubicBezTo>
                  <a:cubicBezTo>
                    <a:pt x="1373" y="631"/>
                    <a:pt x="1373" y="631"/>
                    <a:pt x="1373" y="631"/>
                  </a:cubicBezTo>
                  <a:cubicBezTo>
                    <a:pt x="1369" y="347"/>
                    <a:pt x="1380" y="196"/>
                    <a:pt x="1196" y="129"/>
                  </a:cubicBezTo>
                  <a:close/>
                  <a:moveTo>
                    <a:pt x="1196" y="129"/>
                  </a:moveTo>
                  <a:cubicBezTo>
                    <a:pt x="1196" y="129"/>
                    <a:pt x="1196" y="129"/>
                    <a:pt x="1196" y="12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51C4A591-7416-43B8-B361-B387B6F4BFE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37225" y="4071938"/>
              <a:ext cx="754063" cy="749300"/>
            </a:xfrm>
            <a:custGeom>
              <a:avLst/>
              <a:gdLst>
                <a:gd name="T0" fmla="*/ 157 w 960"/>
                <a:gd name="T1" fmla="*/ 773 h 956"/>
                <a:gd name="T2" fmla="*/ 67 w 960"/>
                <a:gd name="T3" fmla="*/ 875 h 956"/>
                <a:gd name="T4" fmla="*/ 72 w 960"/>
                <a:gd name="T5" fmla="*/ 907 h 956"/>
                <a:gd name="T6" fmla="*/ 258 w 960"/>
                <a:gd name="T7" fmla="*/ 856 h 956"/>
                <a:gd name="T8" fmla="*/ 259 w 960"/>
                <a:gd name="T9" fmla="*/ 857 h 956"/>
                <a:gd name="T10" fmla="*/ 789 w 960"/>
                <a:gd name="T11" fmla="*/ 789 h 956"/>
                <a:gd name="T12" fmla="*/ 789 w 960"/>
                <a:gd name="T13" fmla="*/ 171 h 956"/>
                <a:gd name="T14" fmla="*/ 171 w 960"/>
                <a:gd name="T15" fmla="*/ 171 h 956"/>
                <a:gd name="T16" fmla="*/ 152 w 960"/>
                <a:gd name="T17" fmla="*/ 770 h 956"/>
                <a:gd name="T18" fmla="*/ 157 w 960"/>
                <a:gd name="T19" fmla="*/ 773 h 956"/>
                <a:gd name="T20" fmla="*/ 498 w 960"/>
                <a:gd name="T21" fmla="*/ 210 h 956"/>
                <a:gd name="T22" fmla="*/ 569 w 960"/>
                <a:gd name="T23" fmla="*/ 282 h 956"/>
                <a:gd name="T24" fmla="*/ 498 w 960"/>
                <a:gd name="T25" fmla="*/ 354 h 956"/>
                <a:gd name="T26" fmla="*/ 427 w 960"/>
                <a:gd name="T27" fmla="*/ 281 h 956"/>
                <a:gd name="T28" fmla="*/ 498 w 960"/>
                <a:gd name="T29" fmla="*/ 210 h 956"/>
                <a:gd name="T30" fmla="*/ 360 w 960"/>
                <a:gd name="T31" fmla="*/ 401 h 956"/>
                <a:gd name="T32" fmla="*/ 376 w 960"/>
                <a:gd name="T33" fmla="*/ 387 h 956"/>
                <a:gd name="T34" fmla="*/ 392 w 960"/>
                <a:gd name="T35" fmla="*/ 385 h 956"/>
                <a:gd name="T36" fmla="*/ 527 w 960"/>
                <a:gd name="T37" fmla="*/ 385 h 956"/>
                <a:gd name="T38" fmla="*/ 554 w 960"/>
                <a:gd name="T39" fmla="*/ 410 h 956"/>
                <a:gd name="T40" fmla="*/ 549 w 960"/>
                <a:gd name="T41" fmla="*/ 452 h 956"/>
                <a:gd name="T42" fmla="*/ 522 w 960"/>
                <a:gd name="T43" fmla="*/ 604 h 956"/>
                <a:gd name="T44" fmla="*/ 513 w 960"/>
                <a:gd name="T45" fmla="*/ 655 h 956"/>
                <a:gd name="T46" fmla="*/ 515 w 960"/>
                <a:gd name="T47" fmla="*/ 679 h 956"/>
                <a:gd name="T48" fmla="*/ 537 w 960"/>
                <a:gd name="T49" fmla="*/ 695 h 956"/>
                <a:gd name="T50" fmla="*/ 563 w 960"/>
                <a:gd name="T51" fmla="*/ 687 h 956"/>
                <a:gd name="T52" fmla="*/ 583 w 960"/>
                <a:gd name="T53" fmla="*/ 677 h 956"/>
                <a:gd name="T54" fmla="*/ 600 w 960"/>
                <a:gd name="T55" fmla="*/ 691 h 956"/>
                <a:gd name="T56" fmla="*/ 590 w 960"/>
                <a:gd name="T57" fmla="*/ 708 h 956"/>
                <a:gd name="T58" fmla="*/ 496 w 960"/>
                <a:gd name="T59" fmla="*/ 750 h 956"/>
                <a:gd name="T60" fmla="*/ 444 w 960"/>
                <a:gd name="T61" fmla="*/ 747 h 956"/>
                <a:gd name="T62" fmla="*/ 384 w 960"/>
                <a:gd name="T63" fmla="*/ 670 h 956"/>
                <a:gd name="T64" fmla="*/ 396 w 960"/>
                <a:gd name="T65" fmla="*/ 593 h 956"/>
                <a:gd name="T66" fmla="*/ 420 w 960"/>
                <a:gd name="T67" fmla="*/ 460 h 956"/>
                <a:gd name="T68" fmla="*/ 420 w 960"/>
                <a:gd name="T69" fmla="*/ 451 h 956"/>
                <a:gd name="T70" fmla="*/ 396 w 960"/>
                <a:gd name="T71" fmla="*/ 423 h 956"/>
                <a:gd name="T72" fmla="*/ 372 w 960"/>
                <a:gd name="T73" fmla="*/ 419 h 956"/>
                <a:gd name="T74" fmla="*/ 360 w 960"/>
                <a:gd name="T75" fmla="*/ 401 h 956"/>
                <a:gd name="T76" fmla="*/ 360 w 960"/>
                <a:gd name="T77" fmla="*/ 401 h 956"/>
                <a:gd name="T78" fmla="*/ 360 w 960"/>
                <a:gd name="T79" fmla="*/ 401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0" h="956">
                  <a:moveTo>
                    <a:pt x="157" y="773"/>
                  </a:moveTo>
                  <a:cubicBezTo>
                    <a:pt x="140" y="809"/>
                    <a:pt x="112" y="853"/>
                    <a:pt x="67" y="875"/>
                  </a:cubicBezTo>
                  <a:cubicBezTo>
                    <a:pt x="52" y="882"/>
                    <a:pt x="55" y="904"/>
                    <a:pt x="72" y="907"/>
                  </a:cubicBezTo>
                  <a:cubicBezTo>
                    <a:pt x="121" y="915"/>
                    <a:pt x="192" y="906"/>
                    <a:pt x="258" y="856"/>
                  </a:cubicBezTo>
                  <a:cubicBezTo>
                    <a:pt x="259" y="857"/>
                    <a:pt x="259" y="857"/>
                    <a:pt x="259" y="857"/>
                  </a:cubicBezTo>
                  <a:cubicBezTo>
                    <a:pt x="426" y="956"/>
                    <a:pt x="645" y="933"/>
                    <a:pt x="789" y="789"/>
                  </a:cubicBezTo>
                  <a:cubicBezTo>
                    <a:pt x="960" y="618"/>
                    <a:pt x="960" y="342"/>
                    <a:pt x="789" y="171"/>
                  </a:cubicBezTo>
                  <a:cubicBezTo>
                    <a:pt x="618" y="0"/>
                    <a:pt x="342" y="0"/>
                    <a:pt x="171" y="171"/>
                  </a:cubicBezTo>
                  <a:cubicBezTo>
                    <a:pt x="6" y="335"/>
                    <a:pt x="0" y="598"/>
                    <a:pt x="152" y="770"/>
                  </a:cubicBezTo>
                  <a:lnTo>
                    <a:pt x="157" y="773"/>
                  </a:lnTo>
                  <a:close/>
                  <a:moveTo>
                    <a:pt x="498" y="210"/>
                  </a:moveTo>
                  <a:cubicBezTo>
                    <a:pt x="538" y="210"/>
                    <a:pt x="569" y="242"/>
                    <a:pt x="569" y="282"/>
                  </a:cubicBezTo>
                  <a:cubicBezTo>
                    <a:pt x="568" y="322"/>
                    <a:pt x="536" y="354"/>
                    <a:pt x="498" y="354"/>
                  </a:cubicBezTo>
                  <a:cubicBezTo>
                    <a:pt x="458" y="353"/>
                    <a:pt x="426" y="321"/>
                    <a:pt x="427" y="281"/>
                  </a:cubicBezTo>
                  <a:cubicBezTo>
                    <a:pt x="427" y="241"/>
                    <a:pt x="459" y="210"/>
                    <a:pt x="498" y="210"/>
                  </a:cubicBezTo>
                  <a:close/>
                  <a:moveTo>
                    <a:pt x="360" y="401"/>
                  </a:moveTo>
                  <a:cubicBezTo>
                    <a:pt x="361" y="394"/>
                    <a:pt x="365" y="389"/>
                    <a:pt x="376" y="387"/>
                  </a:cubicBezTo>
                  <a:cubicBezTo>
                    <a:pt x="381" y="386"/>
                    <a:pt x="387" y="385"/>
                    <a:pt x="392" y="385"/>
                  </a:cubicBezTo>
                  <a:cubicBezTo>
                    <a:pt x="527" y="385"/>
                    <a:pt x="527" y="385"/>
                    <a:pt x="527" y="385"/>
                  </a:cubicBezTo>
                  <a:cubicBezTo>
                    <a:pt x="544" y="385"/>
                    <a:pt x="554" y="393"/>
                    <a:pt x="554" y="410"/>
                  </a:cubicBezTo>
                  <a:cubicBezTo>
                    <a:pt x="554" y="424"/>
                    <a:pt x="552" y="438"/>
                    <a:pt x="549" y="452"/>
                  </a:cubicBezTo>
                  <a:cubicBezTo>
                    <a:pt x="540" y="502"/>
                    <a:pt x="531" y="553"/>
                    <a:pt x="522" y="604"/>
                  </a:cubicBezTo>
                  <a:cubicBezTo>
                    <a:pt x="518" y="621"/>
                    <a:pt x="515" y="638"/>
                    <a:pt x="513" y="655"/>
                  </a:cubicBezTo>
                  <a:cubicBezTo>
                    <a:pt x="512" y="663"/>
                    <a:pt x="513" y="671"/>
                    <a:pt x="515" y="679"/>
                  </a:cubicBezTo>
                  <a:cubicBezTo>
                    <a:pt x="518" y="690"/>
                    <a:pt x="526" y="696"/>
                    <a:pt x="537" y="695"/>
                  </a:cubicBezTo>
                  <a:cubicBezTo>
                    <a:pt x="546" y="694"/>
                    <a:pt x="555" y="691"/>
                    <a:pt x="563" y="687"/>
                  </a:cubicBezTo>
                  <a:cubicBezTo>
                    <a:pt x="570" y="685"/>
                    <a:pt x="576" y="680"/>
                    <a:pt x="583" y="677"/>
                  </a:cubicBezTo>
                  <a:cubicBezTo>
                    <a:pt x="594" y="673"/>
                    <a:pt x="602" y="680"/>
                    <a:pt x="600" y="691"/>
                  </a:cubicBezTo>
                  <a:cubicBezTo>
                    <a:pt x="598" y="697"/>
                    <a:pt x="594" y="703"/>
                    <a:pt x="590" y="708"/>
                  </a:cubicBezTo>
                  <a:cubicBezTo>
                    <a:pt x="564" y="734"/>
                    <a:pt x="533" y="750"/>
                    <a:pt x="496" y="750"/>
                  </a:cubicBezTo>
                  <a:cubicBezTo>
                    <a:pt x="478" y="750"/>
                    <a:pt x="461" y="750"/>
                    <a:pt x="444" y="747"/>
                  </a:cubicBezTo>
                  <a:cubicBezTo>
                    <a:pt x="415" y="743"/>
                    <a:pt x="379" y="708"/>
                    <a:pt x="384" y="670"/>
                  </a:cubicBezTo>
                  <a:cubicBezTo>
                    <a:pt x="388" y="645"/>
                    <a:pt x="392" y="619"/>
                    <a:pt x="396" y="593"/>
                  </a:cubicBezTo>
                  <a:cubicBezTo>
                    <a:pt x="404" y="549"/>
                    <a:pt x="412" y="504"/>
                    <a:pt x="420" y="460"/>
                  </a:cubicBezTo>
                  <a:cubicBezTo>
                    <a:pt x="420" y="457"/>
                    <a:pt x="420" y="454"/>
                    <a:pt x="420" y="451"/>
                  </a:cubicBezTo>
                  <a:cubicBezTo>
                    <a:pt x="420" y="433"/>
                    <a:pt x="414" y="426"/>
                    <a:pt x="396" y="423"/>
                  </a:cubicBezTo>
                  <a:cubicBezTo>
                    <a:pt x="388" y="422"/>
                    <a:pt x="380" y="422"/>
                    <a:pt x="372" y="419"/>
                  </a:cubicBezTo>
                  <a:cubicBezTo>
                    <a:pt x="363" y="416"/>
                    <a:pt x="359" y="408"/>
                    <a:pt x="360" y="401"/>
                  </a:cubicBezTo>
                  <a:close/>
                  <a:moveTo>
                    <a:pt x="360" y="401"/>
                  </a:moveTo>
                  <a:cubicBezTo>
                    <a:pt x="360" y="401"/>
                    <a:pt x="360" y="401"/>
                    <a:pt x="360" y="40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6" name="Titel 1"/>
          <p:cNvSpPr>
            <a:spLocks noGrp="1"/>
          </p:cNvSpPr>
          <p:nvPr>
            <p:ph type="title"/>
          </p:nvPr>
        </p:nvSpPr>
        <p:spPr bwMode="gray">
          <a:xfrm>
            <a:off x="1234815" y="2333338"/>
            <a:ext cx="4500000" cy="878628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17 (oben)"/>
          <p:cNvSpPr>
            <a:spLocks noGrp="1"/>
          </p:cNvSpPr>
          <p:nvPr>
            <p:ph type="body" sz="quarter" idx="14"/>
          </p:nvPr>
        </p:nvSpPr>
        <p:spPr bwMode="gray">
          <a:xfrm>
            <a:off x="345278" y="3533778"/>
            <a:ext cx="5389537" cy="1080000"/>
          </a:xfrm>
        </p:spPr>
        <p:txBody>
          <a:bodyPr/>
          <a:lstStyle>
            <a:lvl1pPr marL="3175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cap="all" baseline="0">
                <a:solidFill>
                  <a:schemeClr val="bg1"/>
                </a:solidFill>
              </a:defRPr>
            </a:lvl1pPr>
            <a:lvl2pPr marL="31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Textplatzhalter 17 (unten)"/>
          <p:cNvSpPr>
            <a:spLocks noGrp="1"/>
          </p:cNvSpPr>
          <p:nvPr>
            <p:ph type="body" sz="quarter" idx="15"/>
          </p:nvPr>
        </p:nvSpPr>
        <p:spPr bwMode="gray">
          <a:xfrm>
            <a:off x="345279" y="4777211"/>
            <a:ext cx="4140000" cy="895454"/>
          </a:xfrm>
        </p:spPr>
        <p:txBody>
          <a:bodyPr/>
          <a:lstStyle>
            <a:lvl1pPr marL="0" indent="0" defTabSz="72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1"/>
                </a:solidFill>
              </a:defRPr>
            </a:lvl1pPr>
            <a:lvl2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reeform 6"/>
          <p:cNvSpPr>
            <a:spLocks noChangeAspect="1" noEditPoints="1"/>
          </p:cNvSpPr>
          <p:nvPr/>
        </p:nvSpPr>
        <p:spPr bwMode="gray">
          <a:xfrm>
            <a:off x="371475" y="465599"/>
            <a:ext cx="1735200" cy="153386"/>
          </a:xfrm>
          <a:custGeom>
            <a:avLst/>
            <a:gdLst>
              <a:gd name="T0" fmla="*/ 946 w 26146"/>
              <a:gd name="T1" fmla="*/ 922 h 2648"/>
              <a:gd name="T2" fmla="*/ 376 w 26146"/>
              <a:gd name="T3" fmla="*/ 464 h 2648"/>
              <a:gd name="T4" fmla="*/ 220 w 26146"/>
              <a:gd name="T5" fmla="*/ 337 h 2648"/>
              <a:gd name="T6" fmla="*/ 2805 w 26146"/>
              <a:gd name="T7" fmla="*/ 1253 h 2648"/>
              <a:gd name="T8" fmla="*/ 2932 w 26146"/>
              <a:gd name="T9" fmla="*/ 1266 h 2648"/>
              <a:gd name="T10" fmla="*/ 3851 w 26146"/>
              <a:gd name="T11" fmla="*/ 1025 h 2648"/>
              <a:gd name="T12" fmla="*/ 3725 w 26146"/>
              <a:gd name="T13" fmla="*/ 1299 h 2648"/>
              <a:gd name="T14" fmla="*/ 2863 w 26146"/>
              <a:gd name="T15" fmla="*/ 2581 h 2648"/>
              <a:gd name="T16" fmla="*/ 3732 w 26146"/>
              <a:gd name="T17" fmla="*/ 1611 h 2648"/>
              <a:gd name="T18" fmla="*/ 3998 w 26146"/>
              <a:gd name="T19" fmla="*/ 1053 h 2648"/>
              <a:gd name="T20" fmla="*/ 4826 w 26146"/>
              <a:gd name="T21" fmla="*/ 1660 h 2648"/>
              <a:gd name="T22" fmla="*/ 4639 w 26146"/>
              <a:gd name="T23" fmla="*/ 1358 h 2648"/>
              <a:gd name="T24" fmla="*/ 6094 w 26146"/>
              <a:gd name="T25" fmla="*/ 639 h 2648"/>
              <a:gd name="T26" fmla="*/ 5658 w 26146"/>
              <a:gd name="T27" fmla="*/ 1632 h 2648"/>
              <a:gd name="T28" fmla="*/ 5667 w 26146"/>
              <a:gd name="T29" fmla="*/ 834 h 2648"/>
              <a:gd name="T30" fmla="*/ 5840 w 26146"/>
              <a:gd name="T31" fmla="*/ 692 h 2648"/>
              <a:gd name="T32" fmla="*/ 7554 w 26146"/>
              <a:gd name="T33" fmla="*/ 1825 h 2648"/>
              <a:gd name="T34" fmla="*/ 6494 w 26146"/>
              <a:gd name="T35" fmla="*/ 1735 h 2648"/>
              <a:gd name="T36" fmla="*/ 7405 w 26146"/>
              <a:gd name="T37" fmla="*/ 241 h 2648"/>
              <a:gd name="T38" fmla="*/ 8398 w 26146"/>
              <a:gd name="T39" fmla="*/ 1060 h 2648"/>
              <a:gd name="T40" fmla="*/ 8250 w 26146"/>
              <a:gd name="T41" fmla="*/ 995 h 2648"/>
              <a:gd name="T42" fmla="*/ 8280 w 26146"/>
              <a:gd name="T43" fmla="*/ 1591 h 2648"/>
              <a:gd name="T44" fmla="*/ 9105 w 26146"/>
              <a:gd name="T45" fmla="*/ 1499 h 2648"/>
              <a:gd name="T46" fmla="*/ 9650 w 26146"/>
              <a:gd name="T47" fmla="*/ 968 h 2648"/>
              <a:gd name="T48" fmla="*/ 11818 w 26146"/>
              <a:gd name="T49" fmla="*/ 1526 h 2648"/>
              <a:gd name="T50" fmla="*/ 11402 w 26146"/>
              <a:gd name="T51" fmla="*/ 1356 h 2648"/>
              <a:gd name="T52" fmla="*/ 12066 w 26146"/>
              <a:gd name="T53" fmla="*/ 1227 h 2648"/>
              <a:gd name="T54" fmla="*/ 12797 w 26146"/>
              <a:gd name="T55" fmla="*/ 906 h 2648"/>
              <a:gd name="T56" fmla="*/ 13451 w 26146"/>
              <a:gd name="T57" fmla="*/ 287 h 2648"/>
              <a:gd name="T58" fmla="*/ 13171 w 26146"/>
              <a:gd name="T59" fmla="*/ 1600 h 2648"/>
              <a:gd name="T60" fmla="*/ 13420 w 26146"/>
              <a:gd name="T61" fmla="*/ 1034 h 2648"/>
              <a:gd name="T62" fmla="*/ 14516 w 26146"/>
              <a:gd name="T63" fmla="*/ 807 h 2648"/>
              <a:gd name="T64" fmla="*/ 13748 w 26146"/>
              <a:gd name="T65" fmla="*/ 1499 h 2648"/>
              <a:gd name="T66" fmla="*/ 13891 w 26146"/>
              <a:gd name="T67" fmla="*/ 747 h 2648"/>
              <a:gd name="T68" fmla="*/ 16249 w 26146"/>
              <a:gd name="T69" fmla="*/ 986 h 2648"/>
              <a:gd name="T70" fmla="*/ 16063 w 26146"/>
              <a:gd name="T71" fmla="*/ 991 h 2648"/>
              <a:gd name="T72" fmla="*/ 15610 w 26146"/>
              <a:gd name="T73" fmla="*/ 437 h 2648"/>
              <a:gd name="T74" fmla="*/ 16249 w 26146"/>
              <a:gd name="T75" fmla="*/ 986 h 2648"/>
              <a:gd name="T76" fmla="*/ 17897 w 26146"/>
              <a:gd name="T77" fmla="*/ 1126 h 2648"/>
              <a:gd name="T78" fmla="*/ 17718 w 26146"/>
              <a:gd name="T79" fmla="*/ 1402 h 2648"/>
              <a:gd name="T80" fmla="*/ 17789 w 26146"/>
              <a:gd name="T81" fmla="*/ 1080 h 2648"/>
              <a:gd name="T82" fmla="*/ 18658 w 26146"/>
              <a:gd name="T83" fmla="*/ 200 h 2648"/>
              <a:gd name="T84" fmla="*/ 19984 w 26146"/>
              <a:gd name="T85" fmla="*/ 1733 h 2648"/>
              <a:gd name="T86" fmla="*/ 19908 w 26146"/>
              <a:gd name="T87" fmla="*/ 938 h 2648"/>
              <a:gd name="T88" fmla="*/ 19687 w 26146"/>
              <a:gd name="T89" fmla="*/ 1202 h 2648"/>
              <a:gd name="T90" fmla="*/ 19044 w 26146"/>
              <a:gd name="T91" fmla="*/ 1708 h 2648"/>
              <a:gd name="T92" fmla="*/ 19745 w 26146"/>
              <a:gd name="T93" fmla="*/ 1496 h 2648"/>
              <a:gd name="T94" fmla="*/ 21193 w 26146"/>
              <a:gd name="T95" fmla="*/ 1287 h 2648"/>
              <a:gd name="T96" fmla="*/ 20770 w 26146"/>
              <a:gd name="T97" fmla="*/ 1554 h 2648"/>
              <a:gd name="T98" fmla="*/ 21358 w 26146"/>
              <a:gd name="T99" fmla="*/ 595 h 2648"/>
              <a:gd name="T100" fmla="*/ 21869 w 26146"/>
              <a:gd name="T101" fmla="*/ 1758 h 2648"/>
              <a:gd name="T102" fmla="*/ 22324 w 26146"/>
              <a:gd name="T103" fmla="*/ 1172 h 2648"/>
              <a:gd name="T104" fmla="*/ 23333 w 26146"/>
              <a:gd name="T105" fmla="*/ 485 h 2648"/>
              <a:gd name="T106" fmla="*/ 23098 w 26146"/>
              <a:gd name="T107" fmla="*/ 1400 h 2648"/>
              <a:gd name="T108" fmla="*/ 23034 w 26146"/>
              <a:gd name="T109" fmla="*/ 1099 h 2648"/>
              <a:gd name="T110" fmla="*/ 24043 w 26146"/>
              <a:gd name="T111" fmla="*/ 1597 h 2648"/>
              <a:gd name="T112" fmla="*/ 24427 w 26146"/>
              <a:gd name="T113" fmla="*/ 890 h 2648"/>
              <a:gd name="T114" fmla="*/ 25859 w 26146"/>
              <a:gd name="T115" fmla="*/ 1726 h 2648"/>
              <a:gd name="T116" fmla="*/ 24976 w 26146"/>
              <a:gd name="T117" fmla="*/ 1696 h 2648"/>
              <a:gd name="T118" fmla="*/ 25560 w 26146"/>
              <a:gd name="T119" fmla="*/ 903 h 2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146" h="2648">
                <a:moveTo>
                  <a:pt x="2265" y="67"/>
                </a:moveTo>
                <a:cubicBezTo>
                  <a:pt x="2221" y="185"/>
                  <a:pt x="2124" y="244"/>
                  <a:pt x="1976" y="244"/>
                </a:cubicBezTo>
                <a:lnTo>
                  <a:pt x="2019" y="156"/>
                </a:lnTo>
                <a:cubicBezTo>
                  <a:pt x="1981" y="146"/>
                  <a:pt x="1937" y="140"/>
                  <a:pt x="1888" y="140"/>
                </a:cubicBezTo>
                <a:cubicBezTo>
                  <a:pt x="1813" y="140"/>
                  <a:pt x="1691" y="157"/>
                  <a:pt x="1523" y="191"/>
                </a:cubicBezTo>
                <a:cubicBezTo>
                  <a:pt x="1345" y="226"/>
                  <a:pt x="1229" y="258"/>
                  <a:pt x="1176" y="287"/>
                </a:cubicBezTo>
                <a:lnTo>
                  <a:pt x="1063" y="650"/>
                </a:lnTo>
                <a:cubicBezTo>
                  <a:pt x="1028" y="762"/>
                  <a:pt x="989" y="853"/>
                  <a:pt x="946" y="922"/>
                </a:cubicBezTo>
                <a:cubicBezTo>
                  <a:pt x="903" y="991"/>
                  <a:pt x="825" y="1118"/>
                  <a:pt x="711" y="1303"/>
                </a:cubicBezTo>
                <a:cubicBezTo>
                  <a:pt x="626" y="1443"/>
                  <a:pt x="564" y="1580"/>
                  <a:pt x="528" y="1715"/>
                </a:cubicBezTo>
                <a:lnTo>
                  <a:pt x="353" y="1676"/>
                </a:lnTo>
                <a:cubicBezTo>
                  <a:pt x="365" y="1604"/>
                  <a:pt x="424" y="1487"/>
                  <a:pt x="530" y="1326"/>
                </a:cubicBezTo>
                <a:cubicBezTo>
                  <a:pt x="675" y="1103"/>
                  <a:pt x="770" y="949"/>
                  <a:pt x="813" y="867"/>
                </a:cubicBezTo>
                <a:cubicBezTo>
                  <a:pt x="911" y="672"/>
                  <a:pt x="960" y="493"/>
                  <a:pt x="960" y="331"/>
                </a:cubicBezTo>
                <a:lnTo>
                  <a:pt x="948" y="340"/>
                </a:lnTo>
                <a:lnTo>
                  <a:pt x="376" y="464"/>
                </a:lnTo>
                <a:cubicBezTo>
                  <a:pt x="285" y="503"/>
                  <a:pt x="196" y="540"/>
                  <a:pt x="107" y="577"/>
                </a:cubicBezTo>
                <a:cubicBezTo>
                  <a:pt x="73" y="577"/>
                  <a:pt x="46" y="562"/>
                  <a:pt x="25" y="533"/>
                </a:cubicBezTo>
                <a:cubicBezTo>
                  <a:pt x="9" y="510"/>
                  <a:pt x="0" y="485"/>
                  <a:pt x="0" y="459"/>
                </a:cubicBezTo>
                <a:lnTo>
                  <a:pt x="0" y="455"/>
                </a:lnTo>
                <a:cubicBezTo>
                  <a:pt x="0" y="450"/>
                  <a:pt x="0" y="445"/>
                  <a:pt x="1" y="439"/>
                </a:cubicBezTo>
                <a:lnTo>
                  <a:pt x="43" y="359"/>
                </a:lnTo>
                <a:cubicBezTo>
                  <a:pt x="87" y="342"/>
                  <a:pt x="125" y="333"/>
                  <a:pt x="158" y="333"/>
                </a:cubicBezTo>
                <a:cubicBezTo>
                  <a:pt x="171" y="333"/>
                  <a:pt x="192" y="334"/>
                  <a:pt x="220" y="337"/>
                </a:cubicBezTo>
                <a:cubicBezTo>
                  <a:pt x="247" y="339"/>
                  <a:pt x="268" y="340"/>
                  <a:pt x="282" y="340"/>
                </a:cubicBezTo>
                <a:cubicBezTo>
                  <a:pt x="467" y="340"/>
                  <a:pt x="676" y="311"/>
                  <a:pt x="909" y="253"/>
                </a:cubicBezTo>
                <a:cubicBezTo>
                  <a:pt x="1047" y="216"/>
                  <a:pt x="1253" y="162"/>
                  <a:pt x="1527" y="90"/>
                </a:cubicBezTo>
                <a:cubicBezTo>
                  <a:pt x="1760" y="30"/>
                  <a:pt x="1960" y="0"/>
                  <a:pt x="2127" y="0"/>
                </a:cubicBezTo>
                <a:lnTo>
                  <a:pt x="2129" y="0"/>
                </a:lnTo>
                <a:cubicBezTo>
                  <a:pt x="2168" y="0"/>
                  <a:pt x="2194" y="3"/>
                  <a:pt x="2208" y="9"/>
                </a:cubicBezTo>
                <a:cubicBezTo>
                  <a:pt x="2222" y="15"/>
                  <a:pt x="2241" y="34"/>
                  <a:pt x="2265" y="67"/>
                </a:cubicBezTo>
                <a:close/>
                <a:moveTo>
                  <a:pt x="2805" y="1253"/>
                </a:moveTo>
                <a:cubicBezTo>
                  <a:pt x="2805" y="1178"/>
                  <a:pt x="2767" y="1121"/>
                  <a:pt x="2690" y="1083"/>
                </a:cubicBezTo>
                <a:cubicBezTo>
                  <a:pt x="2629" y="1052"/>
                  <a:pt x="2557" y="1037"/>
                  <a:pt x="2474" y="1037"/>
                </a:cubicBezTo>
                <a:cubicBezTo>
                  <a:pt x="2336" y="1037"/>
                  <a:pt x="2193" y="1075"/>
                  <a:pt x="2045" y="1152"/>
                </a:cubicBezTo>
                <a:cubicBezTo>
                  <a:pt x="1888" y="1230"/>
                  <a:pt x="1776" y="1325"/>
                  <a:pt x="1709" y="1439"/>
                </a:cubicBezTo>
                <a:cubicBezTo>
                  <a:pt x="1813" y="1545"/>
                  <a:pt x="1938" y="1597"/>
                  <a:pt x="2084" y="1597"/>
                </a:cubicBezTo>
                <a:cubicBezTo>
                  <a:pt x="2223" y="1597"/>
                  <a:pt x="2366" y="1572"/>
                  <a:pt x="2513" y="1522"/>
                </a:cubicBezTo>
                <a:cubicBezTo>
                  <a:pt x="2708" y="1454"/>
                  <a:pt x="2805" y="1365"/>
                  <a:pt x="2805" y="1253"/>
                </a:cubicBezTo>
                <a:close/>
                <a:moveTo>
                  <a:pt x="2932" y="1266"/>
                </a:moveTo>
                <a:cubicBezTo>
                  <a:pt x="2932" y="1411"/>
                  <a:pt x="2828" y="1523"/>
                  <a:pt x="2619" y="1604"/>
                </a:cubicBezTo>
                <a:cubicBezTo>
                  <a:pt x="2461" y="1666"/>
                  <a:pt x="2295" y="1696"/>
                  <a:pt x="2120" y="1696"/>
                </a:cubicBezTo>
                <a:cubicBezTo>
                  <a:pt x="1754" y="1696"/>
                  <a:pt x="1571" y="1606"/>
                  <a:pt x="1571" y="1425"/>
                </a:cubicBezTo>
                <a:cubicBezTo>
                  <a:pt x="1571" y="1296"/>
                  <a:pt x="1691" y="1171"/>
                  <a:pt x="1930" y="1050"/>
                </a:cubicBezTo>
                <a:cubicBezTo>
                  <a:pt x="2143" y="943"/>
                  <a:pt x="2322" y="890"/>
                  <a:pt x="2467" y="890"/>
                </a:cubicBezTo>
                <a:cubicBezTo>
                  <a:pt x="2596" y="890"/>
                  <a:pt x="2703" y="919"/>
                  <a:pt x="2787" y="979"/>
                </a:cubicBezTo>
                <a:cubicBezTo>
                  <a:pt x="2884" y="1047"/>
                  <a:pt x="2932" y="1142"/>
                  <a:pt x="2932" y="1266"/>
                </a:cubicBezTo>
                <a:close/>
                <a:moveTo>
                  <a:pt x="3851" y="1025"/>
                </a:moveTo>
                <a:cubicBezTo>
                  <a:pt x="3851" y="975"/>
                  <a:pt x="3804" y="949"/>
                  <a:pt x="3711" y="949"/>
                </a:cubicBezTo>
                <a:cubicBezTo>
                  <a:pt x="3613" y="949"/>
                  <a:pt x="3503" y="991"/>
                  <a:pt x="3382" y="1073"/>
                </a:cubicBezTo>
                <a:cubicBezTo>
                  <a:pt x="3249" y="1164"/>
                  <a:pt x="3182" y="1256"/>
                  <a:pt x="3182" y="1349"/>
                </a:cubicBezTo>
                <a:cubicBezTo>
                  <a:pt x="3182" y="1452"/>
                  <a:pt x="3283" y="1503"/>
                  <a:pt x="3483" y="1503"/>
                </a:cubicBezTo>
                <a:cubicBezTo>
                  <a:pt x="3535" y="1503"/>
                  <a:pt x="3587" y="1496"/>
                  <a:pt x="3637" y="1480"/>
                </a:cubicBezTo>
                <a:cubicBezTo>
                  <a:pt x="3709" y="1459"/>
                  <a:pt x="3745" y="1428"/>
                  <a:pt x="3745" y="1388"/>
                </a:cubicBezTo>
                <a:cubicBezTo>
                  <a:pt x="3745" y="1378"/>
                  <a:pt x="3742" y="1362"/>
                  <a:pt x="3735" y="1342"/>
                </a:cubicBezTo>
                <a:cubicBezTo>
                  <a:pt x="3728" y="1322"/>
                  <a:pt x="3725" y="1308"/>
                  <a:pt x="3725" y="1299"/>
                </a:cubicBezTo>
                <a:cubicBezTo>
                  <a:pt x="3725" y="1280"/>
                  <a:pt x="3753" y="1224"/>
                  <a:pt x="3810" y="1131"/>
                </a:cubicBezTo>
                <a:cubicBezTo>
                  <a:pt x="3837" y="1086"/>
                  <a:pt x="3851" y="1051"/>
                  <a:pt x="3851" y="1025"/>
                </a:cubicBezTo>
                <a:close/>
                <a:moveTo>
                  <a:pt x="3998" y="1053"/>
                </a:moveTo>
                <a:cubicBezTo>
                  <a:pt x="3998" y="1086"/>
                  <a:pt x="3982" y="1145"/>
                  <a:pt x="3950" y="1227"/>
                </a:cubicBezTo>
                <a:cubicBezTo>
                  <a:pt x="3935" y="1267"/>
                  <a:pt x="3927" y="1299"/>
                  <a:pt x="3927" y="1322"/>
                </a:cubicBezTo>
                <a:cubicBezTo>
                  <a:pt x="3927" y="1555"/>
                  <a:pt x="3912" y="1748"/>
                  <a:pt x="3883" y="1903"/>
                </a:cubicBezTo>
                <a:cubicBezTo>
                  <a:pt x="3791" y="2400"/>
                  <a:pt x="3545" y="2648"/>
                  <a:pt x="3143" y="2648"/>
                </a:cubicBezTo>
                <a:cubicBezTo>
                  <a:pt x="3071" y="2648"/>
                  <a:pt x="2978" y="2626"/>
                  <a:pt x="2863" y="2581"/>
                </a:cubicBezTo>
                <a:cubicBezTo>
                  <a:pt x="2725" y="2529"/>
                  <a:pt x="2656" y="2473"/>
                  <a:pt x="2656" y="2413"/>
                </a:cubicBezTo>
                <a:cubicBezTo>
                  <a:pt x="2656" y="2400"/>
                  <a:pt x="2663" y="2372"/>
                  <a:pt x="2677" y="2331"/>
                </a:cubicBezTo>
                <a:lnTo>
                  <a:pt x="2700" y="2331"/>
                </a:lnTo>
                <a:cubicBezTo>
                  <a:pt x="2739" y="2375"/>
                  <a:pt x="2807" y="2420"/>
                  <a:pt x="2902" y="2464"/>
                </a:cubicBezTo>
                <a:cubicBezTo>
                  <a:pt x="2997" y="2508"/>
                  <a:pt x="3073" y="2531"/>
                  <a:pt x="3129" y="2531"/>
                </a:cubicBezTo>
                <a:cubicBezTo>
                  <a:pt x="3315" y="2531"/>
                  <a:pt x="3470" y="2442"/>
                  <a:pt x="3594" y="2264"/>
                </a:cubicBezTo>
                <a:cubicBezTo>
                  <a:pt x="3704" y="2105"/>
                  <a:pt x="3759" y="1927"/>
                  <a:pt x="3759" y="1731"/>
                </a:cubicBezTo>
                <a:cubicBezTo>
                  <a:pt x="3759" y="1683"/>
                  <a:pt x="3750" y="1643"/>
                  <a:pt x="3732" y="1611"/>
                </a:cubicBezTo>
                <a:cubicBezTo>
                  <a:pt x="3701" y="1599"/>
                  <a:pt x="3677" y="1593"/>
                  <a:pt x="3660" y="1593"/>
                </a:cubicBezTo>
                <a:cubicBezTo>
                  <a:pt x="3651" y="1593"/>
                  <a:pt x="3635" y="1596"/>
                  <a:pt x="3612" y="1602"/>
                </a:cubicBezTo>
                <a:cubicBezTo>
                  <a:pt x="3589" y="1608"/>
                  <a:pt x="3571" y="1611"/>
                  <a:pt x="3559" y="1611"/>
                </a:cubicBezTo>
                <a:cubicBezTo>
                  <a:pt x="3411" y="1611"/>
                  <a:pt x="3302" y="1603"/>
                  <a:pt x="3233" y="1586"/>
                </a:cubicBezTo>
                <a:cubicBezTo>
                  <a:pt x="3095" y="1552"/>
                  <a:pt x="3026" y="1483"/>
                  <a:pt x="3026" y="1379"/>
                </a:cubicBezTo>
                <a:cubicBezTo>
                  <a:pt x="3026" y="1232"/>
                  <a:pt x="3110" y="1101"/>
                  <a:pt x="3279" y="986"/>
                </a:cubicBezTo>
                <a:cubicBezTo>
                  <a:pt x="3434" y="880"/>
                  <a:pt x="3587" y="827"/>
                  <a:pt x="3739" y="827"/>
                </a:cubicBezTo>
                <a:cubicBezTo>
                  <a:pt x="3912" y="827"/>
                  <a:pt x="3998" y="903"/>
                  <a:pt x="3998" y="1053"/>
                </a:cubicBezTo>
                <a:close/>
                <a:moveTo>
                  <a:pt x="4915" y="1103"/>
                </a:moveTo>
                <a:cubicBezTo>
                  <a:pt x="4869" y="1054"/>
                  <a:pt x="4813" y="1030"/>
                  <a:pt x="4748" y="1030"/>
                </a:cubicBezTo>
                <a:cubicBezTo>
                  <a:pt x="4700" y="1030"/>
                  <a:pt x="4657" y="1040"/>
                  <a:pt x="4619" y="1060"/>
                </a:cubicBezTo>
                <a:cubicBezTo>
                  <a:pt x="4617" y="1061"/>
                  <a:pt x="4578" y="1083"/>
                  <a:pt x="4502" y="1124"/>
                </a:cubicBezTo>
                <a:cubicBezTo>
                  <a:pt x="4548" y="1198"/>
                  <a:pt x="4610" y="1234"/>
                  <a:pt x="4690" y="1234"/>
                </a:cubicBezTo>
                <a:cubicBezTo>
                  <a:pt x="4780" y="1234"/>
                  <a:pt x="4856" y="1191"/>
                  <a:pt x="4915" y="1103"/>
                </a:cubicBezTo>
                <a:close/>
                <a:moveTo>
                  <a:pt x="5152" y="1545"/>
                </a:moveTo>
                <a:cubicBezTo>
                  <a:pt x="5106" y="1595"/>
                  <a:pt x="4997" y="1633"/>
                  <a:pt x="4826" y="1660"/>
                </a:cubicBezTo>
                <a:cubicBezTo>
                  <a:pt x="4705" y="1678"/>
                  <a:pt x="4581" y="1687"/>
                  <a:pt x="4456" y="1687"/>
                </a:cubicBezTo>
                <a:cubicBezTo>
                  <a:pt x="4197" y="1687"/>
                  <a:pt x="4067" y="1613"/>
                  <a:pt x="4067" y="1464"/>
                </a:cubicBezTo>
                <a:cubicBezTo>
                  <a:pt x="4067" y="1282"/>
                  <a:pt x="4202" y="1126"/>
                  <a:pt x="4472" y="995"/>
                </a:cubicBezTo>
                <a:cubicBezTo>
                  <a:pt x="4565" y="949"/>
                  <a:pt x="4662" y="912"/>
                  <a:pt x="4764" y="883"/>
                </a:cubicBezTo>
                <a:cubicBezTo>
                  <a:pt x="4862" y="906"/>
                  <a:pt x="4927" y="922"/>
                  <a:pt x="4959" y="933"/>
                </a:cubicBezTo>
                <a:cubicBezTo>
                  <a:pt x="5028" y="956"/>
                  <a:pt x="5062" y="1014"/>
                  <a:pt x="5062" y="1106"/>
                </a:cubicBezTo>
                <a:cubicBezTo>
                  <a:pt x="5062" y="1187"/>
                  <a:pt x="5010" y="1251"/>
                  <a:pt x="4906" y="1299"/>
                </a:cubicBezTo>
                <a:cubicBezTo>
                  <a:pt x="4819" y="1339"/>
                  <a:pt x="4730" y="1358"/>
                  <a:pt x="4639" y="1358"/>
                </a:cubicBezTo>
                <a:cubicBezTo>
                  <a:pt x="4499" y="1358"/>
                  <a:pt x="4397" y="1337"/>
                  <a:pt x="4336" y="1294"/>
                </a:cubicBezTo>
                <a:cubicBezTo>
                  <a:pt x="4259" y="1331"/>
                  <a:pt x="4221" y="1378"/>
                  <a:pt x="4221" y="1437"/>
                </a:cubicBezTo>
                <a:cubicBezTo>
                  <a:pt x="4221" y="1539"/>
                  <a:pt x="4315" y="1591"/>
                  <a:pt x="4502" y="1591"/>
                </a:cubicBezTo>
                <a:cubicBezTo>
                  <a:pt x="4571" y="1591"/>
                  <a:pt x="4651" y="1586"/>
                  <a:pt x="4743" y="1577"/>
                </a:cubicBezTo>
                <a:cubicBezTo>
                  <a:pt x="4959" y="1555"/>
                  <a:pt x="5095" y="1545"/>
                  <a:pt x="5152" y="1545"/>
                </a:cubicBezTo>
                <a:close/>
                <a:moveTo>
                  <a:pt x="6274" y="315"/>
                </a:moveTo>
                <a:cubicBezTo>
                  <a:pt x="6274" y="353"/>
                  <a:pt x="6261" y="396"/>
                  <a:pt x="6235" y="444"/>
                </a:cubicBezTo>
                <a:cubicBezTo>
                  <a:pt x="6224" y="464"/>
                  <a:pt x="6177" y="529"/>
                  <a:pt x="6094" y="639"/>
                </a:cubicBezTo>
                <a:cubicBezTo>
                  <a:pt x="6133" y="665"/>
                  <a:pt x="6172" y="690"/>
                  <a:pt x="6212" y="715"/>
                </a:cubicBezTo>
                <a:cubicBezTo>
                  <a:pt x="6255" y="750"/>
                  <a:pt x="6274" y="790"/>
                  <a:pt x="6269" y="834"/>
                </a:cubicBezTo>
                <a:lnTo>
                  <a:pt x="6267" y="860"/>
                </a:lnTo>
                <a:cubicBezTo>
                  <a:pt x="6265" y="860"/>
                  <a:pt x="6230" y="849"/>
                  <a:pt x="6161" y="827"/>
                </a:cubicBezTo>
                <a:cubicBezTo>
                  <a:pt x="6117" y="814"/>
                  <a:pt x="6082" y="807"/>
                  <a:pt x="6058" y="807"/>
                </a:cubicBezTo>
                <a:cubicBezTo>
                  <a:pt x="5973" y="807"/>
                  <a:pt x="5852" y="895"/>
                  <a:pt x="5693" y="1072"/>
                </a:cubicBezTo>
                <a:cubicBezTo>
                  <a:pt x="5535" y="1249"/>
                  <a:pt x="5455" y="1381"/>
                  <a:pt x="5455" y="1469"/>
                </a:cubicBezTo>
                <a:cubicBezTo>
                  <a:pt x="5455" y="1544"/>
                  <a:pt x="5523" y="1598"/>
                  <a:pt x="5658" y="1632"/>
                </a:cubicBezTo>
                <a:cubicBezTo>
                  <a:pt x="5744" y="1653"/>
                  <a:pt x="5840" y="1664"/>
                  <a:pt x="5947" y="1664"/>
                </a:cubicBezTo>
                <a:cubicBezTo>
                  <a:pt x="5989" y="1664"/>
                  <a:pt x="6031" y="1661"/>
                  <a:pt x="6074" y="1655"/>
                </a:cubicBezTo>
                <a:cubicBezTo>
                  <a:pt x="6072" y="1663"/>
                  <a:pt x="6079" y="1676"/>
                  <a:pt x="6094" y="1696"/>
                </a:cubicBezTo>
                <a:cubicBezTo>
                  <a:pt x="5998" y="1733"/>
                  <a:pt x="5902" y="1751"/>
                  <a:pt x="5807" y="1751"/>
                </a:cubicBezTo>
                <a:cubicBezTo>
                  <a:pt x="5462" y="1751"/>
                  <a:pt x="5290" y="1667"/>
                  <a:pt x="5290" y="1499"/>
                </a:cubicBezTo>
                <a:cubicBezTo>
                  <a:pt x="5290" y="1399"/>
                  <a:pt x="5377" y="1253"/>
                  <a:pt x="5550" y="1060"/>
                </a:cubicBezTo>
                <a:lnTo>
                  <a:pt x="5747" y="839"/>
                </a:lnTo>
                <a:lnTo>
                  <a:pt x="5667" y="834"/>
                </a:lnTo>
                <a:cubicBezTo>
                  <a:pt x="5633" y="833"/>
                  <a:pt x="5588" y="842"/>
                  <a:pt x="5531" y="862"/>
                </a:cubicBezTo>
                <a:cubicBezTo>
                  <a:pt x="5419" y="902"/>
                  <a:pt x="5354" y="922"/>
                  <a:pt x="5334" y="922"/>
                </a:cubicBezTo>
                <a:cubicBezTo>
                  <a:pt x="5308" y="922"/>
                  <a:pt x="5283" y="914"/>
                  <a:pt x="5261" y="898"/>
                </a:cubicBezTo>
                <a:cubicBezTo>
                  <a:pt x="5239" y="881"/>
                  <a:pt x="5228" y="861"/>
                  <a:pt x="5228" y="837"/>
                </a:cubicBezTo>
                <a:cubicBezTo>
                  <a:pt x="5228" y="777"/>
                  <a:pt x="5296" y="747"/>
                  <a:pt x="5432" y="747"/>
                </a:cubicBezTo>
                <a:cubicBezTo>
                  <a:pt x="5446" y="747"/>
                  <a:pt x="5466" y="748"/>
                  <a:pt x="5492" y="749"/>
                </a:cubicBezTo>
                <a:cubicBezTo>
                  <a:pt x="5518" y="751"/>
                  <a:pt x="5538" y="752"/>
                  <a:pt x="5552" y="752"/>
                </a:cubicBezTo>
                <a:cubicBezTo>
                  <a:pt x="5668" y="752"/>
                  <a:pt x="5765" y="732"/>
                  <a:pt x="5840" y="692"/>
                </a:cubicBezTo>
                <a:cubicBezTo>
                  <a:pt x="5916" y="652"/>
                  <a:pt x="5983" y="583"/>
                  <a:pt x="6042" y="485"/>
                </a:cubicBezTo>
                <a:cubicBezTo>
                  <a:pt x="6061" y="451"/>
                  <a:pt x="6108" y="356"/>
                  <a:pt x="6182" y="200"/>
                </a:cubicBezTo>
                <a:cubicBezTo>
                  <a:pt x="6202" y="200"/>
                  <a:pt x="6222" y="214"/>
                  <a:pt x="6243" y="241"/>
                </a:cubicBezTo>
                <a:cubicBezTo>
                  <a:pt x="6263" y="269"/>
                  <a:pt x="6274" y="293"/>
                  <a:pt x="6274" y="315"/>
                </a:cubicBezTo>
                <a:close/>
                <a:moveTo>
                  <a:pt x="7791" y="986"/>
                </a:moveTo>
                <a:cubicBezTo>
                  <a:pt x="7791" y="1057"/>
                  <a:pt x="7745" y="1179"/>
                  <a:pt x="7654" y="1354"/>
                </a:cubicBezTo>
                <a:cubicBezTo>
                  <a:pt x="7563" y="1528"/>
                  <a:pt x="7517" y="1643"/>
                  <a:pt x="7517" y="1696"/>
                </a:cubicBezTo>
                <a:cubicBezTo>
                  <a:pt x="7517" y="1741"/>
                  <a:pt x="7529" y="1784"/>
                  <a:pt x="7554" y="1825"/>
                </a:cubicBezTo>
                <a:cubicBezTo>
                  <a:pt x="7499" y="1854"/>
                  <a:pt x="7456" y="1869"/>
                  <a:pt x="7425" y="1869"/>
                </a:cubicBezTo>
                <a:cubicBezTo>
                  <a:pt x="7369" y="1869"/>
                  <a:pt x="7340" y="1840"/>
                  <a:pt x="7340" y="1781"/>
                </a:cubicBezTo>
                <a:cubicBezTo>
                  <a:pt x="7340" y="1720"/>
                  <a:pt x="7385" y="1598"/>
                  <a:pt x="7475" y="1415"/>
                </a:cubicBezTo>
                <a:cubicBezTo>
                  <a:pt x="7564" y="1232"/>
                  <a:pt x="7609" y="1105"/>
                  <a:pt x="7609" y="1034"/>
                </a:cubicBezTo>
                <a:cubicBezTo>
                  <a:pt x="7609" y="1025"/>
                  <a:pt x="7608" y="1011"/>
                  <a:pt x="7605" y="991"/>
                </a:cubicBezTo>
                <a:cubicBezTo>
                  <a:pt x="7601" y="971"/>
                  <a:pt x="7600" y="956"/>
                  <a:pt x="7600" y="947"/>
                </a:cubicBezTo>
                <a:cubicBezTo>
                  <a:pt x="7375" y="973"/>
                  <a:pt x="7157" y="1059"/>
                  <a:pt x="6947" y="1204"/>
                </a:cubicBezTo>
                <a:cubicBezTo>
                  <a:pt x="6730" y="1356"/>
                  <a:pt x="6579" y="1533"/>
                  <a:pt x="6494" y="1735"/>
                </a:cubicBezTo>
                <a:cubicBezTo>
                  <a:pt x="6461" y="1723"/>
                  <a:pt x="6410" y="1710"/>
                  <a:pt x="6343" y="1696"/>
                </a:cubicBezTo>
                <a:cubicBezTo>
                  <a:pt x="6350" y="1663"/>
                  <a:pt x="6403" y="1581"/>
                  <a:pt x="6501" y="1450"/>
                </a:cubicBezTo>
                <a:cubicBezTo>
                  <a:pt x="6536" y="1406"/>
                  <a:pt x="6634" y="1278"/>
                  <a:pt x="6793" y="1067"/>
                </a:cubicBezTo>
                <a:cubicBezTo>
                  <a:pt x="6910" y="912"/>
                  <a:pt x="6983" y="808"/>
                  <a:pt x="7014" y="756"/>
                </a:cubicBezTo>
                <a:cubicBezTo>
                  <a:pt x="7023" y="741"/>
                  <a:pt x="7069" y="634"/>
                  <a:pt x="7152" y="437"/>
                </a:cubicBezTo>
                <a:cubicBezTo>
                  <a:pt x="7212" y="296"/>
                  <a:pt x="7267" y="202"/>
                  <a:pt x="7317" y="156"/>
                </a:cubicBezTo>
                <a:cubicBezTo>
                  <a:pt x="7336" y="167"/>
                  <a:pt x="7355" y="179"/>
                  <a:pt x="7375" y="191"/>
                </a:cubicBezTo>
                <a:cubicBezTo>
                  <a:pt x="7395" y="203"/>
                  <a:pt x="7405" y="220"/>
                  <a:pt x="7405" y="241"/>
                </a:cubicBezTo>
                <a:cubicBezTo>
                  <a:pt x="7405" y="264"/>
                  <a:pt x="7275" y="536"/>
                  <a:pt x="7016" y="1057"/>
                </a:cubicBezTo>
                <a:cubicBezTo>
                  <a:pt x="7145" y="1001"/>
                  <a:pt x="7257" y="952"/>
                  <a:pt x="7354" y="912"/>
                </a:cubicBezTo>
                <a:cubicBezTo>
                  <a:pt x="7538" y="836"/>
                  <a:pt x="7642" y="798"/>
                  <a:pt x="7667" y="798"/>
                </a:cubicBezTo>
                <a:cubicBezTo>
                  <a:pt x="7694" y="798"/>
                  <a:pt x="7715" y="804"/>
                  <a:pt x="7729" y="818"/>
                </a:cubicBezTo>
                <a:cubicBezTo>
                  <a:pt x="7770" y="860"/>
                  <a:pt x="7791" y="916"/>
                  <a:pt x="7791" y="986"/>
                </a:cubicBezTo>
                <a:close/>
                <a:moveTo>
                  <a:pt x="8694" y="1103"/>
                </a:moveTo>
                <a:cubicBezTo>
                  <a:pt x="8648" y="1054"/>
                  <a:pt x="8592" y="1030"/>
                  <a:pt x="8526" y="1030"/>
                </a:cubicBezTo>
                <a:cubicBezTo>
                  <a:pt x="8479" y="1030"/>
                  <a:pt x="8436" y="1040"/>
                  <a:pt x="8398" y="1060"/>
                </a:cubicBezTo>
                <a:cubicBezTo>
                  <a:pt x="8396" y="1061"/>
                  <a:pt x="8357" y="1083"/>
                  <a:pt x="8280" y="1124"/>
                </a:cubicBezTo>
                <a:cubicBezTo>
                  <a:pt x="8326" y="1198"/>
                  <a:pt x="8389" y="1234"/>
                  <a:pt x="8469" y="1234"/>
                </a:cubicBezTo>
                <a:cubicBezTo>
                  <a:pt x="8559" y="1234"/>
                  <a:pt x="8634" y="1191"/>
                  <a:pt x="8694" y="1103"/>
                </a:cubicBezTo>
                <a:close/>
                <a:moveTo>
                  <a:pt x="8931" y="1545"/>
                </a:moveTo>
                <a:cubicBezTo>
                  <a:pt x="8885" y="1595"/>
                  <a:pt x="8776" y="1633"/>
                  <a:pt x="8604" y="1660"/>
                </a:cubicBezTo>
                <a:cubicBezTo>
                  <a:pt x="8483" y="1678"/>
                  <a:pt x="8360" y="1687"/>
                  <a:pt x="8234" y="1687"/>
                </a:cubicBezTo>
                <a:cubicBezTo>
                  <a:pt x="7975" y="1687"/>
                  <a:pt x="7846" y="1613"/>
                  <a:pt x="7846" y="1464"/>
                </a:cubicBezTo>
                <a:cubicBezTo>
                  <a:pt x="7846" y="1282"/>
                  <a:pt x="7981" y="1126"/>
                  <a:pt x="8250" y="995"/>
                </a:cubicBezTo>
                <a:cubicBezTo>
                  <a:pt x="8344" y="949"/>
                  <a:pt x="8441" y="912"/>
                  <a:pt x="8542" y="883"/>
                </a:cubicBezTo>
                <a:cubicBezTo>
                  <a:pt x="8640" y="906"/>
                  <a:pt x="8705" y="922"/>
                  <a:pt x="8738" y="933"/>
                </a:cubicBezTo>
                <a:cubicBezTo>
                  <a:pt x="8807" y="956"/>
                  <a:pt x="8841" y="1014"/>
                  <a:pt x="8841" y="1106"/>
                </a:cubicBezTo>
                <a:cubicBezTo>
                  <a:pt x="8841" y="1187"/>
                  <a:pt x="8789" y="1251"/>
                  <a:pt x="8685" y="1299"/>
                </a:cubicBezTo>
                <a:cubicBezTo>
                  <a:pt x="8597" y="1339"/>
                  <a:pt x="8509" y="1358"/>
                  <a:pt x="8418" y="1358"/>
                </a:cubicBezTo>
                <a:cubicBezTo>
                  <a:pt x="8277" y="1358"/>
                  <a:pt x="8176" y="1337"/>
                  <a:pt x="8115" y="1294"/>
                </a:cubicBezTo>
                <a:cubicBezTo>
                  <a:pt x="8038" y="1331"/>
                  <a:pt x="8000" y="1378"/>
                  <a:pt x="8000" y="1437"/>
                </a:cubicBezTo>
                <a:cubicBezTo>
                  <a:pt x="8000" y="1539"/>
                  <a:pt x="8093" y="1591"/>
                  <a:pt x="8280" y="1591"/>
                </a:cubicBezTo>
                <a:cubicBezTo>
                  <a:pt x="8349" y="1591"/>
                  <a:pt x="8430" y="1586"/>
                  <a:pt x="8522" y="1577"/>
                </a:cubicBezTo>
                <a:cubicBezTo>
                  <a:pt x="8738" y="1555"/>
                  <a:pt x="8874" y="1545"/>
                  <a:pt x="8931" y="1545"/>
                </a:cubicBezTo>
                <a:close/>
                <a:moveTo>
                  <a:pt x="9981" y="1170"/>
                </a:moveTo>
                <a:lnTo>
                  <a:pt x="9620" y="1053"/>
                </a:lnTo>
                <a:cubicBezTo>
                  <a:pt x="9531" y="1053"/>
                  <a:pt x="9453" y="1113"/>
                  <a:pt x="9386" y="1234"/>
                </a:cubicBezTo>
                <a:cubicBezTo>
                  <a:pt x="9361" y="1276"/>
                  <a:pt x="9320" y="1373"/>
                  <a:pt x="9263" y="1527"/>
                </a:cubicBezTo>
                <a:cubicBezTo>
                  <a:pt x="9205" y="1681"/>
                  <a:pt x="9113" y="1758"/>
                  <a:pt x="8986" y="1758"/>
                </a:cubicBezTo>
                <a:cubicBezTo>
                  <a:pt x="8994" y="1696"/>
                  <a:pt x="9033" y="1609"/>
                  <a:pt x="9105" y="1499"/>
                </a:cubicBezTo>
                <a:cubicBezTo>
                  <a:pt x="9184" y="1379"/>
                  <a:pt x="9230" y="1291"/>
                  <a:pt x="9246" y="1234"/>
                </a:cubicBezTo>
                <a:cubicBezTo>
                  <a:pt x="9258" y="1187"/>
                  <a:pt x="9266" y="1109"/>
                  <a:pt x="9271" y="1000"/>
                </a:cubicBezTo>
                <a:cubicBezTo>
                  <a:pt x="9272" y="954"/>
                  <a:pt x="9283" y="906"/>
                  <a:pt x="9303" y="857"/>
                </a:cubicBezTo>
                <a:cubicBezTo>
                  <a:pt x="9331" y="788"/>
                  <a:pt x="9362" y="752"/>
                  <a:pt x="9397" y="749"/>
                </a:cubicBezTo>
                <a:lnTo>
                  <a:pt x="9441" y="752"/>
                </a:lnTo>
                <a:lnTo>
                  <a:pt x="9464" y="908"/>
                </a:lnTo>
                <a:cubicBezTo>
                  <a:pt x="9475" y="948"/>
                  <a:pt x="9511" y="968"/>
                  <a:pt x="9572" y="968"/>
                </a:cubicBezTo>
                <a:lnTo>
                  <a:pt x="9650" y="968"/>
                </a:lnTo>
                <a:cubicBezTo>
                  <a:pt x="9664" y="966"/>
                  <a:pt x="9675" y="965"/>
                  <a:pt x="9682" y="965"/>
                </a:cubicBezTo>
                <a:cubicBezTo>
                  <a:pt x="9859" y="962"/>
                  <a:pt x="9958" y="1031"/>
                  <a:pt x="9981" y="1170"/>
                </a:cubicBezTo>
                <a:close/>
                <a:moveTo>
                  <a:pt x="12983" y="1207"/>
                </a:moveTo>
                <a:cubicBezTo>
                  <a:pt x="12983" y="1368"/>
                  <a:pt x="12887" y="1499"/>
                  <a:pt x="12696" y="1602"/>
                </a:cubicBezTo>
                <a:cubicBezTo>
                  <a:pt x="12536" y="1686"/>
                  <a:pt x="12367" y="1728"/>
                  <a:pt x="12188" y="1728"/>
                </a:cubicBezTo>
                <a:cubicBezTo>
                  <a:pt x="12051" y="1728"/>
                  <a:pt x="11944" y="1682"/>
                  <a:pt x="11866" y="1588"/>
                </a:cubicBezTo>
                <a:lnTo>
                  <a:pt x="11866" y="1545"/>
                </a:lnTo>
                <a:lnTo>
                  <a:pt x="11818" y="1526"/>
                </a:lnTo>
                <a:cubicBezTo>
                  <a:pt x="11796" y="1529"/>
                  <a:pt x="11696" y="1570"/>
                  <a:pt x="11516" y="1648"/>
                </a:cubicBezTo>
                <a:cubicBezTo>
                  <a:pt x="11443" y="1680"/>
                  <a:pt x="11379" y="1696"/>
                  <a:pt x="11323" y="1696"/>
                </a:cubicBezTo>
                <a:cubicBezTo>
                  <a:pt x="11164" y="1696"/>
                  <a:pt x="11084" y="1648"/>
                  <a:pt x="11084" y="1551"/>
                </a:cubicBezTo>
                <a:cubicBezTo>
                  <a:pt x="11084" y="1509"/>
                  <a:pt x="11155" y="1394"/>
                  <a:pt x="11297" y="1208"/>
                </a:cubicBezTo>
                <a:cubicBezTo>
                  <a:pt x="11439" y="1022"/>
                  <a:pt x="11526" y="929"/>
                  <a:pt x="11558" y="929"/>
                </a:cubicBezTo>
                <a:cubicBezTo>
                  <a:pt x="11581" y="929"/>
                  <a:pt x="11601" y="939"/>
                  <a:pt x="11618" y="958"/>
                </a:cubicBezTo>
                <a:cubicBezTo>
                  <a:pt x="11634" y="978"/>
                  <a:pt x="11643" y="1000"/>
                  <a:pt x="11643" y="1023"/>
                </a:cubicBezTo>
                <a:cubicBezTo>
                  <a:pt x="11643" y="1078"/>
                  <a:pt x="11562" y="1189"/>
                  <a:pt x="11402" y="1356"/>
                </a:cubicBezTo>
                <a:cubicBezTo>
                  <a:pt x="11314" y="1447"/>
                  <a:pt x="11260" y="1509"/>
                  <a:pt x="11238" y="1545"/>
                </a:cubicBezTo>
                <a:cubicBezTo>
                  <a:pt x="11294" y="1577"/>
                  <a:pt x="11333" y="1593"/>
                  <a:pt x="11358" y="1593"/>
                </a:cubicBezTo>
                <a:cubicBezTo>
                  <a:pt x="11505" y="1593"/>
                  <a:pt x="11631" y="1547"/>
                  <a:pt x="11735" y="1455"/>
                </a:cubicBezTo>
                <a:cubicBezTo>
                  <a:pt x="11808" y="1391"/>
                  <a:pt x="11889" y="1280"/>
                  <a:pt x="11976" y="1124"/>
                </a:cubicBezTo>
                <a:cubicBezTo>
                  <a:pt x="11982" y="1132"/>
                  <a:pt x="11988" y="1139"/>
                  <a:pt x="11995" y="1145"/>
                </a:cubicBezTo>
                <a:cubicBezTo>
                  <a:pt x="11996" y="1146"/>
                  <a:pt x="12004" y="1147"/>
                  <a:pt x="12018" y="1147"/>
                </a:cubicBezTo>
                <a:cubicBezTo>
                  <a:pt x="12039" y="1165"/>
                  <a:pt x="12051" y="1177"/>
                  <a:pt x="12054" y="1181"/>
                </a:cubicBezTo>
                <a:cubicBezTo>
                  <a:pt x="12062" y="1192"/>
                  <a:pt x="12066" y="1208"/>
                  <a:pt x="12066" y="1227"/>
                </a:cubicBezTo>
                <a:cubicBezTo>
                  <a:pt x="12066" y="1257"/>
                  <a:pt x="12055" y="1299"/>
                  <a:pt x="12034" y="1355"/>
                </a:cubicBezTo>
                <a:cubicBezTo>
                  <a:pt x="12012" y="1411"/>
                  <a:pt x="12001" y="1453"/>
                  <a:pt x="12001" y="1480"/>
                </a:cubicBezTo>
                <a:cubicBezTo>
                  <a:pt x="12001" y="1526"/>
                  <a:pt x="12029" y="1562"/>
                  <a:pt x="12084" y="1588"/>
                </a:cubicBezTo>
                <a:cubicBezTo>
                  <a:pt x="12127" y="1608"/>
                  <a:pt x="12175" y="1618"/>
                  <a:pt x="12227" y="1618"/>
                </a:cubicBezTo>
                <a:cubicBezTo>
                  <a:pt x="12406" y="1618"/>
                  <a:pt x="12556" y="1574"/>
                  <a:pt x="12677" y="1487"/>
                </a:cubicBezTo>
                <a:cubicBezTo>
                  <a:pt x="12815" y="1389"/>
                  <a:pt x="12884" y="1254"/>
                  <a:pt x="12884" y="1083"/>
                </a:cubicBezTo>
                <a:cubicBezTo>
                  <a:pt x="12884" y="1038"/>
                  <a:pt x="12878" y="1004"/>
                  <a:pt x="12866" y="981"/>
                </a:cubicBezTo>
                <a:cubicBezTo>
                  <a:pt x="12856" y="965"/>
                  <a:pt x="12833" y="939"/>
                  <a:pt x="12797" y="906"/>
                </a:cubicBezTo>
                <a:cubicBezTo>
                  <a:pt x="12769" y="906"/>
                  <a:pt x="12740" y="890"/>
                  <a:pt x="12709" y="860"/>
                </a:cubicBezTo>
                <a:lnTo>
                  <a:pt x="12742" y="823"/>
                </a:lnTo>
                <a:cubicBezTo>
                  <a:pt x="12820" y="823"/>
                  <a:pt x="12882" y="869"/>
                  <a:pt x="12928" y="961"/>
                </a:cubicBezTo>
                <a:cubicBezTo>
                  <a:pt x="12965" y="1034"/>
                  <a:pt x="12983" y="1116"/>
                  <a:pt x="12983" y="1207"/>
                </a:cubicBezTo>
                <a:close/>
                <a:moveTo>
                  <a:pt x="13636" y="402"/>
                </a:moveTo>
                <a:cubicBezTo>
                  <a:pt x="13636" y="457"/>
                  <a:pt x="13599" y="485"/>
                  <a:pt x="13525" y="485"/>
                </a:cubicBezTo>
                <a:cubicBezTo>
                  <a:pt x="13458" y="485"/>
                  <a:pt x="13424" y="457"/>
                  <a:pt x="13424" y="402"/>
                </a:cubicBezTo>
                <a:cubicBezTo>
                  <a:pt x="13424" y="375"/>
                  <a:pt x="13433" y="336"/>
                  <a:pt x="13451" y="287"/>
                </a:cubicBezTo>
                <a:cubicBezTo>
                  <a:pt x="13468" y="238"/>
                  <a:pt x="13478" y="202"/>
                  <a:pt x="13479" y="177"/>
                </a:cubicBezTo>
                <a:cubicBezTo>
                  <a:pt x="13495" y="186"/>
                  <a:pt x="13524" y="230"/>
                  <a:pt x="13567" y="308"/>
                </a:cubicBezTo>
                <a:cubicBezTo>
                  <a:pt x="13570" y="313"/>
                  <a:pt x="13584" y="326"/>
                  <a:pt x="13608" y="349"/>
                </a:cubicBezTo>
                <a:cubicBezTo>
                  <a:pt x="13626" y="366"/>
                  <a:pt x="13636" y="384"/>
                  <a:pt x="13636" y="402"/>
                </a:cubicBezTo>
                <a:close/>
                <a:moveTo>
                  <a:pt x="13420" y="1034"/>
                </a:moveTo>
                <a:cubicBezTo>
                  <a:pt x="13420" y="1059"/>
                  <a:pt x="13377" y="1181"/>
                  <a:pt x="13291" y="1400"/>
                </a:cubicBezTo>
                <a:cubicBezTo>
                  <a:pt x="13280" y="1427"/>
                  <a:pt x="13264" y="1468"/>
                  <a:pt x="13243" y="1522"/>
                </a:cubicBezTo>
                <a:cubicBezTo>
                  <a:pt x="13224" y="1563"/>
                  <a:pt x="13200" y="1589"/>
                  <a:pt x="13171" y="1600"/>
                </a:cubicBezTo>
                <a:cubicBezTo>
                  <a:pt x="13154" y="1606"/>
                  <a:pt x="13120" y="1609"/>
                  <a:pt x="13068" y="1609"/>
                </a:cubicBezTo>
                <a:cubicBezTo>
                  <a:pt x="13068" y="1598"/>
                  <a:pt x="13066" y="1583"/>
                  <a:pt x="13062" y="1563"/>
                </a:cubicBezTo>
                <a:cubicBezTo>
                  <a:pt x="13058" y="1543"/>
                  <a:pt x="13056" y="1528"/>
                  <a:pt x="13056" y="1517"/>
                </a:cubicBezTo>
                <a:cubicBezTo>
                  <a:pt x="13056" y="1483"/>
                  <a:pt x="13069" y="1446"/>
                  <a:pt x="13095" y="1404"/>
                </a:cubicBezTo>
                <a:cubicBezTo>
                  <a:pt x="13131" y="1348"/>
                  <a:pt x="13151" y="1313"/>
                  <a:pt x="13155" y="1301"/>
                </a:cubicBezTo>
                <a:cubicBezTo>
                  <a:pt x="13168" y="1263"/>
                  <a:pt x="13191" y="1195"/>
                  <a:pt x="13227" y="1099"/>
                </a:cubicBezTo>
                <a:cubicBezTo>
                  <a:pt x="13253" y="1031"/>
                  <a:pt x="13294" y="975"/>
                  <a:pt x="13351" y="929"/>
                </a:cubicBezTo>
                <a:cubicBezTo>
                  <a:pt x="13397" y="975"/>
                  <a:pt x="13420" y="1010"/>
                  <a:pt x="13420" y="1034"/>
                </a:cubicBezTo>
                <a:close/>
                <a:moveTo>
                  <a:pt x="14732" y="315"/>
                </a:moveTo>
                <a:cubicBezTo>
                  <a:pt x="14732" y="353"/>
                  <a:pt x="14719" y="396"/>
                  <a:pt x="14693" y="444"/>
                </a:cubicBezTo>
                <a:cubicBezTo>
                  <a:pt x="14682" y="464"/>
                  <a:pt x="14635" y="529"/>
                  <a:pt x="14553" y="639"/>
                </a:cubicBezTo>
                <a:cubicBezTo>
                  <a:pt x="14591" y="665"/>
                  <a:pt x="14630" y="690"/>
                  <a:pt x="14670" y="715"/>
                </a:cubicBezTo>
                <a:cubicBezTo>
                  <a:pt x="14713" y="750"/>
                  <a:pt x="14732" y="790"/>
                  <a:pt x="14727" y="834"/>
                </a:cubicBezTo>
                <a:lnTo>
                  <a:pt x="14725" y="860"/>
                </a:lnTo>
                <a:cubicBezTo>
                  <a:pt x="14724" y="860"/>
                  <a:pt x="14688" y="849"/>
                  <a:pt x="14619" y="827"/>
                </a:cubicBezTo>
                <a:cubicBezTo>
                  <a:pt x="14575" y="814"/>
                  <a:pt x="14540" y="807"/>
                  <a:pt x="14516" y="807"/>
                </a:cubicBezTo>
                <a:cubicBezTo>
                  <a:pt x="14432" y="807"/>
                  <a:pt x="14310" y="895"/>
                  <a:pt x="14152" y="1072"/>
                </a:cubicBezTo>
                <a:cubicBezTo>
                  <a:pt x="13993" y="1249"/>
                  <a:pt x="13914" y="1381"/>
                  <a:pt x="13914" y="1469"/>
                </a:cubicBezTo>
                <a:cubicBezTo>
                  <a:pt x="13914" y="1544"/>
                  <a:pt x="13981" y="1598"/>
                  <a:pt x="14116" y="1632"/>
                </a:cubicBezTo>
                <a:cubicBezTo>
                  <a:pt x="14202" y="1653"/>
                  <a:pt x="14298" y="1664"/>
                  <a:pt x="14406" y="1664"/>
                </a:cubicBezTo>
                <a:cubicBezTo>
                  <a:pt x="14447" y="1664"/>
                  <a:pt x="14489" y="1661"/>
                  <a:pt x="14532" y="1655"/>
                </a:cubicBezTo>
                <a:cubicBezTo>
                  <a:pt x="14530" y="1663"/>
                  <a:pt x="14537" y="1676"/>
                  <a:pt x="14553" y="1696"/>
                </a:cubicBezTo>
                <a:cubicBezTo>
                  <a:pt x="14456" y="1733"/>
                  <a:pt x="14360" y="1751"/>
                  <a:pt x="14265" y="1751"/>
                </a:cubicBezTo>
                <a:cubicBezTo>
                  <a:pt x="13921" y="1751"/>
                  <a:pt x="13748" y="1667"/>
                  <a:pt x="13748" y="1499"/>
                </a:cubicBezTo>
                <a:cubicBezTo>
                  <a:pt x="13748" y="1399"/>
                  <a:pt x="13835" y="1253"/>
                  <a:pt x="14008" y="1060"/>
                </a:cubicBezTo>
                <a:lnTo>
                  <a:pt x="14206" y="839"/>
                </a:lnTo>
                <a:lnTo>
                  <a:pt x="14125" y="834"/>
                </a:lnTo>
                <a:cubicBezTo>
                  <a:pt x="14091" y="833"/>
                  <a:pt x="14046" y="842"/>
                  <a:pt x="13990" y="862"/>
                </a:cubicBezTo>
                <a:cubicBezTo>
                  <a:pt x="13878" y="902"/>
                  <a:pt x="13812" y="922"/>
                  <a:pt x="13792" y="922"/>
                </a:cubicBezTo>
                <a:cubicBezTo>
                  <a:pt x="13766" y="922"/>
                  <a:pt x="13742" y="914"/>
                  <a:pt x="13719" y="898"/>
                </a:cubicBezTo>
                <a:cubicBezTo>
                  <a:pt x="13697" y="881"/>
                  <a:pt x="13686" y="861"/>
                  <a:pt x="13686" y="837"/>
                </a:cubicBezTo>
                <a:cubicBezTo>
                  <a:pt x="13686" y="777"/>
                  <a:pt x="13754" y="747"/>
                  <a:pt x="13891" y="747"/>
                </a:cubicBezTo>
                <a:cubicBezTo>
                  <a:pt x="13905" y="747"/>
                  <a:pt x="13924" y="748"/>
                  <a:pt x="13950" y="749"/>
                </a:cubicBezTo>
                <a:cubicBezTo>
                  <a:pt x="13977" y="751"/>
                  <a:pt x="13996" y="752"/>
                  <a:pt x="14010" y="752"/>
                </a:cubicBezTo>
                <a:cubicBezTo>
                  <a:pt x="14127" y="752"/>
                  <a:pt x="14223" y="732"/>
                  <a:pt x="14299" y="692"/>
                </a:cubicBezTo>
                <a:cubicBezTo>
                  <a:pt x="14375" y="652"/>
                  <a:pt x="14442" y="583"/>
                  <a:pt x="14500" y="485"/>
                </a:cubicBezTo>
                <a:cubicBezTo>
                  <a:pt x="14520" y="451"/>
                  <a:pt x="14566" y="356"/>
                  <a:pt x="14640" y="200"/>
                </a:cubicBezTo>
                <a:cubicBezTo>
                  <a:pt x="14660" y="200"/>
                  <a:pt x="14680" y="214"/>
                  <a:pt x="14701" y="241"/>
                </a:cubicBezTo>
                <a:cubicBezTo>
                  <a:pt x="14722" y="269"/>
                  <a:pt x="14732" y="293"/>
                  <a:pt x="14732" y="315"/>
                </a:cubicBezTo>
                <a:close/>
                <a:moveTo>
                  <a:pt x="16249" y="986"/>
                </a:moveTo>
                <a:cubicBezTo>
                  <a:pt x="16249" y="1057"/>
                  <a:pt x="16203" y="1179"/>
                  <a:pt x="16112" y="1354"/>
                </a:cubicBezTo>
                <a:cubicBezTo>
                  <a:pt x="16021" y="1528"/>
                  <a:pt x="15975" y="1643"/>
                  <a:pt x="15975" y="1696"/>
                </a:cubicBezTo>
                <a:cubicBezTo>
                  <a:pt x="15975" y="1741"/>
                  <a:pt x="15988" y="1784"/>
                  <a:pt x="16012" y="1825"/>
                </a:cubicBezTo>
                <a:cubicBezTo>
                  <a:pt x="15957" y="1854"/>
                  <a:pt x="15914" y="1869"/>
                  <a:pt x="15883" y="1869"/>
                </a:cubicBezTo>
                <a:cubicBezTo>
                  <a:pt x="15827" y="1869"/>
                  <a:pt x="15798" y="1840"/>
                  <a:pt x="15798" y="1781"/>
                </a:cubicBezTo>
                <a:cubicBezTo>
                  <a:pt x="15798" y="1720"/>
                  <a:pt x="15843" y="1598"/>
                  <a:pt x="15933" y="1415"/>
                </a:cubicBezTo>
                <a:cubicBezTo>
                  <a:pt x="16023" y="1232"/>
                  <a:pt x="16067" y="1105"/>
                  <a:pt x="16067" y="1034"/>
                </a:cubicBezTo>
                <a:cubicBezTo>
                  <a:pt x="16067" y="1025"/>
                  <a:pt x="16066" y="1011"/>
                  <a:pt x="16063" y="991"/>
                </a:cubicBezTo>
                <a:cubicBezTo>
                  <a:pt x="16060" y="971"/>
                  <a:pt x="16058" y="956"/>
                  <a:pt x="16058" y="947"/>
                </a:cubicBezTo>
                <a:cubicBezTo>
                  <a:pt x="15833" y="973"/>
                  <a:pt x="15615" y="1059"/>
                  <a:pt x="15405" y="1204"/>
                </a:cubicBezTo>
                <a:cubicBezTo>
                  <a:pt x="15188" y="1356"/>
                  <a:pt x="15037" y="1533"/>
                  <a:pt x="14953" y="1735"/>
                </a:cubicBezTo>
                <a:cubicBezTo>
                  <a:pt x="14919" y="1723"/>
                  <a:pt x="14868" y="1710"/>
                  <a:pt x="14801" y="1696"/>
                </a:cubicBezTo>
                <a:cubicBezTo>
                  <a:pt x="14809" y="1663"/>
                  <a:pt x="14861" y="1581"/>
                  <a:pt x="14959" y="1450"/>
                </a:cubicBezTo>
                <a:cubicBezTo>
                  <a:pt x="14995" y="1406"/>
                  <a:pt x="15092" y="1278"/>
                  <a:pt x="15251" y="1067"/>
                </a:cubicBezTo>
                <a:cubicBezTo>
                  <a:pt x="15368" y="912"/>
                  <a:pt x="15441" y="808"/>
                  <a:pt x="15472" y="756"/>
                </a:cubicBezTo>
                <a:cubicBezTo>
                  <a:pt x="15481" y="741"/>
                  <a:pt x="15527" y="634"/>
                  <a:pt x="15610" y="437"/>
                </a:cubicBezTo>
                <a:cubicBezTo>
                  <a:pt x="15670" y="296"/>
                  <a:pt x="15725" y="202"/>
                  <a:pt x="15775" y="156"/>
                </a:cubicBezTo>
                <a:cubicBezTo>
                  <a:pt x="15794" y="167"/>
                  <a:pt x="15813" y="179"/>
                  <a:pt x="15833" y="191"/>
                </a:cubicBezTo>
                <a:cubicBezTo>
                  <a:pt x="15853" y="203"/>
                  <a:pt x="15863" y="220"/>
                  <a:pt x="15863" y="241"/>
                </a:cubicBezTo>
                <a:cubicBezTo>
                  <a:pt x="15863" y="264"/>
                  <a:pt x="15733" y="536"/>
                  <a:pt x="15474" y="1057"/>
                </a:cubicBezTo>
                <a:cubicBezTo>
                  <a:pt x="15603" y="1001"/>
                  <a:pt x="15716" y="952"/>
                  <a:pt x="15812" y="912"/>
                </a:cubicBezTo>
                <a:cubicBezTo>
                  <a:pt x="15996" y="836"/>
                  <a:pt x="16100" y="798"/>
                  <a:pt x="16125" y="798"/>
                </a:cubicBezTo>
                <a:cubicBezTo>
                  <a:pt x="16152" y="798"/>
                  <a:pt x="16173" y="804"/>
                  <a:pt x="16187" y="818"/>
                </a:cubicBezTo>
                <a:cubicBezTo>
                  <a:pt x="16228" y="860"/>
                  <a:pt x="16249" y="916"/>
                  <a:pt x="16249" y="986"/>
                </a:cubicBezTo>
                <a:close/>
                <a:moveTo>
                  <a:pt x="18851" y="536"/>
                </a:moveTo>
                <a:cubicBezTo>
                  <a:pt x="18851" y="465"/>
                  <a:pt x="18826" y="411"/>
                  <a:pt x="18777" y="372"/>
                </a:cubicBezTo>
                <a:cubicBezTo>
                  <a:pt x="18734" y="339"/>
                  <a:pt x="18676" y="322"/>
                  <a:pt x="18603" y="322"/>
                </a:cubicBezTo>
                <a:cubicBezTo>
                  <a:pt x="18541" y="322"/>
                  <a:pt x="18481" y="333"/>
                  <a:pt x="18423" y="356"/>
                </a:cubicBezTo>
                <a:cubicBezTo>
                  <a:pt x="18356" y="384"/>
                  <a:pt x="18310" y="421"/>
                  <a:pt x="18285" y="467"/>
                </a:cubicBezTo>
                <a:cubicBezTo>
                  <a:pt x="18264" y="519"/>
                  <a:pt x="18242" y="570"/>
                  <a:pt x="18221" y="621"/>
                </a:cubicBezTo>
                <a:lnTo>
                  <a:pt x="18044" y="864"/>
                </a:lnTo>
                <a:cubicBezTo>
                  <a:pt x="17980" y="958"/>
                  <a:pt x="17931" y="1045"/>
                  <a:pt x="17897" y="1126"/>
                </a:cubicBezTo>
                <a:lnTo>
                  <a:pt x="17918" y="1149"/>
                </a:lnTo>
                <a:lnTo>
                  <a:pt x="17938" y="1149"/>
                </a:lnTo>
                <a:cubicBezTo>
                  <a:pt x="18076" y="1149"/>
                  <a:pt x="18258" y="1082"/>
                  <a:pt x="18483" y="947"/>
                </a:cubicBezTo>
                <a:cubicBezTo>
                  <a:pt x="18728" y="800"/>
                  <a:pt x="18851" y="663"/>
                  <a:pt x="18851" y="536"/>
                </a:cubicBezTo>
                <a:close/>
                <a:moveTo>
                  <a:pt x="18968" y="501"/>
                </a:moveTo>
                <a:cubicBezTo>
                  <a:pt x="18968" y="780"/>
                  <a:pt x="18756" y="995"/>
                  <a:pt x="18331" y="1147"/>
                </a:cubicBezTo>
                <a:cubicBezTo>
                  <a:pt x="18245" y="1178"/>
                  <a:pt x="18094" y="1222"/>
                  <a:pt x="17876" y="1280"/>
                </a:cubicBezTo>
                <a:cubicBezTo>
                  <a:pt x="17813" y="1297"/>
                  <a:pt x="17761" y="1338"/>
                  <a:pt x="17718" y="1402"/>
                </a:cubicBezTo>
                <a:cubicBezTo>
                  <a:pt x="17708" y="1416"/>
                  <a:pt x="17679" y="1474"/>
                  <a:pt x="17628" y="1577"/>
                </a:cubicBezTo>
                <a:cubicBezTo>
                  <a:pt x="17597" y="1640"/>
                  <a:pt x="17564" y="1678"/>
                  <a:pt x="17529" y="1692"/>
                </a:cubicBezTo>
                <a:cubicBezTo>
                  <a:pt x="17482" y="1670"/>
                  <a:pt x="17458" y="1640"/>
                  <a:pt x="17458" y="1602"/>
                </a:cubicBezTo>
                <a:cubicBezTo>
                  <a:pt x="17458" y="1568"/>
                  <a:pt x="17482" y="1521"/>
                  <a:pt x="17531" y="1460"/>
                </a:cubicBezTo>
                <a:cubicBezTo>
                  <a:pt x="17551" y="1435"/>
                  <a:pt x="17587" y="1390"/>
                  <a:pt x="17637" y="1324"/>
                </a:cubicBezTo>
                <a:cubicBezTo>
                  <a:pt x="17649" y="1307"/>
                  <a:pt x="17665" y="1246"/>
                  <a:pt x="17683" y="1140"/>
                </a:cubicBezTo>
                <a:cubicBezTo>
                  <a:pt x="17691" y="1094"/>
                  <a:pt x="17705" y="1060"/>
                  <a:pt x="17725" y="1037"/>
                </a:cubicBezTo>
                <a:lnTo>
                  <a:pt x="17789" y="1080"/>
                </a:lnTo>
                <a:cubicBezTo>
                  <a:pt x="17914" y="901"/>
                  <a:pt x="17982" y="805"/>
                  <a:pt x="17991" y="793"/>
                </a:cubicBezTo>
                <a:cubicBezTo>
                  <a:pt x="18075" y="660"/>
                  <a:pt x="18118" y="557"/>
                  <a:pt x="18118" y="485"/>
                </a:cubicBezTo>
                <a:cubicBezTo>
                  <a:pt x="18026" y="534"/>
                  <a:pt x="17945" y="564"/>
                  <a:pt x="17876" y="575"/>
                </a:cubicBezTo>
                <a:lnTo>
                  <a:pt x="17876" y="552"/>
                </a:lnTo>
                <a:lnTo>
                  <a:pt x="17856" y="529"/>
                </a:lnTo>
                <a:lnTo>
                  <a:pt x="17876" y="444"/>
                </a:lnTo>
                <a:cubicBezTo>
                  <a:pt x="17945" y="390"/>
                  <a:pt x="18070" y="336"/>
                  <a:pt x="18251" y="280"/>
                </a:cubicBezTo>
                <a:cubicBezTo>
                  <a:pt x="18427" y="227"/>
                  <a:pt x="18563" y="200"/>
                  <a:pt x="18658" y="200"/>
                </a:cubicBezTo>
                <a:cubicBezTo>
                  <a:pt x="18754" y="200"/>
                  <a:pt x="18830" y="226"/>
                  <a:pt x="18885" y="278"/>
                </a:cubicBezTo>
                <a:cubicBezTo>
                  <a:pt x="18940" y="330"/>
                  <a:pt x="18968" y="405"/>
                  <a:pt x="18968" y="501"/>
                </a:cubicBezTo>
                <a:close/>
                <a:moveTo>
                  <a:pt x="19984" y="1761"/>
                </a:moveTo>
                <a:lnTo>
                  <a:pt x="19984" y="1754"/>
                </a:lnTo>
                <a:lnTo>
                  <a:pt x="19989" y="1754"/>
                </a:lnTo>
                <a:lnTo>
                  <a:pt x="19989" y="1747"/>
                </a:lnTo>
                <a:lnTo>
                  <a:pt x="19984" y="1747"/>
                </a:lnTo>
                <a:lnTo>
                  <a:pt x="19984" y="1733"/>
                </a:lnTo>
                <a:lnTo>
                  <a:pt x="19993" y="1733"/>
                </a:lnTo>
                <a:lnTo>
                  <a:pt x="19993" y="1738"/>
                </a:lnTo>
                <a:lnTo>
                  <a:pt x="19989" y="1738"/>
                </a:lnTo>
                <a:lnTo>
                  <a:pt x="19989" y="1742"/>
                </a:lnTo>
                <a:lnTo>
                  <a:pt x="19993" y="1742"/>
                </a:lnTo>
                <a:lnTo>
                  <a:pt x="19993" y="1761"/>
                </a:lnTo>
                <a:lnTo>
                  <a:pt x="19984" y="1761"/>
                </a:lnTo>
                <a:close/>
                <a:moveTo>
                  <a:pt x="19908" y="938"/>
                </a:moveTo>
                <a:cubicBezTo>
                  <a:pt x="19908" y="883"/>
                  <a:pt x="19861" y="855"/>
                  <a:pt x="19766" y="855"/>
                </a:cubicBezTo>
                <a:cubicBezTo>
                  <a:pt x="19626" y="855"/>
                  <a:pt x="19510" y="886"/>
                  <a:pt x="19418" y="949"/>
                </a:cubicBezTo>
                <a:cubicBezTo>
                  <a:pt x="19333" y="1008"/>
                  <a:pt x="19244" y="1086"/>
                  <a:pt x="19152" y="1184"/>
                </a:cubicBezTo>
                <a:cubicBezTo>
                  <a:pt x="19035" y="1308"/>
                  <a:pt x="18977" y="1406"/>
                  <a:pt x="18977" y="1478"/>
                </a:cubicBezTo>
                <a:cubicBezTo>
                  <a:pt x="18977" y="1521"/>
                  <a:pt x="18996" y="1554"/>
                  <a:pt x="19032" y="1577"/>
                </a:cubicBezTo>
                <a:cubicBezTo>
                  <a:pt x="19065" y="1597"/>
                  <a:pt x="19104" y="1607"/>
                  <a:pt x="19150" y="1607"/>
                </a:cubicBezTo>
                <a:cubicBezTo>
                  <a:pt x="19283" y="1607"/>
                  <a:pt x="19397" y="1560"/>
                  <a:pt x="19492" y="1466"/>
                </a:cubicBezTo>
                <a:cubicBezTo>
                  <a:pt x="19515" y="1443"/>
                  <a:pt x="19580" y="1355"/>
                  <a:pt x="19687" y="1202"/>
                </a:cubicBezTo>
                <a:cubicBezTo>
                  <a:pt x="19753" y="1107"/>
                  <a:pt x="19817" y="1060"/>
                  <a:pt x="19878" y="1060"/>
                </a:cubicBezTo>
                <a:cubicBezTo>
                  <a:pt x="19898" y="1017"/>
                  <a:pt x="19908" y="976"/>
                  <a:pt x="19908" y="938"/>
                </a:cubicBezTo>
                <a:close/>
                <a:moveTo>
                  <a:pt x="19991" y="1715"/>
                </a:moveTo>
                <a:cubicBezTo>
                  <a:pt x="19957" y="1788"/>
                  <a:pt x="19917" y="1825"/>
                  <a:pt x="19871" y="1825"/>
                </a:cubicBezTo>
                <a:cubicBezTo>
                  <a:pt x="19819" y="1825"/>
                  <a:pt x="19762" y="1787"/>
                  <a:pt x="19699" y="1710"/>
                </a:cubicBezTo>
                <a:cubicBezTo>
                  <a:pt x="19650" y="1652"/>
                  <a:pt x="19610" y="1589"/>
                  <a:pt x="19579" y="1522"/>
                </a:cubicBezTo>
                <a:cubicBezTo>
                  <a:pt x="19451" y="1583"/>
                  <a:pt x="19363" y="1623"/>
                  <a:pt x="19317" y="1641"/>
                </a:cubicBezTo>
                <a:cubicBezTo>
                  <a:pt x="19204" y="1686"/>
                  <a:pt x="19113" y="1708"/>
                  <a:pt x="19044" y="1708"/>
                </a:cubicBezTo>
                <a:cubicBezTo>
                  <a:pt x="18923" y="1708"/>
                  <a:pt x="18862" y="1647"/>
                  <a:pt x="18862" y="1524"/>
                </a:cubicBezTo>
                <a:cubicBezTo>
                  <a:pt x="18862" y="1326"/>
                  <a:pt x="18970" y="1150"/>
                  <a:pt x="19184" y="995"/>
                </a:cubicBezTo>
                <a:cubicBezTo>
                  <a:pt x="19255" y="945"/>
                  <a:pt x="19350" y="890"/>
                  <a:pt x="19469" y="832"/>
                </a:cubicBezTo>
                <a:cubicBezTo>
                  <a:pt x="19612" y="763"/>
                  <a:pt x="19713" y="729"/>
                  <a:pt x="19772" y="729"/>
                </a:cubicBezTo>
                <a:cubicBezTo>
                  <a:pt x="19814" y="729"/>
                  <a:pt x="19853" y="751"/>
                  <a:pt x="19890" y="795"/>
                </a:cubicBezTo>
                <a:cubicBezTo>
                  <a:pt x="19926" y="840"/>
                  <a:pt x="19945" y="883"/>
                  <a:pt x="19945" y="926"/>
                </a:cubicBezTo>
                <a:cubicBezTo>
                  <a:pt x="19945" y="1011"/>
                  <a:pt x="19912" y="1121"/>
                  <a:pt x="19845" y="1258"/>
                </a:cubicBezTo>
                <a:cubicBezTo>
                  <a:pt x="19778" y="1396"/>
                  <a:pt x="19745" y="1475"/>
                  <a:pt x="19745" y="1496"/>
                </a:cubicBezTo>
                <a:cubicBezTo>
                  <a:pt x="19745" y="1570"/>
                  <a:pt x="19756" y="1620"/>
                  <a:pt x="19779" y="1648"/>
                </a:cubicBezTo>
                <a:cubicBezTo>
                  <a:pt x="19798" y="1671"/>
                  <a:pt x="19868" y="1693"/>
                  <a:pt x="19991" y="1715"/>
                </a:cubicBezTo>
                <a:close/>
                <a:moveTo>
                  <a:pt x="21358" y="595"/>
                </a:moveTo>
                <a:cubicBezTo>
                  <a:pt x="21345" y="667"/>
                  <a:pt x="21287" y="718"/>
                  <a:pt x="21186" y="747"/>
                </a:cubicBezTo>
                <a:cubicBezTo>
                  <a:pt x="21126" y="762"/>
                  <a:pt x="21020" y="789"/>
                  <a:pt x="20867" y="827"/>
                </a:cubicBezTo>
                <a:cubicBezTo>
                  <a:pt x="20735" y="861"/>
                  <a:pt x="20639" y="909"/>
                  <a:pt x="20579" y="970"/>
                </a:cubicBezTo>
                <a:cubicBezTo>
                  <a:pt x="20772" y="1017"/>
                  <a:pt x="20893" y="1050"/>
                  <a:pt x="20940" y="1069"/>
                </a:cubicBezTo>
                <a:cubicBezTo>
                  <a:pt x="21109" y="1132"/>
                  <a:pt x="21193" y="1204"/>
                  <a:pt x="21193" y="1287"/>
                </a:cubicBezTo>
                <a:cubicBezTo>
                  <a:pt x="21193" y="1407"/>
                  <a:pt x="21093" y="1519"/>
                  <a:pt x="20892" y="1623"/>
                </a:cubicBezTo>
                <a:cubicBezTo>
                  <a:pt x="20714" y="1713"/>
                  <a:pt x="20559" y="1758"/>
                  <a:pt x="20428" y="1758"/>
                </a:cubicBezTo>
                <a:cubicBezTo>
                  <a:pt x="20319" y="1758"/>
                  <a:pt x="20219" y="1716"/>
                  <a:pt x="20129" y="1632"/>
                </a:cubicBezTo>
                <a:cubicBezTo>
                  <a:pt x="20031" y="1540"/>
                  <a:pt x="19985" y="1442"/>
                  <a:pt x="19993" y="1338"/>
                </a:cubicBezTo>
                <a:lnTo>
                  <a:pt x="19995" y="1303"/>
                </a:lnTo>
                <a:cubicBezTo>
                  <a:pt x="20038" y="1319"/>
                  <a:pt x="20100" y="1383"/>
                  <a:pt x="20182" y="1496"/>
                </a:cubicBezTo>
                <a:cubicBezTo>
                  <a:pt x="20258" y="1602"/>
                  <a:pt x="20326" y="1655"/>
                  <a:pt x="20384" y="1655"/>
                </a:cubicBezTo>
                <a:cubicBezTo>
                  <a:pt x="20483" y="1655"/>
                  <a:pt x="20612" y="1621"/>
                  <a:pt x="20770" y="1554"/>
                </a:cubicBezTo>
                <a:cubicBezTo>
                  <a:pt x="20952" y="1476"/>
                  <a:pt x="21043" y="1394"/>
                  <a:pt x="21043" y="1310"/>
                </a:cubicBezTo>
                <a:cubicBezTo>
                  <a:pt x="21044" y="1250"/>
                  <a:pt x="20990" y="1204"/>
                  <a:pt x="20883" y="1172"/>
                </a:cubicBezTo>
                <a:cubicBezTo>
                  <a:pt x="20878" y="1172"/>
                  <a:pt x="20764" y="1143"/>
                  <a:pt x="20540" y="1085"/>
                </a:cubicBezTo>
                <a:cubicBezTo>
                  <a:pt x="20416" y="1053"/>
                  <a:pt x="20335" y="1015"/>
                  <a:pt x="20297" y="972"/>
                </a:cubicBezTo>
                <a:cubicBezTo>
                  <a:pt x="20342" y="922"/>
                  <a:pt x="20434" y="868"/>
                  <a:pt x="20570" y="811"/>
                </a:cubicBezTo>
                <a:cubicBezTo>
                  <a:pt x="20657" y="775"/>
                  <a:pt x="20788" y="730"/>
                  <a:pt x="20961" y="678"/>
                </a:cubicBezTo>
                <a:cubicBezTo>
                  <a:pt x="21148" y="621"/>
                  <a:pt x="21258" y="587"/>
                  <a:pt x="21292" y="575"/>
                </a:cubicBezTo>
                <a:cubicBezTo>
                  <a:pt x="21312" y="585"/>
                  <a:pt x="21334" y="592"/>
                  <a:pt x="21358" y="595"/>
                </a:cubicBezTo>
                <a:close/>
                <a:moveTo>
                  <a:pt x="22800" y="595"/>
                </a:moveTo>
                <a:cubicBezTo>
                  <a:pt x="22786" y="667"/>
                  <a:pt x="22728" y="718"/>
                  <a:pt x="22627" y="747"/>
                </a:cubicBezTo>
                <a:cubicBezTo>
                  <a:pt x="22567" y="762"/>
                  <a:pt x="22461" y="789"/>
                  <a:pt x="22308" y="827"/>
                </a:cubicBezTo>
                <a:cubicBezTo>
                  <a:pt x="22176" y="861"/>
                  <a:pt x="22080" y="909"/>
                  <a:pt x="22020" y="970"/>
                </a:cubicBezTo>
                <a:cubicBezTo>
                  <a:pt x="22213" y="1017"/>
                  <a:pt x="22334" y="1050"/>
                  <a:pt x="22381" y="1069"/>
                </a:cubicBezTo>
                <a:cubicBezTo>
                  <a:pt x="22550" y="1132"/>
                  <a:pt x="22634" y="1204"/>
                  <a:pt x="22634" y="1287"/>
                </a:cubicBezTo>
                <a:cubicBezTo>
                  <a:pt x="22634" y="1407"/>
                  <a:pt x="22534" y="1519"/>
                  <a:pt x="22333" y="1623"/>
                </a:cubicBezTo>
                <a:cubicBezTo>
                  <a:pt x="22155" y="1713"/>
                  <a:pt x="22000" y="1758"/>
                  <a:pt x="21869" y="1758"/>
                </a:cubicBezTo>
                <a:cubicBezTo>
                  <a:pt x="21760" y="1758"/>
                  <a:pt x="21660" y="1716"/>
                  <a:pt x="21570" y="1632"/>
                </a:cubicBezTo>
                <a:cubicBezTo>
                  <a:pt x="21472" y="1540"/>
                  <a:pt x="21427" y="1442"/>
                  <a:pt x="21434" y="1338"/>
                </a:cubicBezTo>
                <a:lnTo>
                  <a:pt x="21437" y="1303"/>
                </a:lnTo>
                <a:cubicBezTo>
                  <a:pt x="21479" y="1319"/>
                  <a:pt x="21541" y="1383"/>
                  <a:pt x="21623" y="1496"/>
                </a:cubicBezTo>
                <a:cubicBezTo>
                  <a:pt x="21699" y="1602"/>
                  <a:pt x="21767" y="1655"/>
                  <a:pt x="21825" y="1655"/>
                </a:cubicBezTo>
                <a:cubicBezTo>
                  <a:pt x="21925" y="1655"/>
                  <a:pt x="22053" y="1621"/>
                  <a:pt x="22211" y="1554"/>
                </a:cubicBezTo>
                <a:cubicBezTo>
                  <a:pt x="22393" y="1476"/>
                  <a:pt x="22485" y="1394"/>
                  <a:pt x="22485" y="1310"/>
                </a:cubicBezTo>
                <a:cubicBezTo>
                  <a:pt x="22485" y="1250"/>
                  <a:pt x="22431" y="1204"/>
                  <a:pt x="22324" y="1172"/>
                </a:cubicBezTo>
                <a:cubicBezTo>
                  <a:pt x="22319" y="1172"/>
                  <a:pt x="22205" y="1143"/>
                  <a:pt x="21981" y="1085"/>
                </a:cubicBezTo>
                <a:cubicBezTo>
                  <a:pt x="21857" y="1053"/>
                  <a:pt x="21776" y="1015"/>
                  <a:pt x="21738" y="972"/>
                </a:cubicBezTo>
                <a:cubicBezTo>
                  <a:pt x="21784" y="922"/>
                  <a:pt x="21875" y="868"/>
                  <a:pt x="22011" y="811"/>
                </a:cubicBezTo>
                <a:cubicBezTo>
                  <a:pt x="22099" y="775"/>
                  <a:pt x="22229" y="730"/>
                  <a:pt x="22402" y="678"/>
                </a:cubicBezTo>
                <a:cubicBezTo>
                  <a:pt x="22589" y="621"/>
                  <a:pt x="22699" y="587"/>
                  <a:pt x="22733" y="575"/>
                </a:cubicBezTo>
                <a:cubicBezTo>
                  <a:pt x="22753" y="585"/>
                  <a:pt x="22775" y="592"/>
                  <a:pt x="22800" y="595"/>
                </a:cubicBezTo>
                <a:close/>
                <a:moveTo>
                  <a:pt x="23443" y="402"/>
                </a:moveTo>
                <a:cubicBezTo>
                  <a:pt x="23443" y="457"/>
                  <a:pt x="23406" y="485"/>
                  <a:pt x="23333" y="485"/>
                </a:cubicBezTo>
                <a:cubicBezTo>
                  <a:pt x="23265" y="485"/>
                  <a:pt x="23232" y="457"/>
                  <a:pt x="23232" y="402"/>
                </a:cubicBezTo>
                <a:cubicBezTo>
                  <a:pt x="23232" y="375"/>
                  <a:pt x="23240" y="336"/>
                  <a:pt x="23258" y="287"/>
                </a:cubicBezTo>
                <a:cubicBezTo>
                  <a:pt x="23276" y="238"/>
                  <a:pt x="23285" y="202"/>
                  <a:pt x="23287" y="177"/>
                </a:cubicBezTo>
                <a:cubicBezTo>
                  <a:pt x="23302" y="186"/>
                  <a:pt x="23331" y="230"/>
                  <a:pt x="23374" y="308"/>
                </a:cubicBezTo>
                <a:cubicBezTo>
                  <a:pt x="23377" y="313"/>
                  <a:pt x="23391" y="326"/>
                  <a:pt x="23416" y="349"/>
                </a:cubicBezTo>
                <a:cubicBezTo>
                  <a:pt x="23434" y="366"/>
                  <a:pt x="23443" y="384"/>
                  <a:pt x="23443" y="402"/>
                </a:cubicBezTo>
                <a:close/>
                <a:moveTo>
                  <a:pt x="23227" y="1034"/>
                </a:moveTo>
                <a:cubicBezTo>
                  <a:pt x="23227" y="1059"/>
                  <a:pt x="23184" y="1181"/>
                  <a:pt x="23098" y="1400"/>
                </a:cubicBezTo>
                <a:cubicBezTo>
                  <a:pt x="23088" y="1427"/>
                  <a:pt x="23072" y="1468"/>
                  <a:pt x="23050" y="1522"/>
                </a:cubicBezTo>
                <a:cubicBezTo>
                  <a:pt x="23032" y="1563"/>
                  <a:pt x="23008" y="1589"/>
                  <a:pt x="22979" y="1600"/>
                </a:cubicBezTo>
                <a:cubicBezTo>
                  <a:pt x="22962" y="1606"/>
                  <a:pt x="22927" y="1609"/>
                  <a:pt x="22875" y="1609"/>
                </a:cubicBezTo>
                <a:cubicBezTo>
                  <a:pt x="22875" y="1598"/>
                  <a:pt x="22873" y="1583"/>
                  <a:pt x="22870" y="1563"/>
                </a:cubicBezTo>
                <a:cubicBezTo>
                  <a:pt x="22866" y="1543"/>
                  <a:pt x="22864" y="1528"/>
                  <a:pt x="22864" y="1517"/>
                </a:cubicBezTo>
                <a:cubicBezTo>
                  <a:pt x="22864" y="1483"/>
                  <a:pt x="22877" y="1446"/>
                  <a:pt x="22903" y="1404"/>
                </a:cubicBezTo>
                <a:cubicBezTo>
                  <a:pt x="22938" y="1348"/>
                  <a:pt x="22958" y="1313"/>
                  <a:pt x="22963" y="1301"/>
                </a:cubicBezTo>
                <a:cubicBezTo>
                  <a:pt x="22975" y="1263"/>
                  <a:pt x="22999" y="1195"/>
                  <a:pt x="23034" y="1099"/>
                </a:cubicBezTo>
                <a:cubicBezTo>
                  <a:pt x="23060" y="1031"/>
                  <a:pt x="23101" y="975"/>
                  <a:pt x="23158" y="929"/>
                </a:cubicBezTo>
                <a:cubicBezTo>
                  <a:pt x="23204" y="975"/>
                  <a:pt x="23227" y="1010"/>
                  <a:pt x="23227" y="1034"/>
                </a:cubicBezTo>
                <a:close/>
                <a:moveTo>
                  <a:pt x="24765" y="1253"/>
                </a:moveTo>
                <a:cubicBezTo>
                  <a:pt x="24765" y="1178"/>
                  <a:pt x="24726" y="1121"/>
                  <a:pt x="24650" y="1083"/>
                </a:cubicBezTo>
                <a:cubicBezTo>
                  <a:pt x="24588" y="1052"/>
                  <a:pt x="24516" y="1037"/>
                  <a:pt x="24434" y="1037"/>
                </a:cubicBezTo>
                <a:cubicBezTo>
                  <a:pt x="24296" y="1037"/>
                  <a:pt x="24153" y="1075"/>
                  <a:pt x="24004" y="1152"/>
                </a:cubicBezTo>
                <a:cubicBezTo>
                  <a:pt x="23848" y="1230"/>
                  <a:pt x="23736" y="1325"/>
                  <a:pt x="23668" y="1439"/>
                </a:cubicBezTo>
                <a:cubicBezTo>
                  <a:pt x="23773" y="1545"/>
                  <a:pt x="23897" y="1597"/>
                  <a:pt x="24043" y="1597"/>
                </a:cubicBezTo>
                <a:cubicBezTo>
                  <a:pt x="24182" y="1597"/>
                  <a:pt x="24326" y="1572"/>
                  <a:pt x="24473" y="1522"/>
                </a:cubicBezTo>
                <a:cubicBezTo>
                  <a:pt x="24667" y="1454"/>
                  <a:pt x="24765" y="1365"/>
                  <a:pt x="24765" y="1253"/>
                </a:cubicBezTo>
                <a:close/>
                <a:moveTo>
                  <a:pt x="24891" y="1266"/>
                </a:moveTo>
                <a:cubicBezTo>
                  <a:pt x="24891" y="1411"/>
                  <a:pt x="24787" y="1523"/>
                  <a:pt x="24579" y="1604"/>
                </a:cubicBezTo>
                <a:cubicBezTo>
                  <a:pt x="24421" y="1666"/>
                  <a:pt x="24254" y="1696"/>
                  <a:pt x="24080" y="1696"/>
                </a:cubicBezTo>
                <a:cubicBezTo>
                  <a:pt x="23714" y="1696"/>
                  <a:pt x="23530" y="1606"/>
                  <a:pt x="23530" y="1425"/>
                </a:cubicBezTo>
                <a:cubicBezTo>
                  <a:pt x="23530" y="1296"/>
                  <a:pt x="23650" y="1171"/>
                  <a:pt x="23889" y="1050"/>
                </a:cubicBezTo>
                <a:cubicBezTo>
                  <a:pt x="24102" y="943"/>
                  <a:pt x="24281" y="890"/>
                  <a:pt x="24427" y="890"/>
                </a:cubicBezTo>
                <a:cubicBezTo>
                  <a:pt x="24556" y="890"/>
                  <a:pt x="24662" y="919"/>
                  <a:pt x="24746" y="979"/>
                </a:cubicBezTo>
                <a:cubicBezTo>
                  <a:pt x="24843" y="1047"/>
                  <a:pt x="24891" y="1142"/>
                  <a:pt x="24891" y="1266"/>
                </a:cubicBezTo>
                <a:close/>
                <a:moveTo>
                  <a:pt x="26146" y="1142"/>
                </a:moveTo>
                <a:cubicBezTo>
                  <a:pt x="26146" y="1196"/>
                  <a:pt x="26121" y="1273"/>
                  <a:pt x="26070" y="1375"/>
                </a:cubicBezTo>
                <a:cubicBezTo>
                  <a:pt x="26020" y="1476"/>
                  <a:pt x="25973" y="1546"/>
                  <a:pt x="25930" y="1586"/>
                </a:cubicBezTo>
                <a:cubicBezTo>
                  <a:pt x="25932" y="1606"/>
                  <a:pt x="25933" y="1618"/>
                  <a:pt x="25935" y="1623"/>
                </a:cubicBezTo>
                <a:cubicBezTo>
                  <a:pt x="25938" y="1633"/>
                  <a:pt x="25943" y="1645"/>
                  <a:pt x="25951" y="1657"/>
                </a:cubicBezTo>
                <a:cubicBezTo>
                  <a:pt x="25938" y="1703"/>
                  <a:pt x="25908" y="1726"/>
                  <a:pt x="25859" y="1726"/>
                </a:cubicBezTo>
                <a:cubicBezTo>
                  <a:pt x="25833" y="1726"/>
                  <a:pt x="25809" y="1718"/>
                  <a:pt x="25789" y="1703"/>
                </a:cubicBezTo>
                <a:cubicBezTo>
                  <a:pt x="25768" y="1688"/>
                  <a:pt x="25758" y="1668"/>
                  <a:pt x="25758" y="1643"/>
                </a:cubicBezTo>
                <a:cubicBezTo>
                  <a:pt x="25758" y="1599"/>
                  <a:pt x="25797" y="1523"/>
                  <a:pt x="25875" y="1416"/>
                </a:cubicBezTo>
                <a:cubicBezTo>
                  <a:pt x="25953" y="1309"/>
                  <a:pt x="25992" y="1234"/>
                  <a:pt x="25992" y="1193"/>
                </a:cubicBezTo>
                <a:cubicBezTo>
                  <a:pt x="25992" y="1115"/>
                  <a:pt x="25952" y="1076"/>
                  <a:pt x="25873" y="1076"/>
                </a:cubicBezTo>
                <a:cubicBezTo>
                  <a:pt x="25767" y="1076"/>
                  <a:pt x="25664" y="1125"/>
                  <a:pt x="25565" y="1223"/>
                </a:cubicBezTo>
                <a:cubicBezTo>
                  <a:pt x="25514" y="1276"/>
                  <a:pt x="25421" y="1371"/>
                  <a:pt x="25286" y="1508"/>
                </a:cubicBezTo>
                <a:cubicBezTo>
                  <a:pt x="25179" y="1617"/>
                  <a:pt x="25076" y="1679"/>
                  <a:pt x="24976" y="1696"/>
                </a:cubicBezTo>
                <a:lnTo>
                  <a:pt x="24976" y="1676"/>
                </a:lnTo>
                <a:lnTo>
                  <a:pt x="24955" y="1653"/>
                </a:lnTo>
                <a:cubicBezTo>
                  <a:pt x="24955" y="1571"/>
                  <a:pt x="25030" y="1441"/>
                  <a:pt x="25181" y="1262"/>
                </a:cubicBezTo>
                <a:cubicBezTo>
                  <a:pt x="25267" y="1159"/>
                  <a:pt x="25322" y="1085"/>
                  <a:pt x="25346" y="1039"/>
                </a:cubicBezTo>
                <a:cubicBezTo>
                  <a:pt x="25360" y="999"/>
                  <a:pt x="25375" y="959"/>
                  <a:pt x="25392" y="919"/>
                </a:cubicBezTo>
                <a:cubicBezTo>
                  <a:pt x="25406" y="889"/>
                  <a:pt x="25419" y="867"/>
                  <a:pt x="25432" y="855"/>
                </a:cubicBezTo>
                <a:cubicBezTo>
                  <a:pt x="25445" y="843"/>
                  <a:pt x="25466" y="837"/>
                  <a:pt x="25496" y="837"/>
                </a:cubicBezTo>
                <a:cubicBezTo>
                  <a:pt x="25538" y="837"/>
                  <a:pt x="25560" y="859"/>
                  <a:pt x="25560" y="903"/>
                </a:cubicBezTo>
                <a:cubicBezTo>
                  <a:pt x="25560" y="934"/>
                  <a:pt x="25556" y="958"/>
                  <a:pt x="25548" y="977"/>
                </a:cubicBezTo>
                <a:cubicBezTo>
                  <a:pt x="25547" y="983"/>
                  <a:pt x="25530" y="1024"/>
                  <a:pt x="25498" y="1101"/>
                </a:cubicBezTo>
                <a:cubicBezTo>
                  <a:pt x="25630" y="1031"/>
                  <a:pt x="25705" y="991"/>
                  <a:pt x="25723" y="984"/>
                </a:cubicBezTo>
                <a:cubicBezTo>
                  <a:pt x="25827" y="933"/>
                  <a:pt x="25904" y="908"/>
                  <a:pt x="25953" y="908"/>
                </a:cubicBezTo>
                <a:cubicBezTo>
                  <a:pt x="26011" y="908"/>
                  <a:pt x="26058" y="932"/>
                  <a:pt x="26093" y="980"/>
                </a:cubicBezTo>
                <a:cubicBezTo>
                  <a:pt x="26128" y="1029"/>
                  <a:pt x="26146" y="1083"/>
                  <a:pt x="26146" y="1142"/>
                </a:cubicBezTo>
                <a:close/>
              </a:path>
            </a:pathLst>
          </a:custGeom>
          <a:solidFill>
            <a:srgbClr val="00469B"/>
          </a:solidFill>
          <a:ln>
            <a:noFill/>
          </a:ln>
        </p:spPr>
        <p:txBody>
          <a:bodyPr vert="horz" wrap="square" lIns="89309" tIns="44655" rIns="89309" bIns="44655" numCol="1" anchor="t" anchorCtr="0" compatLnSpc="1">
            <a:prstTxWarp prst="textNoShape">
              <a:avLst/>
            </a:prstTxWarp>
          </a:bodyPr>
          <a:lstStyle/>
          <a:p>
            <a:pPr defTabSz="914350"/>
            <a:endParaRPr lang="de-DE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chlussfolie Siz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A77B415-FE37-4A4F-935D-897DCEC5F95F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>
              <a:gd name="connsiteX0" fmla="*/ 4267541 w 12192000"/>
              <a:gd name="connsiteY0" fmla="*/ 5426489 h 5426489"/>
              <a:gd name="connsiteX1" fmla="*/ 4831635 w 12192000"/>
              <a:gd name="connsiteY1" fmla="*/ 5426489 h 5426489"/>
              <a:gd name="connsiteX2" fmla="*/ 4267541 w 12192000"/>
              <a:gd name="connsiteY2" fmla="*/ 5426489 h 5426489"/>
              <a:gd name="connsiteX3" fmla="*/ 0 w 12192000"/>
              <a:gd name="connsiteY3" fmla="*/ 0 h 5426489"/>
              <a:gd name="connsiteX4" fmla="*/ 12191999 w 12192000"/>
              <a:gd name="connsiteY4" fmla="*/ 0 h 5426489"/>
              <a:gd name="connsiteX5" fmla="*/ 12192000 w 12192000"/>
              <a:gd name="connsiteY5" fmla="*/ 4346489 h 5426489"/>
              <a:gd name="connsiteX6" fmla="*/ 11112000 w 12192000"/>
              <a:gd name="connsiteY6" fmla="*/ 5426489 h 5426489"/>
              <a:gd name="connsiteX7" fmla="*/ 4831635 w 12192000"/>
              <a:gd name="connsiteY7" fmla="*/ 5426489 h 5426489"/>
              <a:gd name="connsiteX8" fmla="*/ 5911635 w 12192000"/>
              <a:gd name="connsiteY8" fmla="*/ 4346489 h 5426489"/>
              <a:gd name="connsiteX9" fmla="*/ 5911635 w 12192000"/>
              <a:gd name="connsiteY9" fmla="*/ 3773266 h 5426489"/>
              <a:gd name="connsiteX10" fmla="*/ 5911637 w 12192000"/>
              <a:gd name="connsiteY10" fmla="*/ 3773264 h 5426489"/>
              <a:gd name="connsiteX11" fmla="*/ 5911637 w 12192000"/>
              <a:gd name="connsiteY11" fmla="*/ 1342934 h 5426489"/>
              <a:gd name="connsiteX12" fmla="*/ 5911635 w 12192000"/>
              <a:gd name="connsiteY12" fmla="*/ 1342934 h 5426489"/>
              <a:gd name="connsiteX13" fmla="*/ 5911635 w 12192000"/>
              <a:gd name="connsiteY13" fmla="*/ 1340158 h 5426489"/>
              <a:gd name="connsiteX14" fmla="*/ 0 w 12192000"/>
              <a:gd name="connsiteY14" fmla="*/ 1340158 h 5426489"/>
              <a:gd name="connsiteX15" fmla="*/ 0 w 12192000"/>
              <a:gd name="connsiteY15" fmla="*/ 761984 h 5426489"/>
              <a:gd name="connsiteX16" fmla="*/ 0 w 12192000"/>
              <a:gd name="connsiteY16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3773264 h 5426489"/>
              <a:gd name="connsiteX8" fmla="*/ 5911637 w 12192000"/>
              <a:gd name="connsiteY8" fmla="*/ 1342934 h 5426489"/>
              <a:gd name="connsiteX9" fmla="*/ 5911635 w 12192000"/>
              <a:gd name="connsiteY9" fmla="*/ 1342934 h 5426489"/>
              <a:gd name="connsiteX10" fmla="*/ 5911635 w 12192000"/>
              <a:gd name="connsiteY10" fmla="*/ 1340158 h 5426489"/>
              <a:gd name="connsiteX11" fmla="*/ 0 w 12192000"/>
              <a:gd name="connsiteY11" fmla="*/ 1340158 h 5426489"/>
              <a:gd name="connsiteX12" fmla="*/ 0 w 12192000"/>
              <a:gd name="connsiteY12" fmla="*/ 761984 h 5426489"/>
              <a:gd name="connsiteX13" fmla="*/ 0 w 12192000"/>
              <a:gd name="connsiteY13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1342934 h 5426489"/>
              <a:gd name="connsiteX8" fmla="*/ 5911635 w 12192000"/>
              <a:gd name="connsiteY8" fmla="*/ 1342934 h 5426489"/>
              <a:gd name="connsiteX9" fmla="*/ 5911635 w 12192000"/>
              <a:gd name="connsiteY9" fmla="*/ 1340158 h 5426489"/>
              <a:gd name="connsiteX10" fmla="*/ 0 w 12192000"/>
              <a:gd name="connsiteY10" fmla="*/ 1340158 h 5426489"/>
              <a:gd name="connsiteX11" fmla="*/ 0 w 12192000"/>
              <a:gd name="connsiteY11" fmla="*/ 761984 h 5426489"/>
              <a:gd name="connsiteX12" fmla="*/ 0 w 12192000"/>
              <a:gd name="connsiteY12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761984 h 5426489"/>
              <a:gd name="connsiteX11" fmla="*/ 0 w 12192000"/>
              <a:gd name="connsiteY11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0 h 5426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cubicBezTo>
                  <a:pt x="12191999" y="1448830"/>
                  <a:pt x="12192000" y="2897659"/>
                  <a:pt x="12192000" y="4346489"/>
                </a:cubicBezTo>
                <a:lnTo>
                  <a:pt x="11112000" y="5426489"/>
                </a:lnTo>
                <a:lnTo>
                  <a:pt x="4831635" y="5426489"/>
                </a:lnTo>
                <a:lnTo>
                  <a:pt x="5911635" y="4346489"/>
                </a:lnTo>
                <a:cubicBezTo>
                  <a:pt x="5911636" y="3345304"/>
                  <a:pt x="5911636" y="2344119"/>
                  <a:pt x="5911637" y="1342934"/>
                </a:cubicBezTo>
                <a:lnTo>
                  <a:pt x="5911635" y="1342934"/>
                </a:lnTo>
                <a:lnTo>
                  <a:pt x="5911635" y="1340158"/>
                </a:lnTo>
                <a:lnTo>
                  <a:pt x="0" y="134015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8FC2B87-2E99-4CCB-AFB9-1A1F4515BEDB}"/>
              </a:ext>
            </a:extLst>
          </p:cNvPr>
          <p:cNvSpPr/>
          <p:nvPr/>
        </p:nvSpPr>
        <p:spPr bwMode="gray">
          <a:xfrm flipV="1">
            <a:off x="1" y="2148183"/>
            <a:ext cx="5911635" cy="4086331"/>
          </a:xfrm>
          <a:custGeom>
            <a:avLst/>
            <a:gdLst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3965607 w 5911635"/>
              <a:gd name="connsiteY6" fmla="*/ 0 h 4086331"/>
              <a:gd name="connsiteX7" fmla="*/ 0 w 5911635"/>
              <a:gd name="connsiteY7" fmla="*/ 1 h 4086331"/>
              <a:gd name="connsiteX8" fmla="*/ 0 w 5911635"/>
              <a:gd name="connsiteY8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0 w 5911635"/>
              <a:gd name="connsiteY6" fmla="*/ 1 h 4086331"/>
              <a:gd name="connsiteX7" fmla="*/ 0 w 5911635"/>
              <a:gd name="connsiteY7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080000 h 4086331"/>
              <a:gd name="connsiteX4" fmla="*/ 4831635 w 5911635"/>
              <a:gd name="connsiteY4" fmla="*/ 0 h 4086331"/>
              <a:gd name="connsiteX5" fmla="*/ 0 w 5911635"/>
              <a:gd name="connsiteY5" fmla="*/ 1 h 4086331"/>
              <a:gd name="connsiteX6" fmla="*/ 0 w 5911635"/>
              <a:gd name="connsiteY6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1080000 h 4086331"/>
              <a:gd name="connsiteX3" fmla="*/ 4831635 w 5911635"/>
              <a:gd name="connsiteY3" fmla="*/ 0 h 4086331"/>
              <a:gd name="connsiteX4" fmla="*/ 0 w 5911635"/>
              <a:gd name="connsiteY4" fmla="*/ 1 h 4086331"/>
              <a:gd name="connsiteX5" fmla="*/ 0 w 5911635"/>
              <a:gd name="connsiteY5" fmla="*/ 4086331 h 408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1635" h="4086331">
                <a:moveTo>
                  <a:pt x="0" y="4086331"/>
                </a:moveTo>
                <a:lnTo>
                  <a:pt x="5911635" y="4086331"/>
                </a:lnTo>
                <a:lnTo>
                  <a:pt x="5911635" y="1080000"/>
                </a:lnTo>
                <a:lnTo>
                  <a:pt x="4831635" y="0"/>
                </a:lnTo>
                <a:lnTo>
                  <a:pt x="0" y="1"/>
                </a:lnTo>
                <a:lnTo>
                  <a:pt x="0" y="40863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D5C4684-4986-4A53-B19F-63001F9D2ABB}"/>
              </a:ext>
            </a:extLst>
          </p:cNvPr>
          <p:cNvGrpSpPr/>
          <p:nvPr/>
        </p:nvGrpSpPr>
        <p:grpSpPr bwMode="gray">
          <a:xfrm>
            <a:off x="366281" y="2333338"/>
            <a:ext cx="687011" cy="799999"/>
            <a:chOff x="5575300" y="4071938"/>
            <a:chExt cx="1081088" cy="1258887"/>
          </a:xfrm>
          <a:solidFill>
            <a:schemeClr val="accent6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3729C28-DB4F-4C05-9073-3590440137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5300" y="4835525"/>
              <a:ext cx="1081088" cy="495300"/>
            </a:xfrm>
            <a:custGeom>
              <a:avLst/>
              <a:gdLst>
                <a:gd name="T0" fmla="*/ 1196 w 1380"/>
                <a:gd name="T1" fmla="*/ 129 h 631"/>
                <a:gd name="T2" fmla="*/ 930 w 1380"/>
                <a:gd name="T3" fmla="*/ 0 h 631"/>
                <a:gd name="T4" fmla="*/ 801 w 1380"/>
                <a:gd name="T5" fmla="*/ 407 h 631"/>
                <a:gd name="T6" fmla="*/ 783 w 1380"/>
                <a:gd name="T7" fmla="*/ 462 h 631"/>
                <a:gd name="T8" fmla="*/ 726 w 1380"/>
                <a:gd name="T9" fmla="*/ 299 h 631"/>
                <a:gd name="T10" fmla="*/ 691 w 1380"/>
                <a:gd name="T11" fmla="*/ 105 h 631"/>
                <a:gd name="T12" fmla="*/ 690 w 1380"/>
                <a:gd name="T13" fmla="*/ 105 h 631"/>
                <a:gd name="T14" fmla="*/ 655 w 1380"/>
                <a:gd name="T15" fmla="*/ 299 h 631"/>
                <a:gd name="T16" fmla="*/ 597 w 1380"/>
                <a:gd name="T17" fmla="*/ 462 h 631"/>
                <a:gd name="T18" fmla="*/ 580 w 1380"/>
                <a:gd name="T19" fmla="*/ 407 h 631"/>
                <a:gd name="T20" fmla="*/ 451 w 1380"/>
                <a:gd name="T21" fmla="*/ 0 h 631"/>
                <a:gd name="T22" fmla="*/ 184 w 1380"/>
                <a:gd name="T23" fmla="*/ 129 h 631"/>
                <a:gd name="T24" fmla="*/ 8 w 1380"/>
                <a:gd name="T25" fmla="*/ 631 h 631"/>
                <a:gd name="T26" fmla="*/ 1373 w 1380"/>
                <a:gd name="T27" fmla="*/ 631 h 631"/>
                <a:gd name="T28" fmla="*/ 1196 w 1380"/>
                <a:gd name="T29" fmla="*/ 129 h 631"/>
                <a:gd name="T30" fmla="*/ 1196 w 1380"/>
                <a:gd name="T31" fmla="*/ 129 h 631"/>
                <a:gd name="T32" fmla="*/ 1196 w 1380"/>
                <a:gd name="T33" fmla="*/ 12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0" h="631">
                  <a:moveTo>
                    <a:pt x="1196" y="129"/>
                  </a:moveTo>
                  <a:cubicBezTo>
                    <a:pt x="1029" y="65"/>
                    <a:pt x="930" y="0"/>
                    <a:pt x="930" y="0"/>
                  </a:cubicBezTo>
                  <a:cubicBezTo>
                    <a:pt x="801" y="407"/>
                    <a:pt x="801" y="407"/>
                    <a:pt x="801" y="407"/>
                  </a:cubicBezTo>
                  <a:cubicBezTo>
                    <a:pt x="783" y="462"/>
                    <a:pt x="783" y="462"/>
                    <a:pt x="783" y="462"/>
                  </a:cubicBezTo>
                  <a:cubicBezTo>
                    <a:pt x="726" y="299"/>
                    <a:pt x="726" y="299"/>
                    <a:pt x="726" y="299"/>
                  </a:cubicBezTo>
                  <a:cubicBezTo>
                    <a:pt x="858" y="114"/>
                    <a:pt x="716" y="105"/>
                    <a:pt x="691" y="105"/>
                  </a:cubicBezTo>
                  <a:cubicBezTo>
                    <a:pt x="690" y="105"/>
                    <a:pt x="690" y="105"/>
                    <a:pt x="690" y="105"/>
                  </a:cubicBezTo>
                  <a:cubicBezTo>
                    <a:pt x="665" y="106"/>
                    <a:pt x="523" y="114"/>
                    <a:pt x="655" y="299"/>
                  </a:cubicBezTo>
                  <a:cubicBezTo>
                    <a:pt x="597" y="462"/>
                    <a:pt x="597" y="462"/>
                    <a:pt x="597" y="462"/>
                  </a:cubicBezTo>
                  <a:cubicBezTo>
                    <a:pt x="580" y="407"/>
                    <a:pt x="580" y="407"/>
                    <a:pt x="580" y="407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351" y="65"/>
                    <a:pt x="184" y="129"/>
                  </a:cubicBezTo>
                  <a:cubicBezTo>
                    <a:pt x="0" y="196"/>
                    <a:pt x="12" y="347"/>
                    <a:pt x="8" y="631"/>
                  </a:cubicBezTo>
                  <a:cubicBezTo>
                    <a:pt x="1373" y="631"/>
                    <a:pt x="1373" y="631"/>
                    <a:pt x="1373" y="631"/>
                  </a:cubicBezTo>
                  <a:cubicBezTo>
                    <a:pt x="1369" y="347"/>
                    <a:pt x="1380" y="196"/>
                    <a:pt x="1196" y="129"/>
                  </a:cubicBezTo>
                  <a:close/>
                  <a:moveTo>
                    <a:pt x="1196" y="129"/>
                  </a:moveTo>
                  <a:cubicBezTo>
                    <a:pt x="1196" y="129"/>
                    <a:pt x="1196" y="129"/>
                    <a:pt x="1196" y="12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51C4A591-7416-43B8-B361-B387B6F4BFE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37225" y="4071938"/>
              <a:ext cx="754063" cy="749300"/>
            </a:xfrm>
            <a:custGeom>
              <a:avLst/>
              <a:gdLst>
                <a:gd name="T0" fmla="*/ 157 w 960"/>
                <a:gd name="T1" fmla="*/ 773 h 956"/>
                <a:gd name="T2" fmla="*/ 67 w 960"/>
                <a:gd name="T3" fmla="*/ 875 h 956"/>
                <a:gd name="T4" fmla="*/ 72 w 960"/>
                <a:gd name="T5" fmla="*/ 907 h 956"/>
                <a:gd name="T6" fmla="*/ 258 w 960"/>
                <a:gd name="T7" fmla="*/ 856 h 956"/>
                <a:gd name="T8" fmla="*/ 259 w 960"/>
                <a:gd name="T9" fmla="*/ 857 h 956"/>
                <a:gd name="T10" fmla="*/ 789 w 960"/>
                <a:gd name="T11" fmla="*/ 789 h 956"/>
                <a:gd name="T12" fmla="*/ 789 w 960"/>
                <a:gd name="T13" fmla="*/ 171 h 956"/>
                <a:gd name="T14" fmla="*/ 171 w 960"/>
                <a:gd name="T15" fmla="*/ 171 h 956"/>
                <a:gd name="T16" fmla="*/ 152 w 960"/>
                <a:gd name="T17" fmla="*/ 770 h 956"/>
                <a:gd name="T18" fmla="*/ 157 w 960"/>
                <a:gd name="T19" fmla="*/ 773 h 956"/>
                <a:gd name="T20" fmla="*/ 498 w 960"/>
                <a:gd name="T21" fmla="*/ 210 h 956"/>
                <a:gd name="T22" fmla="*/ 569 w 960"/>
                <a:gd name="T23" fmla="*/ 282 h 956"/>
                <a:gd name="T24" fmla="*/ 498 w 960"/>
                <a:gd name="T25" fmla="*/ 354 h 956"/>
                <a:gd name="T26" fmla="*/ 427 w 960"/>
                <a:gd name="T27" fmla="*/ 281 h 956"/>
                <a:gd name="T28" fmla="*/ 498 w 960"/>
                <a:gd name="T29" fmla="*/ 210 h 956"/>
                <a:gd name="T30" fmla="*/ 360 w 960"/>
                <a:gd name="T31" fmla="*/ 401 h 956"/>
                <a:gd name="T32" fmla="*/ 376 w 960"/>
                <a:gd name="T33" fmla="*/ 387 h 956"/>
                <a:gd name="T34" fmla="*/ 392 w 960"/>
                <a:gd name="T35" fmla="*/ 385 h 956"/>
                <a:gd name="T36" fmla="*/ 527 w 960"/>
                <a:gd name="T37" fmla="*/ 385 h 956"/>
                <a:gd name="T38" fmla="*/ 554 w 960"/>
                <a:gd name="T39" fmla="*/ 410 h 956"/>
                <a:gd name="T40" fmla="*/ 549 w 960"/>
                <a:gd name="T41" fmla="*/ 452 h 956"/>
                <a:gd name="T42" fmla="*/ 522 w 960"/>
                <a:gd name="T43" fmla="*/ 604 h 956"/>
                <a:gd name="T44" fmla="*/ 513 w 960"/>
                <a:gd name="T45" fmla="*/ 655 h 956"/>
                <a:gd name="T46" fmla="*/ 515 w 960"/>
                <a:gd name="T47" fmla="*/ 679 h 956"/>
                <a:gd name="T48" fmla="*/ 537 w 960"/>
                <a:gd name="T49" fmla="*/ 695 h 956"/>
                <a:gd name="T50" fmla="*/ 563 w 960"/>
                <a:gd name="T51" fmla="*/ 687 h 956"/>
                <a:gd name="T52" fmla="*/ 583 w 960"/>
                <a:gd name="T53" fmla="*/ 677 h 956"/>
                <a:gd name="T54" fmla="*/ 600 w 960"/>
                <a:gd name="T55" fmla="*/ 691 h 956"/>
                <a:gd name="T56" fmla="*/ 590 w 960"/>
                <a:gd name="T57" fmla="*/ 708 h 956"/>
                <a:gd name="T58" fmla="*/ 496 w 960"/>
                <a:gd name="T59" fmla="*/ 750 h 956"/>
                <a:gd name="T60" fmla="*/ 444 w 960"/>
                <a:gd name="T61" fmla="*/ 747 h 956"/>
                <a:gd name="T62" fmla="*/ 384 w 960"/>
                <a:gd name="T63" fmla="*/ 670 h 956"/>
                <a:gd name="T64" fmla="*/ 396 w 960"/>
                <a:gd name="T65" fmla="*/ 593 h 956"/>
                <a:gd name="T66" fmla="*/ 420 w 960"/>
                <a:gd name="T67" fmla="*/ 460 h 956"/>
                <a:gd name="T68" fmla="*/ 420 w 960"/>
                <a:gd name="T69" fmla="*/ 451 h 956"/>
                <a:gd name="T70" fmla="*/ 396 w 960"/>
                <a:gd name="T71" fmla="*/ 423 h 956"/>
                <a:gd name="T72" fmla="*/ 372 w 960"/>
                <a:gd name="T73" fmla="*/ 419 h 956"/>
                <a:gd name="T74" fmla="*/ 360 w 960"/>
                <a:gd name="T75" fmla="*/ 401 h 956"/>
                <a:gd name="T76" fmla="*/ 360 w 960"/>
                <a:gd name="T77" fmla="*/ 401 h 956"/>
                <a:gd name="T78" fmla="*/ 360 w 960"/>
                <a:gd name="T79" fmla="*/ 401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0" h="956">
                  <a:moveTo>
                    <a:pt x="157" y="773"/>
                  </a:moveTo>
                  <a:cubicBezTo>
                    <a:pt x="140" y="809"/>
                    <a:pt x="112" y="853"/>
                    <a:pt x="67" y="875"/>
                  </a:cubicBezTo>
                  <a:cubicBezTo>
                    <a:pt x="52" y="882"/>
                    <a:pt x="55" y="904"/>
                    <a:pt x="72" y="907"/>
                  </a:cubicBezTo>
                  <a:cubicBezTo>
                    <a:pt x="121" y="915"/>
                    <a:pt x="192" y="906"/>
                    <a:pt x="258" y="856"/>
                  </a:cubicBezTo>
                  <a:cubicBezTo>
                    <a:pt x="259" y="857"/>
                    <a:pt x="259" y="857"/>
                    <a:pt x="259" y="857"/>
                  </a:cubicBezTo>
                  <a:cubicBezTo>
                    <a:pt x="426" y="956"/>
                    <a:pt x="645" y="933"/>
                    <a:pt x="789" y="789"/>
                  </a:cubicBezTo>
                  <a:cubicBezTo>
                    <a:pt x="960" y="618"/>
                    <a:pt x="960" y="342"/>
                    <a:pt x="789" y="171"/>
                  </a:cubicBezTo>
                  <a:cubicBezTo>
                    <a:pt x="618" y="0"/>
                    <a:pt x="342" y="0"/>
                    <a:pt x="171" y="171"/>
                  </a:cubicBezTo>
                  <a:cubicBezTo>
                    <a:pt x="6" y="335"/>
                    <a:pt x="0" y="598"/>
                    <a:pt x="152" y="770"/>
                  </a:cubicBezTo>
                  <a:lnTo>
                    <a:pt x="157" y="773"/>
                  </a:lnTo>
                  <a:close/>
                  <a:moveTo>
                    <a:pt x="498" y="210"/>
                  </a:moveTo>
                  <a:cubicBezTo>
                    <a:pt x="538" y="210"/>
                    <a:pt x="569" y="242"/>
                    <a:pt x="569" y="282"/>
                  </a:cubicBezTo>
                  <a:cubicBezTo>
                    <a:pt x="568" y="322"/>
                    <a:pt x="536" y="354"/>
                    <a:pt x="498" y="354"/>
                  </a:cubicBezTo>
                  <a:cubicBezTo>
                    <a:pt x="458" y="353"/>
                    <a:pt x="426" y="321"/>
                    <a:pt x="427" y="281"/>
                  </a:cubicBezTo>
                  <a:cubicBezTo>
                    <a:pt x="427" y="241"/>
                    <a:pt x="459" y="210"/>
                    <a:pt x="498" y="210"/>
                  </a:cubicBezTo>
                  <a:close/>
                  <a:moveTo>
                    <a:pt x="360" y="401"/>
                  </a:moveTo>
                  <a:cubicBezTo>
                    <a:pt x="361" y="394"/>
                    <a:pt x="365" y="389"/>
                    <a:pt x="376" y="387"/>
                  </a:cubicBezTo>
                  <a:cubicBezTo>
                    <a:pt x="381" y="386"/>
                    <a:pt x="387" y="385"/>
                    <a:pt x="392" y="385"/>
                  </a:cubicBezTo>
                  <a:cubicBezTo>
                    <a:pt x="527" y="385"/>
                    <a:pt x="527" y="385"/>
                    <a:pt x="527" y="385"/>
                  </a:cubicBezTo>
                  <a:cubicBezTo>
                    <a:pt x="544" y="385"/>
                    <a:pt x="554" y="393"/>
                    <a:pt x="554" y="410"/>
                  </a:cubicBezTo>
                  <a:cubicBezTo>
                    <a:pt x="554" y="424"/>
                    <a:pt x="552" y="438"/>
                    <a:pt x="549" y="452"/>
                  </a:cubicBezTo>
                  <a:cubicBezTo>
                    <a:pt x="540" y="502"/>
                    <a:pt x="531" y="553"/>
                    <a:pt x="522" y="604"/>
                  </a:cubicBezTo>
                  <a:cubicBezTo>
                    <a:pt x="518" y="621"/>
                    <a:pt x="515" y="638"/>
                    <a:pt x="513" y="655"/>
                  </a:cubicBezTo>
                  <a:cubicBezTo>
                    <a:pt x="512" y="663"/>
                    <a:pt x="513" y="671"/>
                    <a:pt x="515" y="679"/>
                  </a:cubicBezTo>
                  <a:cubicBezTo>
                    <a:pt x="518" y="690"/>
                    <a:pt x="526" y="696"/>
                    <a:pt x="537" y="695"/>
                  </a:cubicBezTo>
                  <a:cubicBezTo>
                    <a:pt x="546" y="694"/>
                    <a:pt x="555" y="691"/>
                    <a:pt x="563" y="687"/>
                  </a:cubicBezTo>
                  <a:cubicBezTo>
                    <a:pt x="570" y="685"/>
                    <a:pt x="576" y="680"/>
                    <a:pt x="583" y="677"/>
                  </a:cubicBezTo>
                  <a:cubicBezTo>
                    <a:pt x="594" y="673"/>
                    <a:pt x="602" y="680"/>
                    <a:pt x="600" y="691"/>
                  </a:cubicBezTo>
                  <a:cubicBezTo>
                    <a:pt x="598" y="697"/>
                    <a:pt x="594" y="703"/>
                    <a:pt x="590" y="708"/>
                  </a:cubicBezTo>
                  <a:cubicBezTo>
                    <a:pt x="564" y="734"/>
                    <a:pt x="533" y="750"/>
                    <a:pt x="496" y="750"/>
                  </a:cubicBezTo>
                  <a:cubicBezTo>
                    <a:pt x="478" y="750"/>
                    <a:pt x="461" y="750"/>
                    <a:pt x="444" y="747"/>
                  </a:cubicBezTo>
                  <a:cubicBezTo>
                    <a:pt x="415" y="743"/>
                    <a:pt x="379" y="708"/>
                    <a:pt x="384" y="670"/>
                  </a:cubicBezTo>
                  <a:cubicBezTo>
                    <a:pt x="388" y="645"/>
                    <a:pt x="392" y="619"/>
                    <a:pt x="396" y="593"/>
                  </a:cubicBezTo>
                  <a:cubicBezTo>
                    <a:pt x="404" y="549"/>
                    <a:pt x="412" y="504"/>
                    <a:pt x="420" y="460"/>
                  </a:cubicBezTo>
                  <a:cubicBezTo>
                    <a:pt x="420" y="457"/>
                    <a:pt x="420" y="454"/>
                    <a:pt x="420" y="451"/>
                  </a:cubicBezTo>
                  <a:cubicBezTo>
                    <a:pt x="420" y="433"/>
                    <a:pt x="414" y="426"/>
                    <a:pt x="396" y="423"/>
                  </a:cubicBezTo>
                  <a:cubicBezTo>
                    <a:pt x="388" y="422"/>
                    <a:pt x="380" y="422"/>
                    <a:pt x="372" y="419"/>
                  </a:cubicBezTo>
                  <a:cubicBezTo>
                    <a:pt x="363" y="416"/>
                    <a:pt x="359" y="408"/>
                    <a:pt x="360" y="401"/>
                  </a:cubicBezTo>
                  <a:close/>
                  <a:moveTo>
                    <a:pt x="360" y="401"/>
                  </a:moveTo>
                  <a:cubicBezTo>
                    <a:pt x="360" y="401"/>
                    <a:pt x="360" y="401"/>
                    <a:pt x="360" y="40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6" name="Titel 1"/>
          <p:cNvSpPr>
            <a:spLocks noGrp="1"/>
          </p:cNvSpPr>
          <p:nvPr>
            <p:ph type="title"/>
          </p:nvPr>
        </p:nvSpPr>
        <p:spPr bwMode="gray">
          <a:xfrm>
            <a:off x="1234815" y="2333338"/>
            <a:ext cx="4500000" cy="878628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17 (oben)"/>
          <p:cNvSpPr>
            <a:spLocks noGrp="1"/>
          </p:cNvSpPr>
          <p:nvPr>
            <p:ph type="body" sz="quarter" idx="14"/>
          </p:nvPr>
        </p:nvSpPr>
        <p:spPr bwMode="gray">
          <a:xfrm>
            <a:off x="345278" y="3533778"/>
            <a:ext cx="5389537" cy="1080000"/>
          </a:xfrm>
        </p:spPr>
        <p:txBody>
          <a:bodyPr/>
          <a:lstStyle>
            <a:lvl1pPr marL="3175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cap="all" baseline="0">
                <a:solidFill>
                  <a:schemeClr val="bg1"/>
                </a:solidFill>
              </a:defRPr>
            </a:lvl1pPr>
            <a:lvl2pPr marL="31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Textplatzhalter 17 (unten)"/>
          <p:cNvSpPr>
            <a:spLocks noGrp="1"/>
          </p:cNvSpPr>
          <p:nvPr>
            <p:ph type="body" sz="quarter" idx="15"/>
          </p:nvPr>
        </p:nvSpPr>
        <p:spPr bwMode="gray">
          <a:xfrm>
            <a:off x="345279" y="4777211"/>
            <a:ext cx="4140000" cy="895454"/>
          </a:xfrm>
        </p:spPr>
        <p:txBody>
          <a:bodyPr/>
          <a:lstStyle>
            <a:lvl1pPr marL="0" indent="0" defTabSz="72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1"/>
                </a:solidFill>
              </a:defRPr>
            </a:lvl1pPr>
            <a:lvl2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reeform 6"/>
          <p:cNvSpPr>
            <a:spLocks noChangeAspect="1" noEditPoints="1"/>
          </p:cNvSpPr>
          <p:nvPr/>
        </p:nvSpPr>
        <p:spPr bwMode="gray">
          <a:xfrm>
            <a:off x="371475" y="465599"/>
            <a:ext cx="1735200" cy="153386"/>
          </a:xfrm>
          <a:custGeom>
            <a:avLst/>
            <a:gdLst>
              <a:gd name="T0" fmla="*/ 946 w 26146"/>
              <a:gd name="T1" fmla="*/ 922 h 2648"/>
              <a:gd name="T2" fmla="*/ 376 w 26146"/>
              <a:gd name="T3" fmla="*/ 464 h 2648"/>
              <a:gd name="T4" fmla="*/ 220 w 26146"/>
              <a:gd name="T5" fmla="*/ 337 h 2648"/>
              <a:gd name="T6" fmla="*/ 2805 w 26146"/>
              <a:gd name="T7" fmla="*/ 1253 h 2648"/>
              <a:gd name="T8" fmla="*/ 2932 w 26146"/>
              <a:gd name="T9" fmla="*/ 1266 h 2648"/>
              <a:gd name="T10" fmla="*/ 3851 w 26146"/>
              <a:gd name="T11" fmla="*/ 1025 h 2648"/>
              <a:gd name="T12" fmla="*/ 3725 w 26146"/>
              <a:gd name="T13" fmla="*/ 1299 h 2648"/>
              <a:gd name="T14" fmla="*/ 2863 w 26146"/>
              <a:gd name="T15" fmla="*/ 2581 h 2648"/>
              <a:gd name="T16" fmla="*/ 3732 w 26146"/>
              <a:gd name="T17" fmla="*/ 1611 h 2648"/>
              <a:gd name="T18" fmla="*/ 3998 w 26146"/>
              <a:gd name="T19" fmla="*/ 1053 h 2648"/>
              <a:gd name="T20" fmla="*/ 4826 w 26146"/>
              <a:gd name="T21" fmla="*/ 1660 h 2648"/>
              <a:gd name="T22" fmla="*/ 4639 w 26146"/>
              <a:gd name="T23" fmla="*/ 1358 h 2648"/>
              <a:gd name="T24" fmla="*/ 6094 w 26146"/>
              <a:gd name="T25" fmla="*/ 639 h 2648"/>
              <a:gd name="T26" fmla="*/ 5658 w 26146"/>
              <a:gd name="T27" fmla="*/ 1632 h 2648"/>
              <a:gd name="T28" fmla="*/ 5667 w 26146"/>
              <a:gd name="T29" fmla="*/ 834 h 2648"/>
              <a:gd name="T30" fmla="*/ 5840 w 26146"/>
              <a:gd name="T31" fmla="*/ 692 h 2648"/>
              <a:gd name="T32" fmla="*/ 7554 w 26146"/>
              <a:gd name="T33" fmla="*/ 1825 h 2648"/>
              <a:gd name="T34" fmla="*/ 6494 w 26146"/>
              <a:gd name="T35" fmla="*/ 1735 h 2648"/>
              <a:gd name="T36" fmla="*/ 7405 w 26146"/>
              <a:gd name="T37" fmla="*/ 241 h 2648"/>
              <a:gd name="T38" fmla="*/ 8398 w 26146"/>
              <a:gd name="T39" fmla="*/ 1060 h 2648"/>
              <a:gd name="T40" fmla="*/ 8250 w 26146"/>
              <a:gd name="T41" fmla="*/ 995 h 2648"/>
              <a:gd name="T42" fmla="*/ 8280 w 26146"/>
              <a:gd name="T43" fmla="*/ 1591 h 2648"/>
              <a:gd name="T44" fmla="*/ 9105 w 26146"/>
              <a:gd name="T45" fmla="*/ 1499 h 2648"/>
              <a:gd name="T46" fmla="*/ 9650 w 26146"/>
              <a:gd name="T47" fmla="*/ 968 h 2648"/>
              <a:gd name="T48" fmla="*/ 11818 w 26146"/>
              <a:gd name="T49" fmla="*/ 1526 h 2648"/>
              <a:gd name="T50" fmla="*/ 11402 w 26146"/>
              <a:gd name="T51" fmla="*/ 1356 h 2648"/>
              <a:gd name="T52" fmla="*/ 12066 w 26146"/>
              <a:gd name="T53" fmla="*/ 1227 h 2648"/>
              <a:gd name="T54" fmla="*/ 12797 w 26146"/>
              <a:gd name="T55" fmla="*/ 906 h 2648"/>
              <a:gd name="T56" fmla="*/ 13451 w 26146"/>
              <a:gd name="T57" fmla="*/ 287 h 2648"/>
              <a:gd name="T58" fmla="*/ 13171 w 26146"/>
              <a:gd name="T59" fmla="*/ 1600 h 2648"/>
              <a:gd name="T60" fmla="*/ 13420 w 26146"/>
              <a:gd name="T61" fmla="*/ 1034 h 2648"/>
              <a:gd name="T62" fmla="*/ 14516 w 26146"/>
              <a:gd name="T63" fmla="*/ 807 h 2648"/>
              <a:gd name="T64" fmla="*/ 13748 w 26146"/>
              <a:gd name="T65" fmla="*/ 1499 h 2648"/>
              <a:gd name="T66" fmla="*/ 13891 w 26146"/>
              <a:gd name="T67" fmla="*/ 747 h 2648"/>
              <a:gd name="T68" fmla="*/ 16249 w 26146"/>
              <a:gd name="T69" fmla="*/ 986 h 2648"/>
              <a:gd name="T70" fmla="*/ 16063 w 26146"/>
              <a:gd name="T71" fmla="*/ 991 h 2648"/>
              <a:gd name="T72" fmla="*/ 15610 w 26146"/>
              <a:gd name="T73" fmla="*/ 437 h 2648"/>
              <a:gd name="T74" fmla="*/ 16249 w 26146"/>
              <a:gd name="T75" fmla="*/ 986 h 2648"/>
              <a:gd name="T76" fmla="*/ 17897 w 26146"/>
              <a:gd name="T77" fmla="*/ 1126 h 2648"/>
              <a:gd name="T78" fmla="*/ 17718 w 26146"/>
              <a:gd name="T79" fmla="*/ 1402 h 2648"/>
              <a:gd name="T80" fmla="*/ 17789 w 26146"/>
              <a:gd name="T81" fmla="*/ 1080 h 2648"/>
              <a:gd name="T82" fmla="*/ 18658 w 26146"/>
              <a:gd name="T83" fmla="*/ 200 h 2648"/>
              <a:gd name="T84" fmla="*/ 19984 w 26146"/>
              <a:gd name="T85" fmla="*/ 1733 h 2648"/>
              <a:gd name="T86" fmla="*/ 19908 w 26146"/>
              <a:gd name="T87" fmla="*/ 938 h 2648"/>
              <a:gd name="T88" fmla="*/ 19687 w 26146"/>
              <a:gd name="T89" fmla="*/ 1202 h 2648"/>
              <a:gd name="T90" fmla="*/ 19044 w 26146"/>
              <a:gd name="T91" fmla="*/ 1708 h 2648"/>
              <a:gd name="T92" fmla="*/ 19745 w 26146"/>
              <a:gd name="T93" fmla="*/ 1496 h 2648"/>
              <a:gd name="T94" fmla="*/ 21193 w 26146"/>
              <a:gd name="T95" fmla="*/ 1287 h 2648"/>
              <a:gd name="T96" fmla="*/ 20770 w 26146"/>
              <a:gd name="T97" fmla="*/ 1554 h 2648"/>
              <a:gd name="T98" fmla="*/ 21358 w 26146"/>
              <a:gd name="T99" fmla="*/ 595 h 2648"/>
              <a:gd name="T100" fmla="*/ 21869 w 26146"/>
              <a:gd name="T101" fmla="*/ 1758 h 2648"/>
              <a:gd name="T102" fmla="*/ 22324 w 26146"/>
              <a:gd name="T103" fmla="*/ 1172 h 2648"/>
              <a:gd name="T104" fmla="*/ 23333 w 26146"/>
              <a:gd name="T105" fmla="*/ 485 h 2648"/>
              <a:gd name="T106" fmla="*/ 23098 w 26146"/>
              <a:gd name="T107" fmla="*/ 1400 h 2648"/>
              <a:gd name="T108" fmla="*/ 23034 w 26146"/>
              <a:gd name="T109" fmla="*/ 1099 h 2648"/>
              <a:gd name="T110" fmla="*/ 24043 w 26146"/>
              <a:gd name="T111" fmla="*/ 1597 h 2648"/>
              <a:gd name="T112" fmla="*/ 24427 w 26146"/>
              <a:gd name="T113" fmla="*/ 890 h 2648"/>
              <a:gd name="T114" fmla="*/ 25859 w 26146"/>
              <a:gd name="T115" fmla="*/ 1726 h 2648"/>
              <a:gd name="T116" fmla="*/ 24976 w 26146"/>
              <a:gd name="T117" fmla="*/ 1696 h 2648"/>
              <a:gd name="T118" fmla="*/ 25560 w 26146"/>
              <a:gd name="T119" fmla="*/ 903 h 2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146" h="2648">
                <a:moveTo>
                  <a:pt x="2265" y="67"/>
                </a:moveTo>
                <a:cubicBezTo>
                  <a:pt x="2221" y="185"/>
                  <a:pt x="2124" y="244"/>
                  <a:pt x="1976" y="244"/>
                </a:cubicBezTo>
                <a:lnTo>
                  <a:pt x="2019" y="156"/>
                </a:lnTo>
                <a:cubicBezTo>
                  <a:pt x="1981" y="146"/>
                  <a:pt x="1937" y="140"/>
                  <a:pt x="1888" y="140"/>
                </a:cubicBezTo>
                <a:cubicBezTo>
                  <a:pt x="1813" y="140"/>
                  <a:pt x="1691" y="157"/>
                  <a:pt x="1523" y="191"/>
                </a:cubicBezTo>
                <a:cubicBezTo>
                  <a:pt x="1345" y="226"/>
                  <a:pt x="1229" y="258"/>
                  <a:pt x="1176" y="287"/>
                </a:cubicBezTo>
                <a:lnTo>
                  <a:pt x="1063" y="650"/>
                </a:lnTo>
                <a:cubicBezTo>
                  <a:pt x="1028" y="762"/>
                  <a:pt x="989" y="853"/>
                  <a:pt x="946" y="922"/>
                </a:cubicBezTo>
                <a:cubicBezTo>
                  <a:pt x="903" y="991"/>
                  <a:pt x="825" y="1118"/>
                  <a:pt x="711" y="1303"/>
                </a:cubicBezTo>
                <a:cubicBezTo>
                  <a:pt x="626" y="1443"/>
                  <a:pt x="564" y="1580"/>
                  <a:pt x="528" y="1715"/>
                </a:cubicBezTo>
                <a:lnTo>
                  <a:pt x="353" y="1676"/>
                </a:lnTo>
                <a:cubicBezTo>
                  <a:pt x="365" y="1604"/>
                  <a:pt x="424" y="1487"/>
                  <a:pt x="530" y="1326"/>
                </a:cubicBezTo>
                <a:cubicBezTo>
                  <a:pt x="675" y="1103"/>
                  <a:pt x="770" y="949"/>
                  <a:pt x="813" y="867"/>
                </a:cubicBezTo>
                <a:cubicBezTo>
                  <a:pt x="911" y="672"/>
                  <a:pt x="960" y="493"/>
                  <a:pt x="960" y="331"/>
                </a:cubicBezTo>
                <a:lnTo>
                  <a:pt x="948" y="340"/>
                </a:lnTo>
                <a:lnTo>
                  <a:pt x="376" y="464"/>
                </a:lnTo>
                <a:cubicBezTo>
                  <a:pt x="285" y="503"/>
                  <a:pt x="196" y="540"/>
                  <a:pt x="107" y="577"/>
                </a:cubicBezTo>
                <a:cubicBezTo>
                  <a:pt x="73" y="577"/>
                  <a:pt x="46" y="562"/>
                  <a:pt x="25" y="533"/>
                </a:cubicBezTo>
                <a:cubicBezTo>
                  <a:pt x="9" y="510"/>
                  <a:pt x="0" y="485"/>
                  <a:pt x="0" y="459"/>
                </a:cubicBezTo>
                <a:lnTo>
                  <a:pt x="0" y="455"/>
                </a:lnTo>
                <a:cubicBezTo>
                  <a:pt x="0" y="450"/>
                  <a:pt x="0" y="445"/>
                  <a:pt x="1" y="439"/>
                </a:cubicBezTo>
                <a:lnTo>
                  <a:pt x="43" y="359"/>
                </a:lnTo>
                <a:cubicBezTo>
                  <a:pt x="87" y="342"/>
                  <a:pt x="125" y="333"/>
                  <a:pt x="158" y="333"/>
                </a:cubicBezTo>
                <a:cubicBezTo>
                  <a:pt x="171" y="333"/>
                  <a:pt x="192" y="334"/>
                  <a:pt x="220" y="337"/>
                </a:cubicBezTo>
                <a:cubicBezTo>
                  <a:pt x="247" y="339"/>
                  <a:pt x="268" y="340"/>
                  <a:pt x="282" y="340"/>
                </a:cubicBezTo>
                <a:cubicBezTo>
                  <a:pt x="467" y="340"/>
                  <a:pt x="676" y="311"/>
                  <a:pt x="909" y="253"/>
                </a:cubicBezTo>
                <a:cubicBezTo>
                  <a:pt x="1047" y="216"/>
                  <a:pt x="1253" y="162"/>
                  <a:pt x="1527" y="90"/>
                </a:cubicBezTo>
                <a:cubicBezTo>
                  <a:pt x="1760" y="30"/>
                  <a:pt x="1960" y="0"/>
                  <a:pt x="2127" y="0"/>
                </a:cubicBezTo>
                <a:lnTo>
                  <a:pt x="2129" y="0"/>
                </a:lnTo>
                <a:cubicBezTo>
                  <a:pt x="2168" y="0"/>
                  <a:pt x="2194" y="3"/>
                  <a:pt x="2208" y="9"/>
                </a:cubicBezTo>
                <a:cubicBezTo>
                  <a:pt x="2222" y="15"/>
                  <a:pt x="2241" y="34"/>
                  <a:pt x="2265" y="67"/>
                </a:cubicBezTo>
                <a:close/>
                <a:moveTo>
                  <a:pt x="2805" y="1253"/>
                </a:moveTo>
                <a:cubicBezTo>
                  <a:pt x="2805" y="1178"/>
                  <a:pt x="2767" y="1121"/>
                  <a:pt x="2690" y="1083"/>
                </a:cubicBezTo>
                <a:cubicBezTo>
                  <a:pt x="2629" y="1052"/>
                  <a:pt x="2557" y="1037"/>
                  <a:pt x="2474" y="1037"/>
                </a:cubicBezTo>
                <a:cubicBezTo>
                  <a:pt x="2336" y="1037"/>
                  <a:pt x="2193" y="1075"/>
                  <a:pt x="2045" y="1152"/>
                </a:cubicBezTo>
                <a:cubicBezTo>
                  <a:pt x="1888" y="1230"/>
                  <a:pt x="1776" y="1325"/>
                  <a:pt x="1709" y="1439"/>
                </a:cubicBezTo>
                <a:cubicBezTo>
                  <a:pt x="1813" y="1545"/>
                  <a:pt x="1938" y="1597"/>
                  <a:pt x="2084" y="1597"/>
                </a:cubicBezTo>
                <a:cubicBezTo>
                  <a:pt x="2223" y="1597"/>
                  <a:pt x="2366" y="1572"/>
                  <a:pt x="2513" y="1522"/>
                </a:cubicBezTo>
                <a:cubicBezTo>
                  <a:pt x="2708" y="1454"/>
                  <a:pt x="2805" y="1365"/>
                  <a:pt x="2805" y="1253"/>
                </a:cubicBezTo>
                <a:close/>
                <a:moveTo>
                  <a:pt x="2932" y="1266"/>
                </a:moveTo>
                <a:cubicBezTo>
                  <a:pt x="2932" y="1411"/>
                  <a:pt x="2828" y="1523"/>
                  <a:pt x="2619" y="1604"/>
                </a:cubicBezTo>
                <a:cubicBezTo>
                  <a:pt x="2461" y="1666"/>
                  <a:pt x="2295" y="1696"/>
                  <a:pt x="2120" y="1696"/>
                </a:cubicBezTo>
                <a:cubicBezTo>
                  <a:pt x="1754" y="1696"/>
                  <a:pt x="1571" y="1606"/>
                  <a:pt x="1571" y="1425"/>
                </a:cubicBezTo>
                <a:cubicBezTo>
                  <a:pt x="1571" y="1296"/>
                  <a:pt x="1691" y="1171"/>
                  <a:pt x="1930" y="1050"/>
                </a:cubicBezTo>
                <a:cubicBezTo>
                  <a:pt x="2143" y="943"/>
                  <a:pt x="2322" y="890"/>
                  <a:pt x="2467" y="890"/>
                </a:cubicBezTo>
                <a:cubicBezTo>
                  <a:pt x="2596" y="890"/>
                  <a:pt x="2703" y="919"/>
                  <a:pt x="2787" y="979"/>
                </a:cubicBezTo>
                <a:cubicBezTo>
                  <a:pt x="2884" y="1047"/>
                  <a:pt x="2932" y="1142"/>
                  <a:pt x="2932" y="1266"/>
                </a:cubicBezTo>
                <a:close/>
                <a:moveTo>
                  <a:pt x="3851" y="1025"/>
                </a:moveTo>
                <a:cubicBezTo>
                  <a:pt x="3851" y="975"/>
                  <a:pt x="3804" y="949"/>
                  <a:pt x="3711" y="949"/>
                </a:cubicBezTo>
                <a:cubicBezTo>
                  <a:pt x="3613" y="949"/>
                  <a:pt x="3503" y="991"/>
                  <a:pt x="3382" y="1073"/>
                </a:cubicBezTo>
                <a:cubicBezTo>
                  <a:pt x="3249" y="1164"/>
                  <a:pt x="3182" y="1256"/>
                  <a:pt x="3182" y="1349"/>
                </a:cubicBezTo>
                <a:cubicBezTo>
                  <a:pt x="3182" y="1452"/>
                  <a:pt x="3283" y="1503"/>
                  <a:pt x="3483" y="1503"/>
                </a:cubicBezTo>
                <a:cubicBezTo>
                  <a:pt x="3535" y="1503"/>
                  <a:pt x="3587" y="1496"/>
                  <a:pt x="3637" y="1480"/>
                </a:cubicBezTo>
                <a:cubicBezTo>
                  <a:pt x="3709" y="1459"/>
                  <a:pt x="3745" y="1428"/>
                  <a:pt x="3745" y="1388"/>
                </a:cubicBezTo>
                <a:cubicBezTo>
                  <a:pt x="3745" y="1378"/>
                  <a:pt x="3742" y="1362"/>
                  <a:pt x="3735" y="1342"/>
                </a:cubicBezTo>
                <a:cubicBezTo>
                  <a:pt x="3728" y="1322"/>
                  <a:pt x="3725" y="1308"/>
                  <a:pt x="3725" y="1299"/>
                </a:cubicBezTo>
                <a:cubicBezTo>
                  <a:pt x="3725" y="1280"/>
                  <a:pt x="3753" y="1224"/>
                  <a:pt x="3810" y="1131"/>
                </a:cubicBezTo>
                <a:cubicBezTo>
                  <a:pt x="3837" y="1086"/>
                  <a:pt x="3851" y="1051"/>
                  <a:pt x="3851" y="1025"/>
                </a:cubicBezTo>
                <a:close/>
                <a:moveTo>
                  <a:pt x="3998" y="1053"/>
                </a:moveTo>
                <a:cubicBezTo>
                  <a:pt x="3998" y="1086"/>
                  <a:pt x="3982" y="1145"/>
                  <a:pt x="3950" y="1227"/>
                </a:cubicBezTo>
                <a:cubicBezTo>
                  <a:pt x="3935" y="1267"/>
                  <a:pt x="3927" y="1299"/>
                  <a:pt x="3927" y="1322"/>
                </a:cubicBezTo>
                <a:cubicBezTo>
                  <a:pt x="3927" y="1555"/>
                  <a:pt x="3912" y="1748"/>
                  <a:pt x="3883" y="1903"/>
                </a:cubicBezTo>
                <a:cubicBezTo>
                  <a:pt x="3791" y="2400"/>
                  <a:pt x="3545" y="2648"/>
                  <a:pt x="3143" y="2648"/>
                </a:cubicBezTo>
                <a:cubicBezTo>
                  <a:pt x="3071" y="2648"/>
                  <a:pt x="2978" y="2626"/>
                  <a:pt x="2863" y="2581"/>
                </a:cubicBezTo>
                <a:cubicBezTo>
                  <a:pt x="2725" y="2529"/>
                  <a:pt x="2656" y="2473"/>
                  <a:pt x="2656" y="2413"/>
                </a:cubicBezTo>
                <a:cubicBezTo>
                  <a:pt x="2656" y="2400"/>
                  <a:pt x="2663" y="2372"/>
                  <a:pt x="2677" y="2331"/>
                </a:cubicBezTo>
                <a:lnTo>
                  <a:pt x="2700" y="2331"/>
                </a:lnTo>
                <a:cubicBezTo>
                  <a:pt x="2739" y="2375"/>
                  <a:pt x="2807" y="2420"/>
                  <a:pt x="2902" y="2464"/>
                </a:cubicBezTo>
                <a:cubicBezTo>
                  <a:pt x="2997" y="2508"/>
                  <a:pt x="3073" y="2531"/>
                  <a:pt x="3129" y="2531"/>
                </a:cubicBezTo>
                <a:cubicBezTo>
                  <a:pt x="3315" y="2531"/>
                  <a:pt x="3470" y="2442"/>
                  <a:pt x="3594" y="2264"/>
                </a:cubicBezTo>
                <a:cubicBezTo>
                  <a:pt x="3704" y="2105"/>
                  <a:pt x="3759" y="1927"/>
                  <a:pt x="3759" y="1731"/>
                </a:cubicBezTo>
                <a:cubicBezTo>
                  <a:pt x="3759" y="1683"/>
                  <a:pt x="3750" y="1643"/>
                  <a:pt x="3732" y="1611"/>
                </a:cubicBezTo>
                <a:cubicBezTo>
                  <a:pt x="3701" y="1599"/>
                  <a:pt x="3677" y="1593"/>
                  <a:pt x="3660" y="1593"/>
                </a:cubicBezTo>
                <a:cubicBezTo>
                  <a:pt x="3651" y="1593"/>
                  <a:pt x="3635" y="1596"/>
                  <a:pt x="3612" y="1602"/>
                </a:cubicBezTo>
                <a:cubicBezTo>
                  <a:pt x="3589" y="1608"/>
                  <a:pt x="3571" y="1611"/>
                  <a:pt x="3559" y="1611"/>
                </a:cubicBezTo>
                <a:cubicBezTo>
                  <a:pt x="3411" y="1611"/>
                  <a:pt x="3302" y="1603"/>
                  <a:pt x="3233" y="1586"/>
                </a:cubicBezTo>
                <a:cubicBezTo>
                  <a:pt x="3095" y="1552"/>
                  <a:pt x="3026" y="1483"/>
                  <a:pt x="3026" y="1379"/>
                </a:cubicBezTo>
                <a:cubicBezTo>
                  <a:pt x="3026" y="1232"/>
                  <a:pt x="3110" y="1101"/>
                  <a:pt x="3279" y="986"/>
                </a:cubicBezTo>
                <a:cubicBezTo>
                  <a:pt x="3434" y="880"/>
                  <a:pt x="3587" y="827"/>
                  <a:pt x="3739" y="827"/>
                </a:cubicBezTo>
                <a:cubicBezTo>
                  <a:pt x="3912" y="827"/>
                  <a:pt x="3998" y="903"/>
                  <a:pt x="3998" y="1053"/>
                </a:cubicBezTo>
                <a:close/>
                <a:moveTo>
                  <a:pt x="4915" y="1103"/>
                </a:moveTo>
                <a:cubicBezTo>
                  <a:pt x="4869" y="1054"/>
                  <a:pt x="4813" y="1030"/>
                  <a:pt x="4748" y="1030"/>
                </a:cubicBezTo>
                <a:cubicBezTo>
                  <a:pt x="4700" y="1030"/>
                  <a:pt x="4657" y="1040"/>
                  <a:pt x="4619" y="1060"/>
                </a:cubicBezTo>
                <a:cubicBezTo>
                  <a:pt x="4617" y="1061"/>
                  <a:pt x="4578" y="1083"/>
                  <a:pt x="4502" y="1124"/>
                </a:cubicBezTo>
                <a:cubicBezTo>
                  <a:pt x="4548" y="1198"/>
                  <a:pt x="4610" y="1234"/>
                  <a:pt x="4690" y="1234"/>
                </a:cubicBezTo>
                <a:cubicBezTo>
                  <a:pt x="4780" y="1234"/>
                  <a:pt x="4856" y="1191"/>
                  <a:pt x="4915" y="1103"/>
                </a:cubicBezTo>
                <a:close/>
                <a:moveTo>
                  <a:pt x="5152" y="1545"/>
                </a:moveTo>
                <a:cubicBezTo>
                  <a:pt x="5106" y="1595"/>
                  <a:pt x="4997" y="1633"/>
                  <a:pt x="4826" y="1660"/>
                </a:cubicBezTo>
                <a:cubicBezTo>
                  <a:pt x="4705" y="1678"/>
                  <a:pt x="4581" y="1687"/>
                  <a:pt x="4456" y="1687"/>
                </a:cubicBezTo>
                <a:cubicBezTo>
                  <a:pt x="4197" y="1687"/>
                  <a:pt x="4067" y="1613"/>
                  <a:pt x="4067" y="1464"/>
                </a:cubicBezTo>
                <a:cubicBezTo>
                  <a:pt x="4067" y="1282"/>
                  <a:pt x="4202" y="1126"/>
                  <a:pt x="4472" y="995"/>
                </a:cubicBezTo>
                <a:cubicBezTo>
                  <a:pt x="4565" y="949"/>
                  <a:pt x="4662" y="912"/>
                  <a:pt x="4764" y="883"/>
                </a:cubicBezTo>
                <a:cubicBezTo>
                  <a:pt x="4862" y="906"/>
                  <a:pt x="4927" y="922"/>
                  <a:pt x="4959" y="933"/>
                </a:cubicBezTo>
                <a:cubicBezTo>
                  <a:pt x="5028" y="956"/>
                  <a:pt x="5062" y="1014"/>
                  <a:pt x="5062" y="1106"/>
                </a:cubicBezTo>
                <a:cubicBezTo>
                  <a:pt x="5062" y="1187"/>
                  <a:pt x="5010" y="1251"/>
                  <a:pt x="4906" y="1299"/>
                </a:cubicBezTo>
                <a:cubicBezTo>
                  <a:pt x="4819" y="1339"/>
                  <a:pt x="4730" y="1358"/>
                  <a:pt x="4639" y="1358"/>
                </a:cubicBezTo>
                <a:cubicBezTo>
                  <a:pt x="4499" y="1358"/>
                  <a:pt x="4397" y="1337"/>
                  <a:pt x="4336" y="1294"/>
                </a:cubicBezTo>
                <a:cubicBezTo>
                  <a:pt x="4259" y="1331"/>
                  <a:pt x="4221" y="1378"/>
                  <a:pt x="4221" y="1437"/>
                </a:cubicBezTo>
                <a:cubicBezTo>
                  <a:pt x="4221" y="1539"/>
                  <a:pt x="4315" y="1591"/>
                  <a:pt x="4502" y="1591"/>
                </a:cubicBezTo>
                <a:cubicBezTo>
                  <a:pt x="4571" y="1591"/>
                  <a:pt x="4651" y="1586"/>
                  <a:pt x="4743" y="1577"/>
                </a:cubicBezTo>
                <a:cubicBezTo>
                  <a:pt x="4959" y="1555"/>
                  <a:pt x="5095" y="1545"/>
                  <a:pt x="5152" y="1545"/>
                </a:cubicBezTo>
                <a:close/>
                <a:moveTo>
                  <a:pt x="6274" y="315"/>
                </a:moveTo>
                <a:cubicBezTo>
                  <a:pt x="6274" y="353"/>
                  <a:pt x="6261" y="396"/>
                  <a:pt x="6235" y="444"/>
                </a:cubicBezTo>
                <a:cubicBezTo>
                  <a:pt x="6224" y="464"/>
                  <a:pt x="6177" y="529"/>
                  <a:pt x="6094" y="639"/>
                </a:cubicBezTo>
                <a:cubicBezTo>
                  <a:pt x="6133" y="665"/>
                  <a:pt x="6172" y="690"/>
                  <a:pt x="6212" y="715"/>
                </a:cubicBezTo>
                <a:cubicBezTo>
                  <a:pt x="6255" y="750"/>
                  <a:pt x="6274" y="790"/>
                  <a:pt x="6269" y="834"/>
                </a:cubicBezTo>
                <a:lnTo>
                  <a:pt x="6267" y="860"/>
                </a:lnTo>
                <a:cubicBezTo>
                  <a:pt x="6265" y="860"/>
                  <a:pt x="6230" y="849"/>
                  <a:pt x="6161" y="827"/>
                </a:cubicBezTo>
                <a:cubicBezTo>
                  <a:pt x="6117" y="814"/>
                  <a:pt x="6082" y="807"/>
                  <a:pt x="6058" y="807"/>
                </a:cubicBezTo>
                <a:cubicBezTo>
                  <a:pt x="5973" y="807"/>
                  <a:pt x="5852" y="895"/>
                  <a:pt x="5693" y="1072"/>
                </a:cubicBezTo>
                <a:cubicBezTo>
                  <a:pt x="5535" y="1249"/>
                  <a:pt x="5455" y="1381"/>
                  <a:pt x="5455" y="1469"/>
                </a:cubicBezTo>
                <a:cubicBezTo>
                  <a:pt x="5455" y="1544"/>
                  <a:pt x="5523" y="1598"/>
                  <a:pt x="5658" y="1632"/>
                </a:cubicBezTo>
                <a:cubicBezTo>
                  <a:pt x="5744" y="1653"/>
                  <a:pt x="5840" y="1664"/>
                  <a:pt x="5947" y="1664"/>
                </a:cubicBezTo>
                <a:cubicBezTo>
                  <a:pt x="5989" y="1664"/>
                  <a:pt x="6031" y="1661"/>
                  <a:pt x="6074" y="1655"/>
                </a:cubicBezTo>
                <a:cubicBezTo>
                  <a:pt x="6072" y="1663"/>
                  <a:pt x="6079" y="1676"/>
                  <a:pt x="6094" y="1696"/>
                </a:cubicBezTo>
                <a:cubicBezTo>
                  <a:pt x="5998" y="1733"/>
                  <a:pt x="5902" y="1751"/>
                  <a:pt x="5807" y="1751"/>
                </a:cubicBezTo>
                <a:cubicBezTo>
                  <a:pt x="5462" y="1751"/>
                  <a:pt x="5290" y="1667"/>
                  <a:pt x="5290" y="1499"/>
                </a:cubicBezTo>
                <a:cubicBezTo>
                  <a:pt x="5290" y="1399"/>
                  <a:pt x="5377" y="1253"/>
                  <a:pt x="5550" y="1060"/>
                </a:cubicBezTo>
                <a:lnTo>
                  <a:pt x="5747" y="839"/>
                </a:lnTo>
                <a:lnTo>
                  <a:pt x="5667" y="834"/>
                </a:lnTo>
                <a:cubicBezTo>
                  <a:pt x="5633" y="833"/>
                  <a:pt x="5588" y="842"/>
                  <a:pt x="5531" y="862"/>
                </a:cubicBezTo>
                <a:cubicBezTo>
                  <a:pt x="5419" y="902"/>
                  <a:pt x="5354" y="922"/>
                  <a:pt x="5334" y="922"/>
                </a:cubicBezTo>
                <a:cubicBezTo>
                  <a:pt x="5308" y="922"/>
                  <a:pt x="5283" y="914"/>
                  <a:pt x="5261" y="898"/>
                </a:cubicBezTo>
                <a:cubicBezTo>
                  <a:pt x="5239" y="881"/>
                  <a:pt x="5228" y="861"/>
                  <a:pt x="5228" y="837"/>
                </a:cubicBezTo>
                <a:cubicBezTo>
                  <a:pt x="5228" y="777"/>
                  <a:pt x="5296" y="747"/>
                  <a:pt x="5432" y="747"/>
                </a:cubicBezTo>
                <a:cubicBezTo>
                  <a:pt x="5446" y="747"/>
                  <a:pt x="5466" y="748"/>
                  <a:pt x="5492" y="749"/>
                </a:cubicBezTo>
                <a:cubicBezTo>
                  <a:pt x="5518" y="751"/>
                  <a:pt x="5538" y="752"/>
                  <a:pt x="5552" y="752"/>
                </a:cubicBezTo>
                <a:cubicBezTo>
                  <a:pt x="5668" y="752"/>
                  <a:pt x="5765" y="732"/>
                  <a:pt x="5840" y="692"/>
                </a:cubicBezTo>
                <a:cubicBezTo>
                  <a:pt x="5916" y="652"/>
                  <a:pt x="5983" y="583"/>
                  <a:pt x="6042" y="485"/>
                </a:cubicBezTo>
                <a:cubicBezTo>
                  <a:pt x="6061" y="451"/>
                  <a:pt x="6108" y="356"/>
                  <a:pt x="6182" y="200"/>
                </a:cubicBezTo>
                <a:cubicBezTo>
                  <a:pt x="6202" y="200"/>
                  <a:pt x="6222" y="214"/>
                  <a:pt x="6243" y="241"/>
                </a:cubicBezTo>
                <a:cubicBezTo>
                  <a:pt x="6263" y="269"/>
                  <a:pt x="6274" y="293"/>
                  <a:pt x="6274" y="315"/>
                </a:cubicBezTo>
                <a:close/>
                <a:moveTo>
                  <a:pt x="7791" y="986"/>
                </a:moveTo>
                <a:cubicBezTo>
                  <a:pt x="7791" y="1057"/>
                  <a:pt x="7745" y="1179"/>
                  <a:pt x="7654" y="1354"/>
                </a:cubicBezTo>
                <a:cubicBezTo>
                  <a:pt x="7563" y="1528"/>
                  <a:pt x="7517" y="1643"/>
                  <a:pt x="7517" y="1696"/>
                </a:cubicBezTo>
                <a:cubicBezTo>
                  <a:pt x="7517" y="1741"/>
                  <a:pt x="7529" y="1784"/>
                  <a:pt x="7554" y="1825"/>
                </a:cubicBezTo>
                <a:cubicBezTo>
                  <a:pt x="7499" y="1854"/>
                  <a:pt x="7456" y="1869"/>
                  <a:pt x="7425" y="1869"/>
                </a:cubicBezTo>
                <a:cubicBezTo>
                  <a:pt x="7369" y="1869"/>
                  <a:pt x="7340" y="1840"/>
                  <a:pt x="7340" y="1781"/>
                </a:cubicBezTo>
                <a:cubicBezTo>
                  <a:pt x="7340" y="1720"/>
                  <a:pt x="7385" y="1598"/>
                  <a:pt x="7475" y="1415"/>
                </a:cubicBezTo>
                <a:cubicBezTo>
                  <a:pt x="7564" y="1232"/>
                  <a:pt x="7609" y="1105"/>
                  <a:pt x="7609" y="1034"/>
                </a:cubicBezTo>
                <a:cubicBezTo>
                  <a:pt x="7609" y="1025"/>
                  <a:pt x="7608" y="1011"/>
                  <a:pt x="7605" y="991"/>
                </a:cubicBezTo>
                <a:cubicBezTo>
                  <a:pt x="7601" y="971"/>
                  <a:pt x="7600" y="956"/>
                  <a:pt x="7600" y="947"/>
                </a:cubicBezTo>
                <a:cubicBezTo>
                  <a:pt x="7375" y="973"/>
                  <a:pt x="7157" y="1059"/>
                  <a:pt x="6947" y="1204"/>
                </a:cubicBezTo>
                <a:cubicBezTo>
                  <a:pt x="6730" y="1356"/>
                  <a:pt x="6579" y="1533"/>
                  <a:pt x="6494" y="1735"/>
                </a:cubicBezTo>
                <a:cubicBezTo>
                  <a:pt x="6461" y="1723"/>
                  <a:pt x="6410" y="1710"/>
                  <a:pt x="6343" y="1696"/>
                </a:cubicBezTo>
                <a:cubicBezTo>
                  <a:pt x="6350" y="1663"/>
                  <a:pt x="6403" y="1581"/>
                  <a:pt x="6501" y="1450"/>
                </a:cubicBezTo>
                <a:cubicBezTo>
                  <a:pt x="6536" y="1406"/>
                  <a:pt x="6634" y="1278"/>
                  <a:pt x="6793" y="1067"/>
                </a:cubicBezTo>
                <a:cubicBezTo>
                  <a:pt x="6910" y="912"/>
                  <a:pt x="6983" y="808"/>
                  <a:pt x="7014" y="756"/>
                </a:cubicBezTo>
                <a:cubicBezTo>
                  <a:pt x="7023" y="741"/>
                  <a:pt x="7069" y="634"/>
                  <a:pt x="7152" y="437"/>
                </a:cubicBezTo>
                <a:cubicBezTo>
                  <a:pt x="7212" y="296"/>
                  <a:pt x="7267" y="202"/>
                  <a:pt x="7317" y="156"/>
                </a:cubicBezTo>
                <a:cubicBezTo>
                  <a:pt x="7336" y="167"/>
                  <a:pt x="7355" y="179"/>
                  <a:pt x="7375" y="191"/>
                </a:cubicBezTo>
                <a:cubicBezTo>
                  <a:pt x="7395" y="203"/>
                  <a:pt x="7405" y="220"/>
                  <a:pt x="7405" y="241"/>
                </a:cubicBezTo>
                <a:cubicBezTo>
                  <a:pt x="7405" y="264"/>
                  <a:pt x="7275" y="536"/>
                  <a:pt x="7016" y="1057"/>
                </a:cubicBezTo>
                <a:cubicBezTo>
                  <a:pt x="7145" y="1001"/>
                  <a:pt x="7257" y="952"/>
                  <a:pt x="7354" y="912"/>
                </a:cubicBezTo>
                <a:cubicBezTo>
                  <a:pt x="7538" y="836"/>
                  <a:pt x="7642" y="798"/>
                  <a:pt x="7667" y="798"/>
                </a:cubicBezTo>
                <a:cubicBezTo>
                  <a:pt x="7694" y="798"/>
                  <a:pt x="7715" y="804"/>
                  <a:pt x="7729" y="818"/>
                </a:cubicBezTo>
                <a:cubicBezTo>
                  <a:pt x="7770" y="860"/>
                  <a:pt x="7791" y="916"/>
                  <a:pt x="7791" y="986"/>
                </a:cubicBezTo>
                <a:close/>
                <a:moveTo>
                  <a:pt x="8694" y="1103"/>
                </a:moveTo>
                <a:cubicBezTo>
                  <a:pt x="8648" y="1054"/>
                  <a:pt x="8592" y="1030"/>
                  <a:pt x="8526" y="1030"/>
                </a:cubicBezTo>
                <a:cubicBezTo>
                  <a:pt x="8479" y="1030"/>
                  <a:pt x="8436" y="1040"/>
                  <a:pt x="8398" y="1060"/>
                </a:cubicBezTo>
                <a:cubicBezTo>
                  <a:pt x="8396" y="1061"/>
                  <a:pt x="8357" y="1083"/>
                  <a:pt x="8280" y="1124"/>
                </a:cubicBezTo>
                <a:cubicBezTo>
                  <a:pt x="8326" y="1198"/>
                  <a:pt x="8389" y="1234"/>
                  <a:pt x="8469" y="1234"/>
                </a:cubicBezTo>
                <a:cubicBezTo>
                  <a:pt x="8559" y="1234"/>
                  <a:pt x="8634" y="1191"/>
                  <a:pt x="8694" y="1103"/>
                </a:cubicBezTo>
                <a:close/>
                <a:moveTo>
                  <a:pt x="8931" y="1545"/>
                </a:moveTo>
                <a:cubicBezTo>
                  <a:pt x="8885" y="1595"/>
                  <a:pt x="8776" y="1633"/>
                  <a:pt x="8604" y="1660"/>
                </a:cubicBezTo>
                <a:cubicBezTo>
                  <a:pt x="8483" y="1678"/>
                  <a:pt x="8360" y="1687"/>
                  <a:pt x="8234" y="1687"/>
                </a:cubicBezTo>
                <a:cubicBezTo>
                  <a:pt x="7975" y="1687"/>
                  <a:pt x="7846" y="1613"/>
                  <a:pt x="7846" y="1464"/>
                </a:cubicBezTo>
                <a:cubicBezTo>
                  <a:pt x="7846" y="1282"/>
                  <a:pt x="7981" y="1126"/>
                  <a:pt x="8250" y="995"/>
                </a:cubicBezTo>
                <a:cubicBezTo>
                  <a:pt x="8344" y="949"/>
                  <a:pt x="8441" y="912"/>
                  <a:pt x="8542" y="883"/>
                </a:cubicBezTo>
                <a:cubicBezTo>
                  <a:pt x="8640" y="906"/>
                  <a:pt x="8705" y="922"/>
                  <a:pt x="8738" y="933"/>
                </a:cubicBezTo>
                <a:cubicBezTo>
                  <a:pt x="8807" y="956"/>
                  <a:pt x="8841" y="1014"/>
                  <a:pt x="8841" y="1106"/>
                </a:cubicBezTo>
                <a:cubicBezTo>
                  <a:pt x="8841" y="1187"/>
                  <a:pt x="8789" y="1251"/>
                  <a:pt x="8685" y="1299"/>
                </a:cubicBezTo>
                <a:cubicBezTo>
                  <a:pt x="8597" y="1339"/>
                  <a:pt x="8509" y="1358"/>
                  <a:pt x="8418" y="1358"/>
                </a:cubicBezTo>
                <a:cubicBezTo>
                  <a:pt x="8277" y="1358"/>
                  <a:pt x="8176" y="1337"/>
                  <a:pt x="8115" y="1294"/>
                </a:cubicBezTo>
                <a:cubicBezTo>
                  <a:pt x="8038" y="1331"/>
                  <a:pt x="8000" y="1378"/>
                  <a:pt x="8000" y="1437"/>
                </a:cubicBezTo>
                <a:cubicBezTo>
                  <a:pt x="8000" y="1539"/>
                  <a:pt x="8093" y="1591"/>
                  <a:pt x="8280" y="1591"/>
                </a:cubicBezTo>
                <a:cubicBezTo>
                  <a:pt x="8349" y="1591"/>
                  <a:pt x="8430" y="1586"/>
                  <a:pt x="8522" y="1577"/>
                </a:cubicBezTo>
                <a:cubicBezTo>
                  <a:pt x="8738" y="1555"/>
                  <a:pt x="8874" y="1545"/>
                  <a:pt x="8931" y="1545"/>
                </a:cubicBezTo>
                <a:close/>
                <a:moveTo>
                  <a:pt x="9981" y="1170"/>
                </a:moveTo>
                <a:lnTo>
                  <a:pt x="9620" y="1053"/>
                </a:lnTo>
                <a:cubicBezTo>
                  <a:pt x="9531" y="1053"/>
                  <a:pt x="9453" y="1113"/>
                  <a:pt x="9386" y="1234"/>
                </a:cubicBezTo>
                <a:cubicBezTo>
                  <a:pt x="9361" y="1276"/>
                  <a:pt x="9320" y="1373"/>
                  <a:pt x="9263" y="1527"/>
                </a:cubicBezTo>
                <a:cubicBezTo>
                  <a:pt x="9205" y="1681"/>
                  <a:pt x="9113" y="1758"/>
                  <a:pt x="8986" y="1758"/>
                </a:cubicBezTo>
                <a:cubicBezTo>
                  <a:pt x="8994" y="1696"/>
                  <a:pt x="9033" y="1609"/>
                  <a:pt x="9105" y="1499"/>
                </a:cubicBezTo>
                <a:cubicBezTo>
                  <a:pt x="9184" y="1379"/>
                  <a:pt x="9230" y="1291"/>
                  <a:pt x="9246" y="1234"/>
                </a:cubicBezTo>
                <a:cubicBezTo>
                  <a:pt x="9258" y="1187"/>
                  <a:pt x="9266" y="1109"/>
                  <a:pt x="9271" y="1000"/>
                </a:cubicBezTo>
                <a:cubicBezTo>
                  <a:pt x="9272" y="954"/>
                  <a:pt x="9283" y="906"/>
                  <a:pt x="9303" y="857"/>
                </a:cubicBezTo>
                <a:cubicBezTo>
                  <a:pt x="9331" y="788"/>
                  <a:pt x="9362" y="752"/>
                  <a:pt x="9397" y="749"/>
                </a:cubicBezTo>
                <a:lnTo>
                  <a:pt x="9441" y="752"/>
                </a:lnTo>
                <a:lnTo>
                  <a:pt x="9464" y="908"/>
                </a:lnTo>
                <a:cubicBezTo>
                  <a:pt x="9475" y="948"/>
                  <a:pt x="9511" y="968"/>
                  <a:pt x="9572" y="968"/>
                </a:cubicBezTo>
                <a:lnTo>
                  <a:pt x="9650" y="968"/>
                </a:lnTo>
                <a:cubicBezTo>
                  <a:pt x="9664" y="966"/>
                  <a:pt x="9675" y="965"/>
                  <a:pt x="9682" y="965"/>
                </a:cubicBezTo>
                <a:cubicBezTo>
                  <a:pt x="9859" y="962"/>
                  <a:pt x="9958" y="1031"/>
                  <a:pt x="9981" y="1170"/>
                </a:cubicBezTo>
                <a:close/>
                <a:moveTo>
                  <a:pt x="12983" y="1207"/>
                </a:moveTo>
                <a:cubicBezTo>
                  <a:pt x="12983" y="1368"/>
                  <a:pt x="12887" y="1499"/>
                  <a:pt x="12696" y="1602"/>
                </a:cubicBezTo>
                <a:cubicBezTo>
                  <a:pt x="12536" y="1686"/>
                  <a:pt x="12367" y="1728"/>
                  <a:pt x="12188" y="1728"/>
                </a:cubicBezTo>
                <a:cubicBezTo>
                  <a:pt x="12051" y="1728"/>
                  <a:pt x="11944" y="1682"/>
                  <a:pt x="11866" y="1588"/>
                </a:cubicBezTo>
                <a:lnTo>
                  <a:pt x="11866" y="1545"/>
                </a:lnTo>
                <a:lnTo>
                  <a:pt x="11818" y="1526"/>
                </a:lnTo>
                <a:cubicBezTo>
                  <a:pt x="11796" y="1529"/>
                  <a:pt x="11696" y="1570"/>
                  <a:pt x="11516" y="1648"/>
                </a:cubicBezTo>
                <a:cubicBezTo>
                  <a:pt x="11443" y="1680"/>
                  <a:pt x="11379" y="1696"/>
                  <a:pt x="11323" y="1696"/>
                </a:cubicBezTo>
                <a:cubicBezTo>
                  <a:pt x="11164" y="1696"/>
                  <a:pt x="11084" y="1648"/>
                  <a:pt x="11084" y="1551"/>
                </a:cubicBezTo>
                <a:cubicBezTo>
                  <a:pt x="11084" y="1509"/>
                  <a:pt x="11155" y="1394"/>
                  <a:pt x="11297" y="1208"/>
                </a:cubicBezTo>
                <a:cubicBezTo>
                  <a:pt x="11439" y="1022"/>
                  <a:pt x="11526" y="929"/>
                  <a:pt x="11558" y="929"/>
                </a:cubicBezTo>
                <a:cubicBezTo>
                  <a:pt x="11581" y="929"/>
                  <a:pt x="11601" y="939"/>
                  <a:pt x="11618" y="958"/>
                </a:cubicBezTo>
                <a:cubicBezTo>
                  <a:pt x="11634" y="978"/>
                  <a:pt x="11643" y="1000"/>
                  <a:pt x="11643" y="1023"/>
                </a:cubicBezTo>
                <a:cubicBezTo>
                  <a:pt x="11643" y="1078"/>
                  <a:pt x="11562" y="1189"/>
                  <a:pt x="11402" y="1356"/>
                </a:cubicBezTo>
                <a:cubicBezTo>
                  <a:pt x="11314" y="1447"/>
                  <a:pt x="11260" y="1509"/>
                  <a:pt x="11238" y="1545"/>
                </a:cubicBezTo>
                <a:cubicBezTo>
                  <a:pt x="11294" y="1577"/>
                  <a:pt x="11333" y="1593"/>
                  <a:pt x="11358" y="1593"/>
                </a:cubicBezTo>
                <a:cubicBezTo>
                  <a:pt x="11505" y="1593"/>
                  <a:pt x="11631" y="1547"/>
                  <a:pt x="11735" y="1455"/>
                </a:cubicBezTo>
                <a:cubicBezTo>
                  <a:pt x="11808" y="1391"/>
                  <a:pt x="11889" y="1280"/>
                  <a:pt x="11976" y="1124"/>
                </a:cubicBezTo>
                <a:cubicBezTo>
                  <a:pt x="11982" y="1132"/>
                  <a:pt x="11988" y="1139"/>
                  <a:pt x="11995" y="1145"/>
                </a:cubicBezTo>
                <a:cubicBezTo>
                  <a:pt x="11996" y="1146"/>
                  <a:pt x="12004" y="1147"/>
                  <a:pt x="12018" y="1147"/>
                </a:cubicBezTo>
                <a:cubicBezTo>
                  <a:pt x="12039" y="1165"/>
                  <a:pt x="12051" y="1177"/>
                  <a:pt x="12054" y="1181"/>
                </a:cubicBezTo>
                <a:cubicBezTo>
                  <a:pt x="12062" y="1192"/>
                  <a:pt x="12066" y="1208"/>
                  <a:pt x="12066" y="1227"/>
                </a:cubicBezTo>
                <a:cubicBezTo>
                  <a:pt x="12066" y="1257"/>
                  <a:pt x="12055" y="1299"/>
                  <a:pt x="12034" y="1355"/>
                </a:cubicBezTo>
                <a:cubicBezTo>
                  <a:pt x="12012" y="1411"/>
                  <a:pt x="12001" y="1453"/>
                  <a:pt x="12001" y="1480"/>
                </a:cubicBezTo>
                <a:cubicBezTo>
                  <a:pt x="12001" y="1526"/>
                  <a:pt x="12029" y="1562"/>
                  <a:pt x="12084" y="1588"/>
                </a:cubicBezTo>
                <a:cubicBezTo>
                  <a:pt x="12127" y="1608"/>
                  <a:pt x="12175" y="1618"/>
                  <a:pt x="12227" y="1618"/>
                </a:cubicBezTo>
                <a:cubicBezTo>
                  <a:pt x="12406" y="1618"/>
                  <a:pt x="12556" y="1574"/>
                  <a:pt x="12677" y="1487"/>
                </a:cubicBezTo>
                <a:cubicBezTo>
                  <a:pt x="12815" y="1389"/>
                  <a:pt x="12884" y="1254"/>
                  <a:pt x="12884" y="1083"/>
                </a:cubicBezTo>
                <a:cubicBezTo>
                  <a:pt x="12884" y="1038"/>
                  <a:pt x="12878" y="1004"/>
                  <a:pt x="12866" y="981"/>
                </a:cubicBezTo>
                <a:cubicBezTo>
                  <a:pt x="12856" y="965"/>
                  <a:pt x="12833" y="939"/>
                  <a:pt x="12797" y="906"/>
                </a:cubicBezTo>
                <a:cubicBezTo>
                  <a:pt x="12769" y="906"/>
                  <a:pt x="12740" y="890"/>
                  <a:pt x="12709" y="860"/>
                </a:cubicBezTo>
                <a:lnTo>
                  <a:pt x="12742" y="823"/>
                </a:lnTo>
                <a:cubicBezTo>
                  <a:pt x="12820" y="823"/>
                  <a:pt x="12882" y="869"/>
                  <a:pt x="12928" y="961"/>
                </a:cubicBezTo>
                <a:cubicBezTo>
                  <a:pt x="12965" y="1034"/>
                  <a:pt x="12983" y="1116"/>
                  <a:pt x="12983" y="1207"/>
                </a:cubicBezTo>
                <a:close/>
                <a:moveTo>
                  <a:pt x="13636" y="402"/>
                </a:moveTo>
                <a:cubicBezTo>
                  <a:pt x="13636" y="457"/>
                  <a:pt x="13599" y="485"/>
                  <a:pt x="13525" y="485"/>
                </a:cubicBezTo>
                <a:cubicBezTo>
                  <a:pt x="13458" y="485"/>
                  <a:pt x="13424" y="457"/>
                  <a:pt x="13424" y="402"/>
                </a:cubicBezTo>
                <a:cubicBezTo>
                  <a:pt x="13424" y="375"/>
                  <a:pt x="13433" y="336"/>
                  <a:pt x="13451" y="287"/>
                </a:cubicBezTo>
                <a:cubicBezTo>
                  <a:pt x="13468" y="238"/>
                  <a:pt x="13478" y="202"/>
                  <a:pt x="13479" y="177"/>
                </a:cubicBezTo>
                <a:cubicBezTo>
                  <a:pt x="13495" y="186"/>
                  <a:pt x="13524" y="230"/>
                  <a:pt x="13567" y="308"/>
                </a:cubicBezTo>
                <a:cubicBezTo>
                  <a:pt x="13570" y="313"/>
                  <a:pt x="13584" y="326"/>
                  <a:pt x="13608" y="349"/>
                </a:cubicBezTo>
                <a:cubicBezTo>
                  <a:pt x="13626" y="366"/>
                  <a:pt x="13636" y="384"/>
                  <a:pt x="13636" y="402"/>
                </a:cubicBezTo>
                <a:close/>
                <a:moveTo>
                  <a:pt x="13420" y="1034"/>
                </a:moveTo>
                <a:cubicBezTo>
                  <a:pt x="13420" y="1059"/>
                  <a:pt x="13377" y="1181"/>
                  <a:pt x="13291" y="1400"/>
                </a:cubicBezTo>
                <a:cubicBezTo>
                  <a:pt x="13280" y="1427"/>
                  <a:pt x="13264" y="1468"/>
                  <a:pt x="13243" y="1522"/>
                </a:cubicBezTo>
                <a:cubicBezTo>
                  <a:pt x="13224" y="1563"/>
                  <a:pt x="13200" y="1589"/>
                  <a:pt x="13171" y="1600"/>
                </a:cubicBezTo>
                <a:cubicBezTo>
                  <a:pt x="13154" y="1606"/>
                  <a:pt x="13120" y="1609"/>
                  <a:pt x="13068" y="1609"/>
                </a:cubicBezTo>
                <a:cubicBezTo>
                  <a:pt x="13068" y="1598"/>
                  <a:pt x="13066" y="1583"/>
                  <a:pt x="13062" y="1563"/>
                </a:cubicBezTo>
                <a:cubicBezTo>
                  <a:pt x="13058" y="1543"/>
                  <a:pt x="13056" y="1528"/>
                  <a:pt x="13056" y="1517"/>
                </a:cubicBezTo>
                <a:cubicBezTo>
                  <a:pt x="13056" y="1483"/>
                  <a:pt x="13069" y="1446"/>
                  <a:pt x="13095" y="1404"/>
                </a:cubicBezTo>
                <a:cubicBezTo>
                  <a:pt x="13131" y="1348"/>
                  <a:pt x="13151" y="1313"/>
                  <a:pt x="13155" y="1301"/>
                </a:cubicBezTo>
                <a:cubicBezTo>
                  <a:pt x="13168" y="1263"/>
                  <a:pt x="13191" y="1195"/>
                  <a:pt x="13227" y="1099"/>
                </a:cubicBezTo>
                <a:cubicBezTo>
                  <a:pt x="13253" y="1031"/>
                  <a:pt x="13294" y="975"/>
                  <a:pt x="13351" y="929"/>
                </a:cubicBezTo>
                <a:cubicBezTo>
                  <a:pt x="13397" y="975"/>
                  <a:pt x="13420" y="1010"/>
                  <a:pt x="13420" y="1034"/>
                </a:cubicBezTo>
                <a:close/>
                <a:moveTo>
                  <a:pt x="14732" y="315"/>
                </a:moveTo>
                <a:cubicBezTo>
                  <a:pt x="14732" y="353"/>
                  <a:pt x="14719" y="396"/>
                  <a:pt x="14693" y="444"/>
                </a:cubicBezTo>
                <a:cubicBezTo>
                  <a:pt x="14682" y="464"/>
                  <a:pt x="14635" y="529"/>
                  <a:pt x="14553" y="639"/>
                </a:cubicBezTo>
                <a:cubicBezTo>
                  <a:pt x="14591" y="665"/>
                  <a:pt x="14630" y="690"/>
                  <a:pt x="14670" y="715"/>
                </a:cubicBezTo>
                <a:cubicBezTo>
                  <a:pt x="14713" y="750"/>
                  <a:pt x="14732" y="790"/>
                  <a:pt x="14727" y="834"/>
                </a:cubicBezTo>
                <a:lnTo>
                  <a:pt x="14725" y="860"/>
                </a:lnTo>
                <a:cubicBezTo>
                  <a:pt x="14724" y="860"/>
                  <a:pt x="14688" y="849"/>
                  <a:pt x="14619" y="827"/>
                </a:cubicBezTo>
                <a:cubicBezTo>
                  <a:pt x="14575" y="814"/>
                  <a:pt x="14540" y="807"/>
                  <a:pt x="14516" y="807"/>
                </a:cubicBezTo>
                <a:cubicBezTo>
                  <a:pt x="14432" y="807"/>
                  <a:pt x="14310" y="895"/>
                  <a:pt x="14152" y="1072"/>
                </a:cubicBezTo>
                <a:cubicBezTo>
                  <a:pt x="13993" y="1249"/>
                  <a:pt x="13914" y="1381"/>
                  <a:pt x="13914" y="1469"/>
                </a:cubicBezTo>
                <a:cubicBezTo>
                  <a:pt x="13914" y="1544"/>
                  <a:pt x="13981" y="1598"/>
                  <a:pt x="14116" y="1632"/>
                </a:cubicBezTo>
                <a:cubicBezTo>
                  <a:pt x="14202" y="1653"/>
                  <a:pt x="14298" y="1664"/>
                  <a:pt x="14406" y="1664"/>
                </a:cubicBezTo>
                <a:cubicBezTo>
                  <a:pt x="14447" y="1664"/>
                  <a:pt x="14489" y="1661"/>
                  <a:pt x="14532" y="1655"/>
                </a:cubicBezTo>
                <a:cubicBezTo>
                  <a:pt x="14530" y="1663"/>
                  <a:pt x="14537" y="1676"/>
                  <a:pt x="14553" y="1696"/>
                </a:cubicBezTo>
                <a:cubicBezTo>
                  <a:pt x="14456" y="1733"/>
                  <a:pt x="14360" y="1751"/>
                  <a:pt x="14265" y="1751"/>
                </a:cubicBezTo>
                <a:cubicBezTo>
                  <a:pt x="13921" y="1751"/>
                  <a:pt x="13748" y="1667"/>
                  <a:pt x="13748" y="1499"/>
                </a:cubicBezTo>
                <a:cubicBezTo>
                  <a:pt x="13748" y="1399"/>
                  <a:pt x="13835" y="1253"/>
                  <a:pt x="14008" y="1060"/>
                </a:cubicBezTo>
                <a:lnTo>
                  <a:pt x="14206" y="839"/>
                </a:lnTo>
                <a:lnTo>
                  <a:pt x="14125" y="834"/>
                </a:lnTo>
                <a:cubicBezTo>
                  <a:pt x="14091" y="833"/>
                  <a:pt x="14046" y="842"/>
                  <a:pt x="13990" y="862"/>
                </a:cubicBezTo>
                <a:cubicBezTo>
                  <a:pt x="13878" y="902"/>
                  <a:pt x="13812" y="922"/>
                  <a:pt x="13792" y="922"/>
                </a:cubicBezTo>
                <a:cubicBezTo>
                  <a:pt x="13766" y="922"/>
                  <a:pt x="13742" y="914"/>
                  <a:pt x="13719" y="898"/>
                </a:cubicBezTo>
                <a:cubicBezTo>
                  <a:pt x="13697" y="881"/>
                  <a:pt x="13686" y="861"/>
                  <a:pt x="13686" y="837"/>
                </a:cubicBezTo>
                <a:cubicBezTo>
                  <a:pt x="13686" y="777"/>
                  <a:pt x="13754" y="747"/>
                  <a:pt x="13891" y="747"/>
                </a:cubicBezTo>
                <a:cubicBezTo>
                  <a:pt x="13905" y="747"/>
                  <a:pt x="13924" y="748"/>
                  <a:pt x="13950" y="749"/>
                </a:cubicBezTo>
                <a:cubicBezTo>
                  <a:pt x="13977" y="751"/>
                  <a:pt x="13996" y="752"/>
                  <a:pt x="14010" y="752"/>
                </a:cubicBezTo>
                <a:cubicBezTo>
                  <a:pt x="14127" y="752"/>
                  <a:pt x="14223" y="732"/>
                  <a:pt x="14299" y="692"/>
                </a:cubicBezTo>
                <a:cubicBezTo>
                  <a:pt x="14375" y="652"/>
                  <a:pt x="14442" y="583"/>
                  <a:pt x="14500" y="485"/>
                </a:cubicBezTo>
                <a:cubicBezTo>
                  <a:pt x="14520" y="451"/>
                  <a:pt x="14566" y="356"/>
                  <a:pt x="14640" y="200"/>
                </a:cubicBezTo>
                <a:cubicBezTo>
                  <a:pt x="14660" y="200"/>
                  <a:pt x="14680" y="214"/>
                  <a:pt x="14701" y="241"/>
                </a:cubicBezTo>
                <a:cubicBezTo>
                  <a:pt x="14722" y="269"/>
                  <a:pt x="14732" y="293"/>
                  <a:pt x="14732" y="315"/>
                </a:cubicBezTo>
                <a:close/>
                <a:moveTo>
                  <a:pt x="16249" y="986"/>
                </a:moveTo>
                <a:cubicBezTo>
                  <a:pt x="16249" y="1057"/>
                  <a:pt x="16203" y="1179"/>
                  <a:pt x="16112" y="1354"/>
                </a:cubicBezTo>
                <a:cubicBezTo>
                  <a:pt x="16021" y="1528"/>
                  <a:pt x="15975" y="1643"/>
                  <a:pt x="15975" y="1696"/>
                </a:cubicBezTo>
                <a:cubicBezTo>
                  <a:pt x="15975" y="1741"/>
                  <a:pt x="15988" y="1784"/>
                  <a:pt x="16012" y="1825"/>
                </a:cubicBezTo>
                <a:cubicBezTo>
                  <a:pt x="15957" y="1854"/>
                  <a:pt x="15914" y="1869"/>
                  <a:pt x="15883" y="1869"/>
                </a:cubicBezTo>
                <a:cubicBezTo>
                  <a:pt x="15827" y="1869"/>
                  <a:pt x="15798" y="1840"/>
                  <a:pt x="15798" y="1781"/>
                </a:cubicBezTo>
                <a:cubicBezTo>
                  <a:pt x="15798" y="1720"/>
                  <a:pt x="15843" y="1598"/>
                  <a:pt x="15933" y="1415"/>
                </a:cubicBezTo>
                <a:cubicBezTo>
                  <a:pt x="16023" y="1232"/>
                  <a:pt x="16067" y="1105"/>
                  <a:pt x="16067" y="1034"/>
                </a:cubicBezTo>
                <a:cubicBezTo>
                  <a:pt x="16067" y="1025"/>
                  <a:pt x="16066" y="1011"/>
                  <a:pt x="16063" y="991"/>
                </a:cubicBezTo>
                <a:cubicBezTo>
                  <a:pt x="16060" y="971"/>
                  <a:pt x="16058" y="956"/>
                  <a:pt x="16058" y="947"/>
                </a:cubicBezTo>
                <a:cubicBezTo>
                  <a:pt x="15833" y="973"/>
                  <a:pt x="15615" y="1059"/>
                  <a:pt x="15405" y="1204"/>
                </a:cubicBezTo>
                <a:cubicBezTo>
                  <a:pt x="15188" y="1356"/>
                  <a:pt x="15037" y="1533"/>
                  <a:pt x="14953" y="1735"/>
                </a:cubicBezTo>
                <a:cubicBezTo>
                  <a:pt x="14919" y="1723"/>
                  <a:pt x="14868" y="1710"/>
                  <a:pt x="14801" y="1696"/>
                </a:cubicBezTo>
                <a:cubicBezTo>
                  <a:pt x="14809" y="1663"/>
                  <a:pt x="14861" y="1581"/>
                  <a:pt x="14959" y="1450"/>
                </a:cubicBezTo>
                <a:cubicBezTo>
                  <a:pt x="14995" y="1406"/>
                  <a:pt x="15092" y="1278"/>
                  <a:pt x="15251" y="1067"/>
                </a:cubicBezTo>
                <a:cubicBezTo>
                  <a:pt x="15368" y="912"/>
                  <a:pt x="15441" y="808"/>
                  <a:pt x="15472" y="756"/>
                </a:cubicBezTo>
                <a:cubicBezTo>
                  <a:pt x="15481" y="741"/>
                  <a:pt x="15527" y="634"/>
                  <a:pt x="15610" y="437"/>
                </a:cubicBezTo>
                <a:cubicBezTo>
                  <a:pt x="15670" y="296"/>
                  <a:pt x="15725" y="202"/>
                  <a:pt x="15775" y="156"/>
                </a:cubicBezTo>
                <a:cubicBezTo>
                  <a:pt x="15794" y="167"/>
                  <a:pt x="15813" y="179"/>
                  <a:pt x="15833" y="191"/>
                </a:cubicBezTo>
                <a:cubicBezTo>
                  <a:pt x="15853" y="203"/>
                  <a:pt x="15863" y="220"/>
                  <a:pt x="15863" y="241"/>
                </a:cubicBezTo>
                <a:cubicBezTo>
                  <a:pt x="15863" y="264"/>
                  <a:pt x="15733" y="536"/>
                  <a:pt x="15474" y="1057"/>
                </a:cubicBezTo>
                <a:cubicBezTo>
                  <a:pt x="15603" y="1001"/>
                  <a:pt x="15716" y="952"/>
                  <a:pt x="15812" y="912"/>
                </a:cubicBezTo>
                <a:cubicBezTo>
                  <a:pt x="15996" y="836"/>
                  <a:pt x="16100" y="798"/>
                  <a:pt x="16125" y="798"/>
                </a:cubicBezTo>
                <a:cubicBezTo>
                  <a:pt x="16152" y="798"/>
                  <a:pt x="16173" y="804"/>
                  <a:pt x="16187" y="818"/>
                </a:cubicBezTo>
                <a:cubicBezTo>
                  <a:pt x="16228" y="860"/>
                  <a:pt x="16249" y="916"/>
                  <a:pt x="16249" y="986"/>
                </a:cubicBezTo>
                <a:close/>
                <a:moveTo>
                  <a:pt x="18851" y="536"/>
                </a:moveTo>
                <a:cubicBezTo>
                  <a:pt x="18851" y="465"/>
                  <a:pt x="18826" y="411"/>
                  <a:pt x="18777" y="372"/>
                </a:cubicBezTo>
                <a:cubicBezTo>
                  <a:pt x="18734" y="339"/>
                  <a:pt x="18676" y="322"/>
                  <a:pt x="18603" y="322"/>
                </a:cubicBezTo>
                <a:cubicBezTo>
                  <a:pt x="18541" y="322"/>
                  <a:pt x="18481" y="333"/>
                  <a:pt x="18423" y="356"/>
                </a:cubicBezTo>
                <a:cubicBezTo>
                  <a:pt x="18356" y="384"/>
                  <a:pt x="18310" y="421"/>
                  <a:pt x="18285" y="467"/>
                </a:cubicBezTo>
                <a:cubicBezTo>
                  <a:pt x="18264" y="519"/>
                  <a:pt x="18242" y="570"/>
                  <a:pt x="18221" y="621"/>
                </a:cubicBezTo>
                <a:lnTo>
                  <a:pt x="18044" y="864"/>
                </a:lnTo>
                <a:cubicBezTo>
                  <a:pt x="17980" y="958"/>
                  <a:pt x="17931" y="1045"/>
                  <a:pt x="17897" y="1126"/>
                </a:cubicBezTo>
                <a:lnTo>
                  <a:pt x="17918" y="1149"/>
                </a:lnTo>
                <a:lnTo>
                  <a:pt x="17938" y="1149"/>
                </a:lnTo>
                <a:cubicBezTo>
                  <a:pt x="18076" y="1149"/>
                  <a:pt x="18258" y="1082"/>
                  <a:pt x="18483" y="947"/>
                </a:cubicBezTo>
                <a:cubicBezTo>
                  <a:pt x="18728" y="800"/>
                  <a:pt x="18851" y="663"/>
                  <a:pt x="18851" y="536"/>
                </a:cubicBezTo>
                <a:close/>
                <a:moveTo>
                  <a:pt x="18968" y="501"/>
                </a:moveTo>
                <a:cubicBezTo>
                  <a:pt x="18968" y="780"/>
                  <a:pt x="18756" y="995"/>
                  <a:pt x="18331" y="1147"/>
                </a:cubicBezTo>
                <a:cubicBezTo>
                  <a:pt x="18245" y="1178"/>
                  <a:pt x="18094" y="1222"/>
                  <a:pt x="17876" y="1280"/>
                </a:cubicBezTo>
                <a:cubicBezTo>
                  <a:pt x="17813" y="1297"/>
                  <a:pt x="17761" y="1338"/>
                  <a:pt x="17718" y="1402"/>
                </a:cubicBezTo>
                <a:cubicBezTo>
                  <a:pt x="17708" y="1416"/>
                  <a:pt x="17679" y="1474"/>
                  <a:pt x="17628" y="1577"/>
                </a:cubicBezTo>
                <a:cubicBezTo>
                  <a:pt x="17597" y="1640"/>
                  <a:pt x="17564" y="1678"/>
                  <a:pt x="17529" y="1692"/>
                </a:cubicBezTo>
                <a:cubicBezTo>
                  <a:pt x="17482" y="1670"/>
                  <a:pt x="17458" y="1640"/>
                  <a:pt x="17458" y="1602"/>
                </a:cubicBezTo>
                <a:cubicBezTo>
                  <a:pt x="17458" y="1568"/>
                  <a:pt x="17482" y="1521"/>
                  <a:pt x="17531" y="1460"/>
                </a:cubicBezTo>
                <a:cubicBezTo>
                  <a:pt x="17551" y="1435"/>
                  <a:pt x="17587" y="1390"/>
                  <a:pt x="17637" y="1324"/>
                </a:cubicBezTo>
                <a:cubicBezTo>
                  <a:pt x="17649" y="1307"/>
                  <a:pt x="17665" y="1246"/>
                  <a:pt x="17683" y="1140"/>
                </a:cubicBezTo>
                <a:cubicBezTo>
                  <a:pt x="17691" y="1094"/>
                  <a:pt x="17705" y="1060"/>
                  <a:pt x="17725" y="1037"/>
                </a:cubicBezTo>
                <a:lnTo>
                  <a:pt x="17789" y="1080"/>
                </a:lnTo>
                <a:cubicBezTo>
                  <a:pt x="17914" y="901"/>
                  <a:pt x="17982" y="805"/>
                  <a:pt x="17991" y="793"/>
                </a:cubicBezTo>
                <a:cubicBezTo>
                  <a:pt x="18075" y="660"/>
                  <a:pt x="18118" y="557"/>
                  <a:pt x="18118" y="485"/>
                </a:cubicBezTo>
                <a:cubicBezTo>
                  <a:pt x="18026" y="534"/>
                  <a:pt x="17945" y="564"/>
                  <a:pt x="17876" y="575"/>
                </a:cubicBezTo>
                <a:lnTo>
                  <a:pt x="17876" y="552"/>
                </a:lnTo>
                <a:lnTo>
                  <a:pt x="17856" y="529"/>
                </a:lnTo>
                <a:lnTo>
                  <a:pt x="17876" y="444"/>
                </a:lnTo>
                <a:cubicBezTo>
                  <a:pt x="17945" y="390"/>
                  <a:pt x="18070" y="336"/>
                  <a:pt x="18251" y="280"/>
                </a:cubicBezTo>
                <a:cubicBezTo>
                  <a:pt x="18427" y="227"/>
                  <a:pt x="18563" y="200"/>
                  <a:pt x="18658" y="200"/>
                </a:cubicBezTo>
                <a:cubicBezTo>
                  <a:pt x="18754" y="200"/>
                  <a:pt x="18830" y="226"/>
                  <a:pt x="18885" y="278"/>
                </a:cubicBezTo>
                <a:cubicBezTo>
                  <a:pt x="18940" y="330"/>
                  <a:pt x="18968" y="405"/>
                  <a:pt x="18968" y="501"/>
                </a:cubicBezTo>
                <a:close/>
                <a:moveTo>
                  <a:pt x="19984" y="1761"/>
                </a:moveTo>
                <a:lnTo>
                  <a:pt x="19984" y="1754"/>
                </a:lnTo>
                <a:lnTo>
                  <a:pt x="19989" y="1754"/>
                </a:lnTo>
                <a:lnTo>
                  <a:pt x="19989" y="1747"/>
                </a:lnTo>
                <a:lnTo>
                  <a:pt x="19984" y="1747"/>
                </a:lnTo>
                <a:lnTo>
                  <a:pt x="19984" y="1733"/>
                </a:lnTo>
                <a:lnTo>
                  <a:pt x="19993" y="1733"/>
                </a:lnTo>
                <a:lnTo>
                  <a:pt x="19993" y="1738"/>
                </a:lnTo>
                <a:lnTo>
                  <a:pt x="19989" y="1738"/>
                </a:lnTo>
                <a:lnTo>
                  <a:pt x="19989" y="1742"/>
                </a:lnTo>
                <a:lnTo>
                  <a:pt x="19993" y="1742"/>
                </a:lnTo>
                <a:lnTo>
                  <a:pt x="19993" y="1761"/>
                </a:lnTo>
                <a:lnTo>
                  <a:pt x="19984" y="1761"/>
                </a:lnTo>
                <a:close/>
                <a:moveTo>
                  <a:pt x="19908" y="938"/>
                </a:moveTo>
                <a:cubicBezTo>
                  <a:pt x="19908" y="883"/>
                  <a:pt x="19861" y="855"/>
                  <a:pt x="19766" y="855"/>
                </a:cubicBezTo>
                <a:cubicBezTo>
                  <a:pt x="19626" y="855"/>
                  <a:pt x="19510" y="886"/>
                  <a:pt x="19418" y="949"/>
                </a:cubicBezTo>
                <a:cubicBezTo>
                  <a:pt x="19333" y="1008"/>
                  <a:pt x="19244" y="1086"/>
                  <a:pt x="19152" y="1184"/>
                </a:cubicBezTo>
                <a:cubicBezTo>
                  <a:pt x="19035" y="1308"/>
                  <a:pt x="18977" y="1406"/>
                  <a:pt x="18977" y="1478"/>
                </a:cubicBezTo>
                <a:cubicBezTo>
                  <a:pt x="18977" y="1521"/>
                  <a:pt x="18996" y="1554"/>
                  <a:pt x="19032" y="1577"/>
                </a:cubicBezTo>
                <a:cubicBezTo>
                  <a:pt x="19065" y="1597"/>
                  <a:pt x="19104" y="1607"/>
                  <a:pt x="19150" y="1607"/>
                </a:cubicBezTo>
                <a:cubicBezTo>
                  <a:pt x="19283" y="1607"/>
                  <a:pt x="19397" y="1560"/>
                  <a:pt x="19492" y="1466"/>
                </a:cubicBezTo>
                <a:cubicBezTo>
                  <a:pt x="19515" y="1443"/>
                  <a:pt x="19580" y="1355"/>
                  <a:pt x="19687" y="1202"/>
                </a:cubicBezTo>
                <a:cubicBezTo>
                  <a:pt x="19753" y="1107"/>
                  <a:pt x="19817" y="1060"/>
                  <a:pt x="19878" y="1060"/>
                </a:cubicBezTo>
                <a:cubicBezTo>
                  <a:pt x="19898" y="1017"/>
                  <a:pt x="19908" y="976"/>
                  <a:pt x="19908" y="938"/>
                </a:cubicBezTo>
                <a:close/>
                <a:moveTo>
                  <a:pt x="19991" y="1715"/>
                </a:moveTo>
                <a:cubicBezTo>
                  <a:pt x="19957" y="1788"/>
                  <a:pt x="19917" y="1825"/>
                  <a:pt x="19871" y="1825"/>
                </a:cubicBezTo>
                <a:cubicBezTo>
                  <a:pt x="19819" y="1825"/>
                  <a:pt x="19762" y="1787"/>
                  <a:pt x="19699" y="1710"/>
                </a:cubicBezTo>
                <a:cubicBezTo>
                  <a:pt x="19650" y="1652"/>
                  <a:pt x="19610" y="1589"/>
                  <a:pt x="19579" y="1522"/>
                </a:cubicBezTo>
                <a:cubicBezTo>
                  <a:pt x="19451" y="1583"/>
                  <a:pt x="19363" y="1623"/>
                  <a:pt x="19317" y="1641"/>
                </a:cubicBezTo>
                <a:cubicBezTo>
                  <a:pt x="19204" y="1686"/>
                  <a:pt x="19113" y="1708"/>
                  <a:pt x="19044" y="1708"/>
                </a:cubicBezTo>
                <a:cubicBezTo>
                  <a:pt x="18923" y="1708"/>
                  <a:pt x="18862" y="1647"/>
                  <a:pt x="18862" y="1524"/>
                </a:cubicBezTo>
                <a:cubicBezTo>
                  <a:pt x="18862" y="1326"/>
                  <a:pt x="18970" y="1150"/>
                  <a:pt x="19184" y="995"/>
                </a:cubicBezTo>
                <a:cubicBezTo>
                  <a:pt x="19255" y="945"/>
                  <a:pt x="19350" y="890"/>
                  <a:pt x="19469" y="832"/>
                </a:cubicBezTo>
                <a:cubicBezTo>
                  <a:pt x="19612" y="763"/>
                  <a:pt x="19713" y="729"/>
                  <a:pt x="19772" y="729"/>
                </a:cubicBezTo>
                <a:cubicBezTo>
                  <a:pt x="19814" y="729"/>
                  <a:pt x="19853" y="751"/>
                  <a:pt x="19890" y="795"/>
                </a:cubicBezTo>
                <a:cubicBezTo>
                  <a:pt x="19926" y="840"/>
                  <a:pt x="19945" y="883"/>
                  <a:pt x="19945" y="926"/>
                </a:cubicBezTo>
                <a:cubicBezTo>
                  <a:pt x="19945" y="1011"/>
                  <a:pt x="19912" y="1121"/>
                  <a:pt x="19845" y="1258"/>
                </a:cubicBezTo>
                <a:cubicBezTo>
                  <a:pt x="19778" y="1396"/>
                  <a:pt x="19745" y="1475"/>
                  <a:pt x="19745" y="1496"/>
                </a:cubicBezTo>
                <a:cubicBezTo>
                  <a:pt x="19745" y="1570"/>
                  <a:pt x="19756" y="1620"/>
                  <a:pt x="19779" y="1648"/>
                </a:cubicBezTo>
                <a:cubicBezTo>
                  <a:pt x="19798" y="1671"/>
                  <a:pt x="19868" y="1693"/>
                  <a:pt x="19991" y="1715"/>
                </a:cubicBezTo>
                <a:close/>
                <a:moveTo>
                  <a:pt x="21358" y="595"/>
                </a:moveTo>
                <a:cubicBezTo>
                  <a:pt x="21345" y="667"/>
                  <a:pt x="21287" y="718"/>
                  <a:pt x="21186" y="747"/>
                </a:cubicBezTo>
                <a:cubicBezTo>
                  <a:pt x="21126" y="762"/>
                  <a:pt x="21020" y="789"/>
                  <a:pt x="20867" y="827"/>
                </a:cubicBezTo>
                <a:cubicBezTo>
                  <a:pt x="20735" y="861"/>
                  <a:pt x="20639" y="909"/>
                  <a:pt x="20579" y="970"/>
                </a:cubicBezTo>
                <a:cubicBezTo>
                  <a:pt x="20772" y="1017"/>
                  <a:pt x="20893" y="1050"/>
                  <a:pt x="20940" y="1069"/>
                </a:cubicBezTo>
                <a:cubicBezTo>
                  <a:pt x="21109" y="1132"/>
                  <a:pt x="21193" y="1204"/>
                  <a:pt x="21193" y="1287"/>
                </a:cubicBezTo>
                <a:cubicBezTo>
                  <a:pt x="21193" y="1407"/>
                  <a:pt x="21093" y="1519"/>
                  <a:pt x="20892" y="1623"/>
                </a:cubicBezTo>
                <a:cubicBezTo>
                  <a:pt x="20714" y="1713"/>
                  <a:pt x="20559" y="1758"/>
                  <a:pt x="20428" y="1758"/>
                </a:cubicBezTo>
                <a:cubicBezTo>
                  <a:pt x="20319" y="1758"/>
                  <a:pt x="20219" y="1716"/>
                  <a:pt x="20129" y="1632"/>
                </a:cubicBezTo>
                <a:cubicBezTo>
                  <a:pt x="20031" y="1540"/>
                  <a:pt x="19985" y="1442"/>
                  <a:pt x="19993" y="1338"/>
                </a:cubicBezTo>
                <a:lnTo>
                  <a:pt x="19995" y="1303"/>
                </a:lnTo>
                <a:cubicBezTo>
                  <a:pt x="20038" y="1319"/>
                  <a:pt x="20100" y="1383"/>
                  <a:pt x="20182" y="1496"/>
                </a:cubicBezTo>
                <a:cubicBezTo>
                  <a:pt x="20258" y="1602"/>
                  <a:pt x="20326" y="1655"/>
                  <a:pt x="20384" y="1655"/>
                </a:cubicBezTo>
                <a:cubicBezTo>
                  <a:pt x="20483" y="1655"/>
                  <a:pt x="20612" y="1621"/>
                  <a:pt x="20770" y="1554"/>
                </a:cubicBezTo>
                <a:cubicBezTo>
                  <a:pt x="20952" y="1476"/>
                  <a:pt x="21043" y="1394"/>
                  <a:pt x="21043" y="1310"/>
                </a:cubicBezTo>
                <a:cubicBezTo>
                  <a:pt x="21044" y="1250"/>
                  <a:pt x="20990" y="1204"/>
                  <a:pt x="20883" y="1172"/>
                </a:cubicBezTo>
                <a:cubicBezTo>
                  <a:pt x="20878" y="1172"/>
                  <a:pt x="20764" y="1143"/>
                  <a:pt x="20540" y="1085"/>
                </a:cubicBezTo>
                <a:cubicBezTo>
                  <a:pt x="20416" y="1053"/>
                  <a:pt x="20335" y="1015"/>
                  <a:pt x="20297" y="972"/>
                </a:cubicBezTo>
                <a:cubicBezTo>
                  <a:pt x="20342" y="922"/>
                  <a:pt x="20434" y="868"/>
                  <a:pt x="20570" y="811"/>
                </a:cubicBezTo>
                <a:cubicBezTo>
                  <a:pt x="20657" y="775"/>
                  <a:pt x="20788" y="730"/>
                  <a:pt x="20961" y="678"/>
                </a:cubicBezTo>
                <a:cubicBezTo>
                  <a:pt x="21148" y="621"/>
                  <a:pt x="21258" y="587"/>
                  <a:pt x="21292" y="575"/>
                </a:cubicBezTo>
                <a:cubicBezTo>
                  <a:pt x="21312" y="585"/>
                  <a:pt x="21334" y="592"/>
                  <a:pt x="21358" y="595"/>
                </a:cubicBezTo>
                <a:close/>
                <a:moveTo>
                  <a:pt x="22800" y="595"/>
                </a:moveTo>
                <a:cubicBezTo>
                  <a:pt x="22786" y="667"/>
                  <a:pt x="22728" y="718"/>
                  <a:pt x="22627" y="747"/>
                </a:cubicBezTo>
                <a:cubicBezTo>
                  <a:pt x="22567" y="762"/>
                  <a:pt x="22461" y="789"/>
                  <a:pt x="22308" y="827"/>
                </a:cubicBezTo>
                <a:cubicBezTo>
                  <a:pt x="22176" y="861"/>
                  <a:pt x="22080" y="909"/>
                  <a:pt x="22020" y="970"/>
                </a:cubicBezTo>
                <a:cubicBezTo>
                  <a:pt x="22213" y="1017"/>
                  <a:pt x="22334" y="1050"/>
                  <a:pt x="22381" y="1069"/>
                </a:cubicBezTo>
                <a:cubicBezTo>
                  <a:pt x="22550" y="1132"/>
                  <a:pt x="22634" y="1204"/>
                  <a:pt x="22634" y="1287"/>
                </a:cubicBezTo>
                <a:cubicBezTo>
                  <a:pt x="22634" y="1407"/>
                  <a:pt x="22534" y="1519"/>
                  <a:pt x="22333" y="1623"/>
                </a:cubicBezTo>
                <a:cubicBezTo>
                  <a:pt x="22155" y="1713"/>
                  <a:pt x="22000" y="1758"/>
                  <a:pt x="21869" y="1758"/>
                </a:cubicBezTo>
                <a:cubicBezTo>
                  <a:pt x="21760" y="1758"/>
                  <a:pt x="21660" y="1716"/>
                  <a:pt x="21570" y="1632"/>
                </a:cubicBezTo>
                <a:cubicBezTo>
                  <a:pt x="21472" y="1540"/>
                  <a:pt x="21427" y="1442"/>
                  <a:pt x="21434" y="1338"/>
                </a:cubicBezTo>
                <a:lnTo>
                  <a:pt x="21437" y="1303"/>
                </a:lnTo>
                <a:cubicBezTo>
                  <a:pt x="21479" y="1319"/>
                  <a:pt x="21541" y="1383"/>
                  <a:pt x="21623" y="1496"/>
                </a:cubicBezTo>
                <a:cubicBezTo>
                  <a:pt x="21699" y="1602"/>
                  <a:pt x="21767" y="1655"/>
                  <a:pt x="21825" y="1655"/>
                </a:cubicBezTo>
                <a:cubicBezTo>
                  <a:pt x="21925" y="1655"/>
                  <a:pt x="22053" y="1621"/>
                  <a:pt x="22211" y="1554"/>
                </a:cubicBezTo>
                <a:cubicBezTo>
                  <a:pt x="22393" y="1476"/>
                  <a:pt x="22485" y="1394"/>
                  <a:pt x="22485" y="1310"/>
                </a:cubicBezTo>
                <a:cubicBezTo>
                  <a:pt x="22485" y="1250"/>
                  <a:pt x="22431" y="1204"/>
                  <a:pt x="22324" y="1172"/>
                </a:cubicBezTo>
                <a:cubicBezTo>
                  <a:pt x="22319" y="1172"/>
                  <a:pt x="22205" y="1143"/>
                  <a:pt x="21981" y="1085"/>
                </a:cubicBezTo>
                <a:cubicBezTo>
                  <a:pt x="21857" y="1053"/>
                  <a:pt x="21776" y="1015"/>
                  <a:pt x="21738" y="972"/>
                </a:cubicBezTo>
                <a:cubicBezTo>
                  <a:pt x="21784" y="922"/>
                  <a:pt x="21875" y="868"/>
                  <a:pt x="22011" y="811"/>
                </a:cubicBezTo>
                <a:cubicBezTo>
                  <a:pt x="22099" y="775"/>
                  <a:pt x="22229" y="730"/>
                  <a:pt x="22402" y="678"/>
                </a:cubicBezTo>
                <a:cubicBezTo>
                  <a:pt x="22589" y="621"/>
                  <a:pt x="22699" y="587"/>
                  <a:pt x="22733" y="575"/>
                </a:cubicBezTo>
                <a:cubicBezTo>
                  <a:pt x="22753" y="585"/>
                  <a:pt x="22775" y="592"/>
                  <a:pt x="22800" y="595"/>
                </a:cubicBezTo>
                <a:close/>
                <a:moveTo>
                  <a:pt x="23443" y="402"/>
                </a:moveTo>
                <a:cubicBezTo>
                  <a:pt x="23443" y="457"/>
                  <a:pt x="23406" y="485"/>
                  <a:pt x="23333" y="485"/>
                </a:cubicBezTo>
                <a:cubicBezTo>
                  <a:pt x="23265" y="485"/>
                  <a:pt x="23232" y="457"/>
                  <a:pt x="23232" y="402"/>
                </a:cubicBezTo>
                <a:cubicBezTo>
                  <a:pt x="23232" y="375"/>
                  <a:pt x="23240" y="336"/>
                  <a:pt x="23258" y="287"/>
                </a:cubicBezTo>
                <a:cubicBezTo>
                  <a:pt x="23276" y="238"/>
                  <a:pt x="23285" y="202"/>
                  <a:pt x="23287" y="177"/>
                </a:cubicBezTo>
                <a:cubicBezTo>
                  <a:pt x="23302" y="186"/>
                  <a:pt x="23331" y="230"/>
                  <a:pt x="23374" y="308"/>
                </a:cubicBezTo>
                <a:cubicBezTo>
                  <a:pt x="23377" y="313"/>
                  <a:pt x="23391" y="326"/>
                  <a:pt x="23416" y="349"/>
                </a:cubicBezTo>
                <a:cubicBezTo>
                  <a:pt x="23434" y="366"/>
                  <a:pt x="23443" y="384"/>
                  <a:pt x="23443" y="402"/>
                </a:cubicBezTo>
                <a:close/>
                <a:moveTo>
                  <a:pt x="23227" y="1034"/>
                </a:moveTo>
                <a:cubicBezTo>
                  <a:pt x="23227" y="1059"/>
                  <a:pt x="23184" y="1181"/>
                  <a:pt x="23098" y="1400"/>
                </a:cubicBezTo>
                <a:cubicBezTo>
                  <a:pt x="23088" y="1427"/>
                  <a:pt x="23072" y="1468"/>
                  <a:pt x="23050" y="1522"/>
                </a:cubicBezTo>
                <a:cubicBezTo>
                  <a:pt x="23032" y="1563"/>
                  <a:pt x="23008" y="1589"/>
                  <a:pt x="22979" y="1600"/>
                </a:cubicBezTo>
                <a:cubicBezTo>
                  <a:pt x="22962" y="1606"/>
                  <a:pt x="22927" y="1609"/>
                  <a:pt x="22875" y="1609"/>
                </a:cubicBezTo>
                <a:cubicBezTo>
                  <a:pt x="22875" y="1598"/>
                  <a:pt x="22873" y="1583"/>
                  <a:pt x="22870" y="1563"/>
                </a:cubicBezTo>
                <a:cubicBezTo>
                  <a:pt x="22866" y="1543"/>
                  <a:pt x="22864" y="1528"/>
                  <a:pt x="22864" y="1517"/>
                </a:cubicBezTo>
                <a:cubicBezTo>
                  <a:pt x="22864" y="1483"/>
                  <a:pt x="22877" y="1446"/>
                  <a:pt x="22903" y="1404"/>
                </a:cubicBezTo>
                <a:cubicBezTo>
                  <a:pt x="22938" y="1348"/>
                  <a:pt x="22958" y="1313"/>
                  <a:pt x="22963" y="1301"/>
                </a:cubicBezTo>
                <a:cubicBezTo>
                  <a:pt x="22975" y="1263"/>
                  <a:pt x="22999" y="1195"/>
                  <a:pt x="23034" y="1099"/>
                </a:cubicBezTo>
                <a:cubicBezTo>
                  <a:pt x="23060" y="1031"/>
                  <a:pt x="23101" y="975"/>
                  <a:pt x="23158" y="929"/>
                </a:cubicBezTo>
                <a:cubicBezTo>
                  <a:pt x="23204" y="975"/>
                  <a:pt x="23227" y="1010"/>
                  <a:pt x="23227" y="1034"/>
                </a:cubicBezTo>
                <a:close/>
                <a:moveTo>
                  <a:pt x="24765" y="1253"/>
                </a:moveTo>
                <a:cubicBezTo>
                  <a:pt x="24765" y="1178"/>
                  <a:pt x="24726" y="1121"/>
                  <a:pt x="24650" y="1083"/>
                </a:cubicBezTo>
                <a:cubicBezTo>
                  <a:pt x="24588" y="1052"/>
                  <a:pt x="24516" y="1037"/>
                  <a:pt x="24434" y="1037"/>
                </a:cubicBezTo>
                <a:cubicBezTo>
                  <a:pt x="24296" y="1037"/>
                  <a:pt x="24153" y="1075"/>
                  <a:pt x="24004" y="1152"/>
                </a:cubicBezTo>
                <a:cubicBezTo>
                  <a:pt x="23848" y="1230"/>
                  <a:pt x="23736" y="1325"/>
                  <a:pt x="23668" y="1439"/>
                </a:cubicBezTo>
                <a:cubicBezTo>
                  <a:pt x="23773" y="1545"/>
                  <a:pt x="23897" y="1597"/>
                  <a:pt x="24043" y="1597"/>
                </a:cubicBezTo>
                <a:cubicBezTo>
                  <a:pt x="24182" y="1597"/>
                  <a:pt x="24326" y="1572"/>
                  <a:pt x="24473" y="1522"/>
                </a:cubicBezTo>
                <a:cubicBezTo>
                  <a:pt x="24667" y="1454"/>
                  <a:pt x="24765" y="1365"/>
                  <a:pt x="24765" y="1253"/>
                </a:cubicBezTo>
                <a:close/>
                <a:moveTo>
                  <a:pt x="24891" y="1266"/>
                </a:moveTo>
                <a:cubicBezTo>
                  <a:pt x="24891" y="1411"/>
                  <a:pt x="24787" y="1523"/>
                  <a:pt x="24579" y="1604"/>
                </a:cubicBezTo>
                <a:cubicBezTo>
                  <a:pt x="24421" y="1666"/>
                  <a:pt x="24254" y="1696"/>
                  <a:pt x="24080" y="1696"/>
                </a:cubicBezTo>
                <a:cubicBezTo>
                  <a:pt x="23714" y="1696"/>
                  <a:pt x="23530" y="1606"/>
                  <a:pt x="23530" y="1425"/>
                </a:cubicBezTo>
                <a:cubicBezTo>
                  <a:pt x="23530" y="1296"/>
                  <a:pt x="23650" y="1171"/>
                  <a:pt x="23889" y="1050"/>
                </a:cubicBezTo>
                <a:cubicBezTo>
                  <a:pt x="24102" y="943"/>
                  <a:pt x="24281" y="890"/>
                  <a:pt x="24427" y="890"/>
                </a:cubicBezTo>
                <a:cubicBezTo>
                  <a:pt x="24556" y="890"/>
                  <a:pt x="24662" y="919"/>
                  <a:pt x="24746" y="979"/>
                </a:cubicBezTo>
                <a:cubicBezTo>
                  <a:pt x="24843" y="1047"/>
                  <a:pt x="24891" y="1142"/>
                  <a:pt x="24891" y="1266"/>
                </a:cubicBezTo>
                <a:close/>
                <a:moveTo>
                  <a:pt x="26146" y="1142"/>
                </a:moveTo>
                <a:cubicBezTo>
                  <a:pt x="26146" y="1196"/>
                  <a:pt x="26121" y="1273"/>
                  <a:pt x="26070" y="1375"/>
                </a:cubicBezTo>
                <a:cubicBezTo>
                  <a:pt x="26020" y="1476"/>
                  <a:pt x="25973" y="1546"/>
                  <a:pt x="25930" y="1586"/>
                </a:cubicBezTo>
                <a:cubicBezTo>
                  <a:pt x="25932" y="1606"/>
                  <a:pt x="25933" y="1618"/>
                  <a:pt x="25935" y="1623"/>
                </a:cubicBezTo>
                <a:cubicBezTo>
                  <a:pt x="25938" y="1633"/>
                  <a:pt x="25943" y="1645"/>
                  <a:pt x="25951" y="1657"/>
                </a:cubicBezTo>
                <a:cubicBezTo>
                  <a:pt x="25938" y="1703"/>
                  <a:pt x="25908" y="1726"/>
                  <a:pt x="25859" y="1726"/>
                </a:cubicBezTo>
                <a:cubicBezTo>
                  <a:pt x="25833" y="1726"/>
                  <a:pt x="25809" y="1718"/>
                  <a:pt x="25789" y="1703"/>
                </a:cubicBezTo>
                <a:cubicBezTo>
                  <a:pt x="25768" y="1688"/>
                  <a:pt x="25758" y="1668"/>
                  <a:pt x="25758" y="1643"/>
                </a:cubicBezTo>
                <a:cubicBezTo>
                  <a:pt x="25758" y="1599"/>
                  <a:pt x="25797" y="1523"/>
                  <a:pt x="25875" y="1416"/>
                </a:cubicBezTo>
                <a:cubicBezTo>
                  <a:pt x="25953" y="1309"/>
                  <a:pt x="25992" y="1234"/>
                  <a:pt x="25992" y="1193"/>
                </a:cubicBezTo>
                <a:cubicBezTo>
                  <a:pt x="25992" y="1115"/>
                  <a:pt x="25952" y="1076"/>
                  <a:pt x="25873" y="1076"/>
                </a:cubicBezTo>
                <a:cubicBezTo>
                  <a:pt x="25767" y="1076"/>
                  <a:pt x="25664" y="1125"/>
                  <a:pt x="25565" y="1223"/>
                </a:cubicBezTo>
                <a:cubicBezTo>
                  <a:pt x="25514" y="1276"/>
                  <a:pt x="25421" y="1371"/>
                  <a:pt x="25286" y="1508"/>
                </a:cubicBezTo>
                <a:cubicBezTo>
                  <a:pt x="25179" y="1617"/>
                  <a:pt x="25076" y="1679"/>
                  <a:pt x="24976" y="1696"/>
                </a:cubicBezTo>
                <a:lnTo>
                  <a:pt x="24976" y="1676"/>
                </a:lnTo>
                <a:lnTo>
                  <a:pt x="24955" y="1653"/>
                </a:lnTo>
                <a:cubicBezTo>
                  <a:pt x="24955" y="1571"/>
                  <a:pt x="25030" y="1441"/>
                  <a:pt x="25181" y="1262"/>
                </a:cubicBezTo>
                <a:cubicBezTo>
                  <a:pt x="25267" y="1159"/>
                  <a:pt x="25322" y="1085"/>
                  <a:pt x="25346" y="1039"/>
                </a:cubicBezTo>
                <a:cubicBezTo>
                  <a:pt x="25360" y="999"/>
                  <a:pt x="25375" y="959"/>
                  <a:pt x="25392" y="919"/>
                </a:cubicBezTo>
                <a:cubicBezTo>
                  <a:pt x="25406" y="889"/>
                  <a:pt x="25419" y="867"/>
                  <a:pt x="25432" y="855"/>
                </a:cubicBezTo>
                <a:cubicBezTo>
                  <a:pt x="25445" y="843"/>
                  <a:pt x="25466" y="837"/>
                  <a:pt x="25496" y="837"/>
                </a:cubicBezTo>
                <a:cubicBezTo>
                  <a:pt x="25538" y="837"/>
                  <a:pt x="25560" y="859"/>
                  <a:pt x="25560" y="903"/>
                </a:cubicBezTo>
                <a:cubicBezTo>
                  <a:pt x="25560" y="934"/>
                  <a:pt x="25556" y="958"/>
                  <a:pt x="25548" y="977"/>
                </a:cubicBezTo>
                <a:cubicBezTo>
                  <a:pt x="25547" y="983"/>
                  <a:pt x="25530" y="1024"/>
                  <a:pt x="25498" y="1101"/>
                </a:cubicBezTo>
                <a:cubicBezTo>
                  <a:pt x="25630" y="1031"/>
                  <a:pt x="25705" y="991"/>
                  <a:pt x="25723" y="984"/>
                </a:cubicBezTo>
                <a:cubicBezTo>
                  <a:pt x="25827" y="933"/>
                  <a:pt x="25904" y="908"/>
                  <a:pt x="25953" y="908"/>
                </a:cubicBezTo>
                <a:cubicBezTo>
                  <a:pt x="26011" y="908"/>
                  <a:pt x="26058" y="932"/>
                  <a:pt x="26093" y="980"/>
                </a:cubicBezTo>
                <a:cubicBezTo>
                  <a:pt x="26128" y="1029"/>
                  <a:pt x="26146" y="1083"/>
                  <a:pt x="26146" y="1142"/>
                </a:cubicBezTo>
                <a:close/>
              </a:path>
            </a:pathLst>
          </a:custGeom>
          <a:solidFill>
            <a:srgbClr val="00469B"/>
          </a:solidFill>
          <a:ln>
            <a:noFill/>
          </a:ln>
        </p:spPr>
        <p:txBody>
          <a:bodyPr vert="horz" wrap="square" lIns="89309" tIns="44655" rIns="89309" bIns="44655" numCol="1" anchor="t" anchorCtr="0" compatLnSpc="1">
            <a:prstTxWarp prst="textNoShape">
              <a:avLst/>
            </a:prstTxWarp>
          </a:bodyPr>
          <a:lstStyle/>
          <a:p>
            <a:pPr defTabSz="914350"/>
            <a:endParaRPr lang="de-DE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48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E1E517-E4A2-4B1F-AC48-10CF41B63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905D72-8CE2-4D17-986A-FF6DD4F889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FB61573-094B-40D4-847D-A766A218EC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7188" y="6356351"/>
            <a:ext cx="2742843" cy="365125"/>
          </a:xfrm>
        </p:spPr>
        <p:txBody>
          <a:bodyPr/>
          <a:lstStyle>
            <a:lvl1pPr>
              <a:defRPr sz="1050">
                <a:solidFill>
                  <a:srgbClr val="CFCFD1"/>
                </a:solidFill>
              </a:defRPr>
            </a:lvl1pPr>
          </a:lstStyle>
          <a:p>
            <a:fld id="{1F070689-C3A1-453D-99BB-83C5DC23BC43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B361942-4515-4DD5-AAE0-FBBCC643E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D1C732-DC4A-4C20-9639-C47A86473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1360" y="6356351"/>
            <a:ext cx="2742843" cy="365125"/>
          </a:xfrm>
        </p:spPr>
        <p:txBody>
          <a:bodyPr/>
          <a:lstStyle>
            <a:lvl1pPr>
              <a:defRPr>
                <a:solidFill>
                  <a:srgbClr val="CFCFD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D101707-6D35-4872-89D4-575331FDCCD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2586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/>
            <a:ahLst/>
            <a:cxnLst/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lnTo>
                  <a:pt x="12192000" y="4346489"/>
                </a:lnTo>
                <a:lnTo>
                  <a:pt x="11112000" y="5426489"/>
                </a:lnTo>
                <a:lnTo>
                  <a:pt x="0" y="542648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3" name="Title 42"/>
          <p:cNvSpPr>
            <a:spLocks noGrp="1"/>
          </p:cNvSpPr>
          <p:nvPr>
            <p:ph type="ctrTitle"/>
          </p:nvPr>
        </p:nvSpPr>
        <p:spPr bwMode="gray">
          <a:xfrm>
            <a:off x="1" y="4038601"/>
            <a:ext cx="8509000" cy="1600199"/>
          </a:xfrm>
          <a:custGeom>
            <a:avLst/>
            <a:gdLst>
              <a:gd name="connsiteX0" fmla="*/ 0 w 8509000"/>
              <a:gd name="connsiteY0" fmla="*/ 0 h 1600199"/>
              <a:gd name="connsiteX1" fmla="*/ 8509000 w 8509000"/>
              <a:gd name="connsiteY1" fmla="*/ 0 h 1600199"/>
              <a:gd name="connsiteX2" fmla="*/ 8509000 w 8509000"/>
              <a:gd name="connsiteY2" fmla="*/ 39 h 1600199"/>
              <a:gd name="connsiteX3" fmla="*/ 6908840 w 8509000"/>
              <a:gd name="connsiteY3" fmla="*/ 1600199 h 1600199"/>
              <a:gd name="connsiteX4" fmla="*/ 0 w 8509000"/>
              <a:gd name="connsiteY4" fmla="*/ 1600199 h 160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9000" h="1600199">
                <a:moveTo>
                  <a:pt x="0" y="0"/>
                </a:moveTo>
                <a:lnTo>
                  <a:pt x="8509000" y="0"/>
                </a:lnTo>
                <a:lnTo>
                  <a:pt x="8509000" y="39"/>
                </a:lnTo>
                <a:lnTo>
                  <a:pt x="6908840" y="1600199"/>
                </a:lnTo>
                <a:lnTo>
                  <a:pt x="0" y="160019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31200" rIns="1440000" bIns="72000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4AA7D80A-29C7-4363-BE83-90EC127FC940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7664" y="4949133"/>
            <a:ext cx="6480000" cy="39096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7" name="Group 6"/>
          <p:cNvGrpSpPr/>
          <p:nvPr/>
        </p:nvGrpSpPr>
        <p:grpSpPr bwMode="gray">
          <a:xfrm>
            <a:off x="-381778" y="756197"/>
            <a:ext cx="355089" cy="5529012"/>
            <a:chOff x="-381778" y="756197"/>
            <a:chExt cx="355089" cy="5529012"/>
          </a:xfrm>
        </p:grpSpPr>
        <p:cxnSp>
          <p:nvCxnSpPr>
            <p:cNvPr id="41" name="Straight Connector 40"/>
            <p:cNvCxnSpPr/>
            <p:nvPr userDrawn="1"/>
          </p:nvCxnSpPr>
          <p:spPr bwMode="gray">
            <a:xfrm>
              <a:off x="-98689" y="1697832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/>
            <p:cNvSpPr/>
            <p:nvPr userDrawn="1"/>
          </p:nvSpPr>
          <p:spPr bwMode="gray">
            <a:xfrm>
              <a:off x="-381778" y="1644404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4,80</a:t>
              </a:r>
            </a:p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1.89</a:t>
              </a:r>
            </a:p>
          </p:txBody>
        </p:sp>
        <p:cxnSp>
          <p:nvCxnSpPr>
            <p:cNvPr id="44" name="Straight Connector 43"/>
            <p:cNvCxnSpPr/>
            <p:nvPr userDrawn="1"/>
          </p:nvCxnSpPr>
          <p:spPr bwMode="gray">
            <a:xfrm>
              <a:off x="-98689" y="6230637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/>
            <p:cNvSpPr/>
            <p:nvPr userDrawn="1"/>
          </p:nvSpPr>
          <p:spPr bwMode="gray">
            <a:xfrm>
              <a:off x="-381778" y="6177209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7,80</a:t>
              </a:r>
            </a:p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3.07</a:t>
              </a:r>
            </a:p>
          </p:txBody>
        </p:sp>
        <p:cxnSp>
          <p:nvCxnSpPr>
            <p:cNvPr id="46" name="Straight Connector 45"/>
            <p:cNvCxnSpPr/>
            <p:nvPr userDrawn="1"/>
          </p:nvCxnSpPr>
          <p:spPr bwMode="gray">
            <a:xfrm>
              <a:off x="-98689" y="809625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/>
            <p:cNvSpPr/>
            <p:nvPr userDrawn="1"/>
          </p:nvSpPr>
          <p:spPr bwMode="gray">
            <a:xfrm>
              <a:off x="-381778" y="756197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36000" bIns="0" rtlCol="0" anchor="ctr"/>
            <a:lstStyle/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7,28</a:t>
              </a:r>
            </a:p>
            <a:p>
              <a:pPr algn="r"/>
              <a:r>
                <a:rPr lang="en-US" sz="600" noProof="0" dirty="0">
                  <a:solidFill>
                    <a:schemeClr val="accent2"/>
                  </a:solidFill>
                </a:rPr>
                <a:t>2.86</a:t>
              </a:r>
            </a:p>
          </p:txBody>
        </p:sp>
      </p:grpSp>
      <p:grpSp>
        <p:nvGrpSpPr>
          <p:cNvPr id="2" name="Group 1"/>
          <p:cNvGrpSpPr/>
          <p:nvPr/>
        </p:nvGrpSpPr>
        <p:grpSpPr bwMode="gray">
          <a:xfrm>
            <a:off x="245475" y="-233733"/>
            <a:ext cx="11696637" cy="207062"/>
            <a:chOff x="245475" y="-233733"/>
            <a:chExt cx="11696637" cy="207062"/>
          </a:xfrm>
        </p:grpSpPr>
        <p:cxnSp>
          <p:nvCxnSpPr>
            <p:cNvPr id="48" name="Straight Connector 47"/>
            <p:cNvCxnSpPr/>
            <p:nvPr userDrawn="1"/>
          </p:nvCxnSpPr>
          <p:spPr bwMode="gray">
            <a:xfrm rot="5400000">
              <a:off x="333094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 userDrawn="1"/>
          </p:nvSpPr>
          <p:spPr bwMode="gray">
            <a:xfrm>
              <a:off x="245475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/>
            <a:lstStyle/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15,90</a:t>
              </a:r>
            </a:p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6.26</a:t>
              </a:r>
            </a:p>
          </p:txBody>
        </p:sp>
        <p:cxnSp>
          <p:nvCxnSpPr>
            <p:cNvPr id="50" name="Straight Connector 49"/>
            <p:cNvCxnSpPr/>
            <p:nvPr userDrawn="1"/>
          </p:nvCxnSpPr>
          <p:spPr bwMode="gray">
            <a:xfrm rot="5400000">
              <a:off x="5870694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/>
            <p:cNvSpPr/>
            <p:nvPr userDrawn="1"/>
          </p:nvSpPr>
          <p:spPr bwMode="gray">
            <a:xfrm>
              <a:off x="5783075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/>
            <a:lstStyle/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0,50</a:t>
              </a:r>
            </a:p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2.20</a:t>
              </a:r>
            </a:p>
          </p:txBody>
        </p:sp>
        <p:cxnSp>
          <p:nvCxnSpPr>
            <p:cNvPr id="52" name="Straight Connector 51"/>
            <p:cNvCxnSpPr/>
            <p:nvPr userDrawn="1"/>
          </p:nvCxnSpPr>
          <p:spPr bwMode="gray">
            <a:xfrm rot="5400000">
              <a:off x="6235785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 52"/>
            <p:cNvSpPr/>
            <p:nvPr userDrawn="1"/>
          </p:nvSpPr>
          <p:spPr bwMode="gray">
            <a:xfrm>
              <a:off x="6148166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/>
            <a:lstStyle/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0,50</a:t>
              </a:r>
            </a:p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2.20</a:t>
              </a:r>
            </a:p>
          </p:txBody>
        </p:sp>
        <p:cxnSp>
          <p:nvCxnSpPr>
            <p:cNvPr id="54" name="Straight Connector 53"/>
            <p:cNvCxnSpPr/>
            <p:nvPr userDrawn="1"/>
          </p:nvCxnSpPr>
          <p:spPr bwMode="gray">
            <a:xfrm rot="5400000">
              <a:off x="11777731" y="-62671"/>
              <a:ext cx="72000" cy="0"/>
            </a:xfrm>
            <a:prstGeom prst="line">
              <a:avLst/>
            </a:prstGeom>
            <a:ln w="6350"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/>
            <p:cNvSpPr/>
            <p:nvPr userDrawn="1"/>
          </p:nvSpPr>
          <p:spPr bwMode="gray">
            <a:xfrm>
              <a:off x="11690112" y="-233733"/>
              <a:ext cx="252000" cy="10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/>
            <a:lstStyle/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15,90</a:t>
              </a:r>
            </a:p>
            <a:p>
              <a:pPr algn="ctr"/>
              <a:r>
                <a:rPr lang="en-US" sz="600" noProof="0" dirty="0">
                  <a:solidFill>
                    <a:schemeClr val="accent2"/>
                  </a:solidFill>
                </a:rPr>
                <a:t>6.26</a:t>
              </a:r>
            </a:p>
          </p:txBody>
        </p:sp>
      </p:grpSp>
      <p:grpSp>
        <p:nvGrpSpPr>
          <p:cNvPr id="94" name="Group 20">
            <a:extLst>
              <a:ext uri="{FF2B5EF4-FFF2-40B4-BE49-F238E27FC236}">
                <a16:creationId xmlns:a16="http://schemas.microsoft.com/office/drawing/2014/main" id="{6BE67EA3-40EF-4985-834E-73B0493542E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D0372DCE-5CBB-4E48-934F-056A6776A55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9A8FF9BA-7799-4315-B920-DC70467168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54F16012-1309-4439-88B5-44B87B4D4D3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C3ED595B-D698-47A5-ADCF-F462CBD260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03593398-D513-4691-9629-9FA8A912CD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0" name="Freeform 10">
              <a:extLst>
                <a:ext uri="{FF2B5EF4-FFF2-40B4-BE49-F238E27FC236}">
                  <a16:creationId xmlns:a16="http://schemas.microsoft.com/office/drawing/2014/main" id="{F503F265-0D69-440C-B232-7AA6C4920D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1" name="Freeform 11">
              <a:extLst>
                <a:ext uri="{FF2B5EF4-FFF2-40B4-BE49-F238E27FC236}">
                  <a16:creationId xmlns:a16="http://schemas.microsoft.com/office/drawing/2014/main" id="{DF5ECADE-FE56-4563-A432-91ACA7AA86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2" name="Freeform 12">
              <a:extLst>
                <a:ext uri="{FF2B5EF4-FFF2-40B4-BE49-F238E27FC236}">
                  <a16:creationId xmlns:a16="http://schemas.microsoft.com/office/drawing/2014/main" id="{88F9FFC0-BD38-44FE-9E6F-185FCD5C63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id="{F92C4C4D-97B4-442F-8D48-D3A312BFFDB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4" name="Freeform 14">
              <a:extLst>
                <a:ext uri="{FF2B5EF4-FFF2-40B4-BE49-F238E27FC236}">
                  <a16:creationId xmlns:a16="http://schemas.microsoft.com/office/drawing/2014/main" id="{911183DF-26AF-43D3-9536-A82402FE51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5" name="Freeform 15">
              <a:extLst>
                <a:ext uri="{FF2B5EF4-FFF2-40B4-BE49-F238E27FC236}">
                  <a16:creationId xmlns:a16="http://schemas.microsoft.com/office/drawing/2014/main" id="{7E33E84B-8B57-48D9-8988-A7E679EEAA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6" name="Freeform 16">
              <a:extLst>
                <a:ext uri="{FF2B5EF4-FFF2-40B4-BE49-F238E27FC236}">
                  <a16:creationId xmlns:a16="http://schemas.microsoft.com/office/drawing/2014/main" id="{32686718-1C66-40AD-9157-5A82724E43C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7" name="Rectangle 17">
              <a:extLst>
                <a:ext uri="{FF2B5EF4-FFF2-40B4-BE49-F238E27FC236}">
                  <a16:creationId xmlns:a16="http://schemas.microsoft.com/office/drawing/2014/main" id="{FECA8965-F7D7-44C0-AEE3-254E9E8CC30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2CA755E5-1200-4564-9170-D7315456C7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09" name="Rectangle 19">
              <a:extLst>
                <a:ext uri="{FF2B5EF4-FFF2-40B4-BE49-F238E27FC236}">
                  <a16:creationId xmlns:a16="http://schemas.microsoft.com/office/drawing/2014/main" id="{DC691761-E587-4532-8C4C-6B143F3DCA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10" name="Freeform 20">
              <a:extLst>
                <a:ext uri="{FF2B5EF4-FFF2-40B4-BE49-F238E27FC236}">
                  <a16:creationId xmlns:a16="http://schemas.microsoft.com/office/drawing/2014/main" id="{EDD8CA4C-EF67-46AF-A0A1-6F7C3A7C2D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11" name="Freeform 21">
              <a:extLst>
                <a:ext uri="{FF2B5EF4-FFF2-40B4-BE49-F238E27FC236}">
                  <a16:creationId xmlns:a16="http://schemas.microsoft.com/office/drawing/2014/main" id="{C924B37D-A8DE-44ED-A85C-CD4A1BACB8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112" name="Freeform 22">
              <a:extLst>
                <a:ext uri="{FF2B5EF4-FFF2-40B4-BE49-F238E27FC236}">
                  <a16:creationId xmlns:a16="http://schemas.microsoft.com/office/drawing/2014/main" id="{DCAF3227-9D2D-416B-AA5A-19EA5710BB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</p:grpSp>
      <p:sp>
        <p:nvSpPr>
          <p:cNvPr id="56" name="Freeform 6"/>
          <p:cNvSpPr>
            <a:spLocks noChangeAspect="1" noEditPoints="1"/>
          </p:cNvSpPr>
          <p:nvPr/>
        </p:nvSpPr>
        <p:spPr bwMode="gray">
          <a:xfrm>
            <a:off x="371475" y="465599"/>
            <a:ext cx="1735200" cy="153386"/>
          </a:xfrm>
          <a:custGeom>
            <a:avLst/>
            <a:gdLst>
              <a:gd name="T0" fmla="*/ 946 w 26146"/>
              <a:gd name="T1" fmla="*/ 922 h 2648"/>
              <a:gd name="T2" fmla="*/ 376 w 26146"/>
              <a:gd name="T3" fmla="*/ 464 h 2648"/>
              <a:gd name="T4" fmla="*/ 220 w 26146"/>
              <a:gd name="T5" fmla="*/ 337 h 2648"/>
              <a:gd name="T6" fmla="*/ 2805 w 26146"/>
              <a:gd name="T7" fmla="*/ 1253 h 2648"/>
              <a:gd name="T8" fmla="*/ 2932 w 26146"/>
              <a:gd name="T9" fmla="*/ 1266 h 2648"/>
              <a:gd name="T10" fmla="*/ 3851 w 26146"/>
              <a:gd name="T11" fmla="*/ 1025 h 2648"/>
              <a:gd name="T12" fmla="*/ 3725 w 26146"/>
              <a:gd name="T13" fmla="*/ 1299 h 2648"/>
              <a:gd name="T14" fmla="*/ 2863 w 26146"/>
              <a:gd name="T15" fmla="*/ 2581 h 2648"/>
              <a:gd name="T16" fmla="*/ 3732 w 26146"/>
              <a:gd name="T17" fmla="*/ 1611 h 2648"/>
              <a:gd name="T18" fmla="*/ 3998 w 26146"/>
              <a:gd name="T19" fmla="*/ 1053 h 2648"/>
              <a:gd name="T20" fmla="*/ 4826 w 26146"/>
              <a:gd name="T21" fmla="*/ 1660 h 2648"/>
              <a:gd name="T22" fmla="*/ 4639 w 26146"/>
              <a:gd name="T23" fmla="*/ 1358 h 2648"/>
              <a:gd name="T24" fmla="*/ 6094 w 26146"/>
              <a:gd name="T25" fmla="*/ 639 h 2648"/>
              <a:gd name="T26" fmla="*/ 5658 w 26146"/>
              <a:gd name="T27" fmla="*/ 1632 h 2648"/>
              <a:gd name="T28" fmla="*/ 5667 w 26146"/>
              <a:gd name="T29" fmla="*/ 834 h 2648"/>
              <a:gd name="T30" fmla="*/ 5840 w 26146"/>
              <a:gd name="T31" fmla="*/ 692 h 2648"/>
              <a:gd name="T32" fmla="*/ 7554 w 26146"/>
              <a:gd name="T33" fmla="*/ 1825 h 2648"/>
              <a:gd name="T34" fmla="*/ 6494 w 26146"/>
              <a:gd name="T35" fmla="*/ 1735 h 2648"/>
              <a:gd name="T36" fmla="*/ 7405 w 26146"/>
              <a:gd name="T37" fmla="*/ 241 h 2648"/>
              <a:gd name="T38" fmla="*/ 8398 w 26146"/>
              <a:gd name="T39" fmla="*/ 1060 h 2648"/>
              <a:gd name="T40" fmla="*/ 8250 w 26146"/>
              <a:gd name="T41" fmla="*/ 995 h 2648"/>
              <a:gd name="T42" fmla="*/ 8280 w 26146"/>
              <a:gd name="T43" fmla="*/ 1591 h 2648"/>
              <a:gd name="T44" fmla="*/ 9105 w 26146"/>
              <a:gd name="T45" fmla="*/ 1499 h 2648"/>
              <a:gd name="T46" fmla="*/ 9650 w 26146"/>
              <a:gd name="T47" fmla="*/ 968 h 2648"/>
              <a:gd name="T48" fmla="*/ 11818 w 26146"/>
              <a:gd name="T49" fmla="*/ 1526 h 2648"/>
              <a:gd name="T50" fmla="*/ 11402 w 26146"/>
              <a:gd name="T51" fmla="*/ 1356 h 2648"/>
              <a:gd name="T52" fmla="*/ 12066 w 26146"/>
              <a:gd name="T53" fmla="*/ 1227 h 2648"/>
              <a:gd name="T54" fmla="*/ 12797 w 26146"/>
              <a:gd name="T55" fmla="*/ 906 h 2648"/>
              <a:gd name="T56" fmla="*/ 13451 w 26146"/>
              <a:gd name="T57" fmla="*/ 287 h 2648"/>
              <a:gd name="T58" fmla="*/ 13171 w 26146"/>
              <a:gd name="T59" fmla="*/ 1600 h 2648"/>
              <a:gd name="T60" fmla="*/ 13420 w 26146"/>
              <a:gd name="T61" fmla="*/ 1034 h 2648"/>
              <a:gd name="T62" fmla="*/ 14516 w 26146"/>
              <a:gd name="T63" fmla="*/ 807 h 2648"/>
              <a:gd name="T64" fmla="*/ 13748 w 26146"/>
              <a:gd name="T65" fmla="*/ 1499 h 2648"/>
              <a:gd name="T66" fmla="*/ 13891 w 26146"/>
              <a:gd name="T67" fmla="*/ 747 h 2648"/>
              <a:gd name="T68" fmla="*/ 16249 w 26146"/>
              <a:gd name="T69" fmla="*/ 986 h 2648"/>
              <a:gd name="T70" fmla="*/ 16063 w 26146"/>
              <a:gd name="T71" fmla="*/ 991 h 2648"/>
              <a:gd name="T72" fmla="*/ 15610 w 26146"/>
              <a:gd name="T73" fmla="*/ 437 h 2648"/>
              <a:gd name="T74" fmla="*/ 16249 w 26146"/>
              <a:gd name="T75" fmla="*/ 986 h 2648"/>
              <a:gd name="T76" fmla="*/ 17897 w 26146"/>
              <a:gd name="T77" fmla="*/ 1126 h 2648"/>
              <a:gd name="T78" fmla="*/ 17718 w 26146"/>
              <a:gd name="T79" fmla="*/ 1402 h 2648"/>
              <a:gd name="T80" fmla="*/ 17789 w 26146"/>
              <a:gd name="T81" fmla="*/ 1080 h 2648"/>
              <a:gd name="T82" fmla="*/ 18658 w 26146"/>
              <a:gd name="T83" fmla="*/ 200 h 2648"/>
              <a:gd name="T84" fmla="*/ 19984 w 26146"/>
              <a:gd name="T85" fmla="*/ 1733 h 2648"/>
              <a:gd name="T86" fmla="*/ 19908 w 26146"/>
              <a:gd name="T87" fmla="*/ 938 h 2648"/>
              <a:gd name="T88" fmla="*/ 19687 w 26146"/>
              <a:gd name="T89" fmla="*/ 1202 h 2648"/>
              <a:gd name="T90" fmla="*/ 19044 w 26146"/>
              <a:gd name="T91" fmla="*/ 1708 h 2648"/>
              <a:gd name="T92" fmla="*/ 19745 w 26146"/>
              <a:gd name="T93" fmla="*/ 1496 h 2648"/>
              <a:gd name="T94" fmla="*/ 21193 w 26146"/>
              <a:gd name="T95" fmla="*/ 1287 h 2648"/>
              <a:gd name="T96" fmla="*/ 20770 w 26146"/>
              <a:gd name="T97" fmla="*/ 1554 h 2648"/>
              <a:gd name="T98" fmla="*/ 21358 w 26146"/>
              <a:gd name="T99" fmla="*/ 595 h 2648"/>
              <a:gd name="T100" fmla="*/ 21869 w 26146"/>
              <a:gd name="T101" fmla="*/ 1758 h 2648"/>
              <a:gd name="T102" fmla="*/ 22324 w 26146"/>
              <a:gd name="T103" fmla="*/ 1172 h 2648"/>
              <a:gd name="T104" fmla="*/ 23333 w 26146"/>
              <a:gd name="T105" fmla="*/ 485 h 2648"/>
              <a:gd name="T106" fmla="*/ 23098 w 26146"/>
              <a:gd name="T107" fmla="*/ 1400 h 2648"/>
              <a:gd name="T108" fmla="*/ 23034 w 26146"/>
              <a:gd name="T109" fmla="*/ 1099 h 2648"/>
              <a:gd name="T110" fmla="*/ 24043 w 26146"/>
              <a:gd name="T111" fmla="*/ 1597 h 2648"/>
              <a:gd name="T112" fmla="*/ 24427 w 26146"/>
              <a:gd name="T113" fmla="*/ 890 h 2648"/>
              <a:gd name="T114" fmla="*/ 25859 w 26146"/>
              <a:gd name="T115" fmla="*/ 1726 h 2648"/>
              <a:gd name="T116" fmla="*/ 24976 w 26146"/>
              <a:gd name="T117" fmla="*/ 1696 h 2648"/>
              <a:gd name="T118" fmla="*/ 25560 w 26146"/>
              <a:gd name="T119" fmla="*/ 903 h 2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146" h="2648">
                <a:moveTo>
                  <a:pt x="2265" y="67"/>
                </a:moveTo>
                <a:cubicBezTo>
                  <a:pt x="2221" y="185"/>
                  <a:pt x="2124" y="244"/>
                  <a:pt x="1976" y="244"/>
                </a:cubicBezTo>
                <a:lnTo>
                  <a:pt x="2019" y="156"/>
                </a:lnTo>
                <a:cubicBezTo>
                  <a:pt x="1981" y="146"/>
                  <a:pt x="1937" y="140"/>
                  <a:pt x="1888" y="140"/>
                </a:cubicBezTo>
                <a:cubicBezTo>
                  <a:pt x="1813" y="140"/>
                  <a:pt x="1691" y="157"/>
                  <a:pt x="1523" y="191"/>
                </a:cubicBezTo>
                <a:cubicBezTo>
                  <a:pt x="1345" y="226"/>
                  <a:pt x="1229" y="258"/>
                  <a:pt x="1176" y="287"/>
                </a:cubicBezTo>
                <a:lnTo>
                  <a:pt x="1063" y="650"/>
                </a:lnTo>
                <a:cubicBezTo>
                  <a:pt x="1028" y="762"/>
                  <a:pt x="989" y="853"/>
                  <a:pt x="946" y="922"/>
                </a:cubicBezTo>
                <a:cubicBezTo>
                  <a:pt x="903" y="991"/>
                  <a:pt x="825" y="1118"/>
                  <a:pt x="711" y="1303"/>
                </a:cubicBezTo>
                <a:cubicBezTo>
                  <a:pt x="626" y="1443"/>
                  <a:pt x="564" y="1580"/>
                  <a:pt x="528" y="1715"/>
                </a:cubicBezTo>
                <a:lnTo>
                  <a:pt x="353" y="1676"/>
                </a:lnTo>
                <a:cubicBezTo>
                  <a:pt x="365" y="1604"/>
                  <a:pt x="424" y="1487"/>
                  <a:pt x="530" y="1326"/>
                </a:cubicBezTo>
                <a:cubicBezTo>
                  <a:pt x="675" y="1103"/>
                  <a:pt x="770" y="949"/>
                  <a:pt x="813" y="867"/>
                </a:cubicBezTo>
                <a:cubicBezTo>
                  <a:pt x="911" y="672"/>
                  <a:pt x="960" y="493"/>
                  <a:pt x="960" y="331"/>
                </a:cubicBezTo>
                <a:lnTo>
                  <a:pt x="948" y="340"/>
                </a:lnTo>
                <a:lnTo>
                  <a:pt x="376" y="464"/>
                </a:lnTo>
                <a:cubicBezTo>
                  <a:pt x="285" y="503"/>
                  <a:pt x="196" y="540"/>
                  <a:pt x="107" y="577"/>
                </a:cubicBezTo>
                <a:cubicBezTo>
                  <a:pt x="73" y="577"/>
                  <a:pt x="46" y="562"/>
                  <a:pt x="25" y="533"/>
                </a:cubicBezTo>
                <a:cubicBezTo>
                  <a:pt x="9" y="510"/>
                  <a:pt x="0" y="485"/>
                  <a:pt x="0" y="459"/>
                </a:cubicBezTo>
                <a:lnTo>
                  <a:pt x="0" y="455"/>
                </a:lnTo>
                <a:cubicBezTo>
                  <a:pt x="0" y="450"/>
                  <a:pt x="0" y="445"/>
                  <a:pt x="1" y="439"/>
                </a:cubicBezTo>
                <a:lnTo>
                  <a:pt x="43" y="359"/>
                </a:lnTo>
                <a:cubicBezTo>
                  <a:pt x="87" y="342"/>
                  <a:pt x="125" y="333"/>
                  <a:pt x="158" y="333"/>
                </a:cubicBezTo>
                <a:cubicBezTo>
                  <a:pt x="171" y="333"/>
                  <a:pt x="192" y="334"/>
                  <a:pt x="220" y="337"/>
                </a:cubicBezTo>
                <a:cubicBezTo>
                  <a:pt x="247" y="339"/>
                  <a:pt x="268" y="340"/>
                  <a:pt x="282" y="340"/>
                </a:cubicBezTo>
                <a:cubicBezTo>
                  <a:pt x="467" y="340"/>
                  <a:pt x="676" y="311"/>
                  <a:pt x="909" y="253"/>
                </a:cubicBezTo>
                <a:cubicBezTo>
                  <a:pt x="1047" y="216"/>
                  <a:pt x="1253" y="162"/>
                  <a:pt x="1527" y="90"/>
                </a:cubicBezTo>
                <a:cubicBezTo>
                  <a:pt x="1760" y="30"/>
                  <a:pt x="1960" y="0"/>
                  <a:pt x="2127" y="0"/>
                </a:cubicBezTo>
                <a:lnTo>
                  <a:pt x="2129" y="0"/>
                </a:lnTo>
                <a:cubicBezTo>
                  <a:pt x="2168" y="0"/>
                  <a:pt x="2194" y="3"/>
                  <a:pt x="2208" y="9"/>
                </a:cubicBezTo>
                <a:cubicBezTo>
                  <a:pt x="2222" y="15"/>
                  <a:pt x="2241" y="34"/>
                  <a:pt x="2265" y="67"/>
                </a:cubicBezTo>
                <a:close/>
                <a:moveTo>
                  <a:pt x="2805" y="1253"/>
                </a:moveTo>
                <a:cubicBezTo>
                  <a:pt x="2805" y="1178"/>
                  <a:pt x="2767" y="1121"/>
                  <a:pt x="2690" y="1083"/>
                </a:cubicBezTo>
                <a:cubicBezTo>
                  <a:pt x="2629" y="1052"/>
                  <a:pt x="2557" y="1037"/>
                  <a:pt x="2474" y="1037"/>
                </a:cubicBezTo>
                <a:cubicBezTo>
                  <a:pt x="2336" y="1037"/>
                  <a:pt x="2193" y="1075"/>
                  <a:pt x="2045" y="1152"/>
                </a:cubicBezTo>
                <a:cubicBezTo>
                  <a:pt x="1888" y="1230"/>
                  <a:pt x="1776" y="1325"/>
                  <a:pt x="1709" y="1439"/>
                </a:cubicBezTo>
                <a:cubicBezTo>
                  <a:pt x="1813" y="1545"/>
                  <a:pt x="1938" y="1597"/>
                  <a:pt x="2084" y="1597"/>
                </a:cubicBezTo>
                <a:cubicBezTo>
                  <a:pt x="2223" y="1597"/>
                  <a:pt x="2366" y="1572"/>
                  <a:pt x="2513" y="1522"/>
                </a:cubicBezTo>
                <a:cubicBezTo>
                  <a:pt x="2708" y="1454"/>
                  <a:pt x="2805" y="1365"/>
                  <a:pt x="2805" y="1253"/>
                </a:cubicBezTo>
                <a:close/>
                <a:moveTo>
                  <a:pt x="2932" y="1266"/>
                </a:moveTo>
                <a:cubicBezTo>
                  <a:pt x="2932" y="1411"/>
                  <a:pt x="2828" y="1523"/>
                  <a:pt x="2619" y="1604"/>
                </a:cubicBezTo>
                <a:cubicBezTo>
                  <a:pt x="2461" y="1666"/>
                  <a:pt x="2295" y="1696"/>
                  <a:pt x="2120" y="1696"/>
                </a:cubicBezTo>
                <a:cubicBezTo>
                  <a:pt x="1754" y="1696"/>
                  <a:pt x="1571" y="1606"/>
                  <a:pt x="1571" y="1425"/>
                </a:cubicBezTo>
                <a:cubicBezTo>
                  <a:pt x="1571" y="1296"/>
                  <a:pt x="1691" y="1171"/>
                  <a:pt x="1930" y="1050"/>
                </a:cubicBezTo>
                <a:cubicBezTo>
                  <a:pt x="2143" y="943"/>
                  <a:pt x="2322" y="890"/>
                  <a:pt x="2467" y="890"/>
                </a:cubicBezTo>
                <a:cubicBezTo>
                  <a:pt x="2596" y="890"/>
                  <a:pt x="2703" y="919"/>
                  <a:pt x="2787" y="979"/>
                </a:cubicBezTo>
                <a:cubicBezTo>
                  <a:pt x="2884" y="1047"/>
                  <a:pt x="2932" y="1142"/>
                  <a:pt x="2932" y="1266"/>
                </a:cubicBezTo>
                <a:close/>
                <a:moveTo>
                  <a:pt x="3851" y="1025"/>
                </a:moveTo>
                <a:cubicBezTo>
                  <a:pt x="3851" y="975"/>
                  <a:pt x="3804" y="949"/>
                  <a:pt x="3711" y="949"/>
                </a:cubicBezTo>
                <a:cubicBezTo>
                  <a:pt x="3613" y="949"/>
                  <a:pt x="3503" y="991"/>
                  <a:pt x="3382" y="1073"/>
                </a:cubicBezTo>
                <a:cubicBezTo>
                  <a:pt x="3249" y="1164"/>
                  <a:pt x="3182" y="1256"/>
                  <a:pt x="3182" y="1349"/>
                </a:cubicBezTo>
                <a:cubicBezTo>
                  <a:pt x="3182" y="1452"/>
                  <a:pt x="3283" y="1503"/>
                  <a:pt x="3483" y="1503"/>
                </a:cubicBezTo>
                <a:cubicBezTo>
                  <a:pt x="3535" y="1503"/>
                  <a:pt x="3587" y="1496"/>
                  <a:pt x="3637" y="1480"/>
                </a:cubicBezTo>
                <a:cubicBezTo>
                  <a:pt x="3709" y="1459"/>
                  <a:pt x="3745" y="1428"/>
                  <a:pt x="3745" y="1388"/>
                </a:cubicBezTo>
                <a:cubicBezTo>
                  <a:pt x="3745" y="1378"/>
                  <a:pt x="3742" y="1362"/>
                  <a:pt x="3735" y="1342"/>
                </a:cubicBezTo>
                <a:cubicBezTo>
                  <a:pt x="3728" y="1322"/>
                  <a:pt x="3725" y="1308"/>
                  <a:pt x="3725" y="1299"/>
                </a:cubicBezTo>
                <a:cubicBezTo>
                  <a:pt x="3725" y="1280"/>
                  <a:pt x="3753" y="1224"/>
                  <a:pt x="3810" y="1131"/>
                </a:cubicBezTo>
                <a:cubicBezTo>
                  <a:pt x="3837" y="1086"/>
                  <a:pt x="3851" y="1051"/>
                  <a:pt x="3851" y="1025"/>
                </a:cubicBezTo>
                <a:close/>
                <a:moveTo>
                  <a:pt x="3998" y="1053"/>
                </a:moveTo>
                <a:cubicBezTo>
                  <a:pt x="3998" y="1086"/>
                  <a:pt x="3982" y="1145"/>
                  <a:pt x="3950" y="1227"/>
                </a:cubicBezTo>
                <a:cubicBezTo>
                  <a:pt x="3935" y="1267"/>
                  <a:pt x="3927" y="1299"/>
                  <a:pt x="3927" y="1322"/>
                </a:cubicBezTo>
                <a:cubicBezTo>
                  <a:pt x="3927" y="1555"/>
                  <a:pt x="3912" y="1748"/>
                  <a:pt x="3883" y="1903"/>
                </a:cubicBezTo>
                <a:cubicBezTo>
                  <a:pt x="3791" y="2400"/>
                  <a:pt x="3545" y="2648"/>
                  <a:pt x="3143" y="2648"/>
                </a:cubicBezTo>
                <a:cubicBezTo>
                  <a:pt x="3071" y="2648"/>
                  <a:pt x="2978" y="2626"/>
                  <a:pt x="2863" y="2581"/>
                </a:cubicBezTo>
                <a:cubicBezTo>
                  <a:pt x="2725" y="2529"/>
                  <a:pt x="2656" y="2473"/>
                  <a:pt x="2656" y="2413"/>
                </a:cubicBezTo>
                <a:cubicBezTo>
                  <a:pt x="2656" y="2400"/>
                  <a:pt x="2663" y="2372"/>
                  <a:pt x="2677" y="2331"/>
                </a:cubicBezTo>
                <a:lnTo>
                  <a:pt x="2700" y="2331"/>
                </a:lnTo>
                <a:cubicBezTo>
                  <a:pt x="2739" y="2375"/>
                  <a:pt x="2807" y="2420"/>
                  <a:pt x="2902" y="2464"/>
                </a:cubicBezTo>
                <a:cubicBezTo>
                  <a:pt x="2997" y="2508"/>
                  <a:pt x="3073" y="2531"/>
                  <a:pt x="3129" y="2531"/>
                </a:cubicBezTo>
                <a:cubicBezTo>
                  <a:pt x="3315" y="2531"/>
                  <a:pt x="3470" y="2442"/>
                  <a:pt x="3594" y="2264"/>
                </a:cubicBezTo>
                <a:cubicBezTo>
                  <a:pt x="3704" y="2105"/>
                  <a:pt x="3759" y="1927"/>
                  <a:pt x="3759" y="1731"/>
                </a:cubicBezTo>
                <a:cubicBezTo>
                  <a:pt x="3759" y="1683"/>
                  <a:pt x="3750" y="1643"/>
                  <a:pt x="3732" y="1611"/>
                </a:cubicBezTo>
                <a:cubicBezTo>
                  <a:pt x="3701" y="1599"/>
                  <a:pt x="3677" y="1593"/>
                  <a:pt x="3660" y="1593"/>
                </a:cubicBezTo>
                <a:cubicBezTo>
                  <a:pt x="3651" y="1593"/>
                  <a:pt x="3635" y="1596"/>
                  <a:pt x="3612" y="1602"/>
                </a:cubicBezTo>
                <a:cubicBezTo>
                  <a:pt x="3589" y="1608"/>
                  <a:pt x="3571" y="1611"/>
                  <a:pt x="3559" y="1611"/>
                </a:cubicBezTo>
                <a:cubicBezTo>
                  <a:pt x="3411" y="1611"/>
                  <a:pt x="3302" y="1603"/>
                  <a:pt x="3233" y="1586"/>
                </a:cubicBezTo>
                <a:cubicBezTo>
                  <a:pt x="3095" y="1552"/>
                  <a:pt x="3026" y="1483"/>
                  <a:pt x="3026" y="1379"/>
                </a:cubicBezTo>
                <a:cubicBezTo>
                  <a:pt x="3026" y="1232"/>
                  <a:pt x="3110" y="1101"/>
                  <a:pt x="3279" y="986"/>
                </a:cubicBezTo>
                <a:cubicBezTo>
                  <a:pt x="3434" y="880"/>
                  <a:pt x="3587" y="827"/>
                  <a:pt x="3739" y="827"/>
                </a:cubicBezTo>
                <a:cubicBezTo>
                  <a:pt x="3912" y="827"/>
                  <a:pt x="3998" y="903"/>
                  <a:pt x="3998" y="1053"/>
                </a:cubicBezTo>
                <a:close/>
                <a:moveTo>
                  <a:pt x="4915" y="1103"/>
                </a:moveTo>
                <a:cubicBezTo>
                  <a:pt x="4869" y="1054"/>
                  <a:pt x="4813" y="1030"/>
                  <a:pt x="4748" y="1030"/>
                </a:cubicBezTo>
                <a:cubicBezTo>
                  <a:pt x="4700" y="1030"/>
                  <a:pt x="4657" y="1040"/>
                  <a:pt x="4619" y="1060"/>
                </a:cubicBezTo>
                <a:cubicBezTo>
                  <a:pt x="4617" y="1061"/>
                  <a:pt x="4578" y="1083"/>
                  <a:pt x="4502" y="1124"/>
                </a:cubicBezTo>
                <a:cubicBezTo>
                  <a:pt x="4548" y="1198"/>
                  <a:pt x="4610" y="1234"/>
                  <a:pt x="4690" y="1234"/>
                </a:cubicBezTo>
                <a:cubicBezTo>
                  <a:pt x="4780" y="1234"/>
                  <a:pt x="4856" y="1191"/>
                  <a:pt x="4915" y="1103"/>
                </a:cubicBezTo>
                <a:close/>
                <a:moveTo>
                  <a:pt x="5152" y="1545"/>
                </a:moveTo>
                <a:cubicBezTo>
                  <a:pt x="5106" y="1595"/>
                  <a:pt x="4997" y="1633"/>
                  <a:pt x="4826" y="1660"/>
                </a:cubicBezTo>
                <a:cubicBezTo>
                  <a:pt x="4705" y="1678"/>
                  <a:pt x="4581" y="1687"/>
                  <a:pt x="4456" y="1687"/>
                </a:cubicBezTo>
                <a:cubicBezTo>
                  <a:pt x="4197" y="1687"/>
                  <a:pt x="4067" y="1613"/>
                  <a:pt x="4067" y="1464"/>
                </a:cubicBezTo>
                <a:cubicBezTo>
                  <a:pt x="4067" y="1282"/>
                  <a:pt x="4202" y="1126"/>
                  <a:pt x="4472" y="995"/>
                </a:cubicBezTo>
                <a:cubicBezTo>
                  <a:pt x="4565" y="949"/>
                  <a:pt x="4662" y="912"/>
                  <a:pt x="4764" y="883"/>
                </a:cubicBezTo>
                <a:cubicBezTo>
                  <a:pt x="4862" y="906"/>
                  <a:pt x="4927" y="922"/>
                  <a:pt x="4959" y="933"/>
                </a:cubicBezTo>
                <a:cubicBezTo>
                  <a:pt x="5028" y="956"/>
                  <a:pt x="5062" y="1014"/>
                  <a:pt x="5062" y="1106"/>
                </a:cubicBezTo>
                <a:cubicBezTo>
                  <a:pt x="5062" y="1187"/>
                  <a:pt x="5010" y="1251"/>
                  <a:pt x="4906" y="1299"/>
                </a:cubicBezTo>
                <a:cubicBezTo>
                  <a:pt x="4819" y="1339"/>
                  <a:pt x="4730" y="1358"/>
                  <a:pt x="4639" y="1358"/>
                </a:cubicBezTo>
                <a:cubicBezTo>
                  <a:pt x="4499" y="1358"/>
                  <a:pt x="4397" y="1337"/>
                  <a:pt x="4336" y="1294"/>
                </a:cubicBezTo>
                <a:cubicBezTo>
                  <a:pt x="4259" y="1331"/>
                  <a:pt x="4221" y="1378"/>
                  <a:pt x="4221" y="1437"/>
                </a:cubicBezTo>
                <a:cubicBezTo>
                  <a:pt x="4221" y="1539"/>
                  <a:pt x="4315" y="1591"/>
                  <a:pt x="4502" y="1591"/>
                </a:cubicBezTo>
                <a:cubicBezTo>
                  <a:pt x="4571" y="1591"/>
                  <a:pt x="4651" y="1586"/>
                  <a:pt x="4743" y="1577"/>
                </a:cubicBezTo>
                <a:cubicBezTo>
                  <a:pt x="4959" y="1555"/>
                  <a:pt x="5095" y="1545"/>
                  <a:pt x="5152" y="1545"/>
                </a:cubicBezTo>
                <a:close/>
                <a:moveTo>
                  <a:pt x="6274" y="315"/>
                </a:moveTo>
                <a:cubicBezTo>
                  <a:pt x="6274" y="353"/>
                  <a:pt x="6261" y="396"/>
                  <a:pt x="6235" y="444"/>
                </a:cubicBezTo>
                <a:cubicBezTo>
                  <a:pt x="6224" y="464"/>
                  <a:pt x="6177" y="529"/>
                  <a:pt x="6094" y="639"/>
                </a:cubicBezTo>
                <a:cubicBezTo>
                  <a:pt x="6133" y="665"/>
                  <a:pt x="6172" y="690"/>
                  <a:pt x="6212" y="715"/>
                </a:cubicBezTo>
                <a:cubicBezTo>
                  <a:pt x="6255" y="750"/>
                  <a:pt x="6274" y="790"/>
                  <a:pt x="6269" y="834"/>
                </a:cubicBezTo>
                <a:lnTo>
                  <a:pt x="6267" y="860"/>
                </a:lnTo>
                <a:cubicBezTo>
                  <a:pt x="6265" y="860"/>
                  <a:pt x="6230" y="849"/>
                  <a:pt x="6161" y="827"/>
                </a:cubicBezTo>
                <a:cubicBezTo>
                  <a:pt x="6117" y="814"/>
                  <a:pt x="6082" y="807"/>
                  <a:pt x="6058" y="807"/>
                </a:cubicBezTo>
                <a:cubicBezTo>
                  <a:pt x="5973" y="807"/>
                  <a:pt x="5852" y="895"/>
                  <a:pt x="5693" y="1072"/>
                </a:cubicBezTo>
                <a:cubicBezTo>
                  <a:pt x="5535" y="1249"/>
                  <a:pt x="5455" y="1381"/>
                  <a:pt x="5455" y="1469"/>
                </a:cubicBezTo>
                <a:cubicBezTo>
                  <a:pt x="5455" y="1544"/>
                  <a:pt x="5523" y="1598"/>
                  <a:pt x="5658" y="1632"/>
                </a:cubicBezTo>
                <a:cubicBezTo>
                  <a:pt x="5744" y="1653"/>
                  <a:pt x="5840" y="1664"/>
                  <a:pt x="5947" y="1664"/>
                </a:cubicBezTo>
                <a:cubicBezTo>
                  <a:pt x="5989" y="1664"/>
                  <a:pt x="6031" y="1661"/>
                  <a:pt x="6074" y="1655"/>
                </a:cubicBezTo>
                <a:cubicBezTo>
                  <a:pt x="6072" y="1663"/>
                  <a:pt x="6079" y="1676"/>
                  <a:pt x="6094" y="1696"/>
                </a:cubicBezTo>
                <a:cubicBezTo>
                  <a:pt x="5998" y="1733"/>
                  <a:pt x="5902" y="1751"/>
                  <a:pt x="5807" y="1751"/>
                </a:cubicBezTo>
                <a:cubicBezTo>
                  <a:pt x="5462" y="1751"/>
                  <a:pt x="5290" y="1667"/>
                  <a:pt x="5290" y="1499"/>
                </a:cubicBezTo>
                <a:cubicBezTo>
                  <a:pt x="5290" y="1399"/>
                  <a:pt x="5377" y="1253"/>
                  <a:pt x="5550" y="1060"/>
                </a:cubicBezTo>
                <a:lnTo>
                  <a:pt x="5747" y="839"/>
                </a:lnTo>
                <a:lnTo>
                  <a:pt x="5667" y="834"/>
                </a:lnTo>
                <a:cubicBezTo>
                  <a:pt x="5633" y="833"/>
                  <a:pt x="5588" y="842"/>
                  <a:pt x="5531" y="862"/>
                </a:cubicBezTo>
                <a:cubicBezTo>
                  <a:pt x="5419" y="902"/>
                  <a:pt x="5354" y="922"/>
                  <a:pt x="5334" y="922"/>
                </a:cubicBezTo>
                <a:cubicBezTo>
                  <a:pt x="5308" y="922"/>
                  <a:pt x="5283" y="914"/>
                  <a:pt x="5261" y="898"/>
                </a:cubicBezTo>
                <a:cubicBezTo>
                  <a:pt x="5239" y="881"/>
                  <a:pt x="5228" y="861"/>
                  <a:pt x="5228" y="837"/>
                </a:cubicBezTo>
                <a:cubicBezTo>
                  <a:pt x="5228" y="777"/>
                  <a:pt x="5296" y="747"/>
                  <a:pt x="5432" y="747"/>
                </a:cubicBezTo>
                <a:cubicBezTo>
                  <a:pt x="5446" y="747"/>
                  <a:pt x="5466" y="748"/>
                  <a:pt x="5492" y="749"/>
                </a:cubicBezTo>
                <a:cubicBezTo>
                  <a:pt x="5518" y="751"/>
                  <a:pt x="5538" y="752"/>
                  <a:pt x="5552" y="752"/>
                </a:cubicBezTo>
                <a:cubicBezTo>
                  <a:pt x="5668" y="752"/>
                  <a:pt x="5765" y="732"/>
                  <a:pt x="5840" y="692"/>
                </a:cubicBezTo>
                <a:cubicBezTo>
                  <a:pt x="5916" y="652"/>
                  <a:pt x="5983" y="583"/>
                  <a:pt x="6042" y="485"/>
                </a:cubicBezTo>
                <a:cubicBezTo>
                  <a:pt x="6061" y="451"/>
                  <a:pt x="6108" y="356"/>
                  <a:pt x="6182" y="200"/>
                </a:cubicBezTo>
                <a:cubicBezTo>
                  <a:pt x="6202" y="200"/>
                  <a:pt x="6222" y="214"/>
                  <a:pt x="6243" y="241"/>
                </a:cubicBezTo>
                <a:cubicBezTo>
                  <a:pt x="6263" y="269"/>
                  <a:pt x="6274" y="293"/>
                  <a:pt x="6274" y="315"/>
                </a:cubicBezTo>
                <a:close/>
                <a:moveTo>
                  <a:pt x="7791" y="986"/>
                </a:moveTo>
                <a:cubicBezTo>
                  <a:pt x="7791" y="1057"/>
                  <a:pt x="7745" y="1179"/>
                  <a:pt x="7654" y="1354"/>
                </a:cubicBezTo>
                <a:cubicBezTo>
                  <a:pt x="7563" y="1528"/>
                  <a:pt x="7517" y="1643"/>
                  <a:pt x="7517" y="1696"/>
                </a:cubicBezTo>
                <a:cubicBezTo>
                  <a:pt x="7517" y="1741"/>
                  <a:pt x="7529" y="1784"/>
                  <a:pt x="7554" y="1825"/>
                </a:cubicBezTo>
                <a:cubicBezTo>
                  <a:pt x="7499" y="1854"/>
                  <a:pt x="7456" y="1869"/>
                  <a:pt x="7425" y="1869"/>
                </a:cubicBezTo>
                <a:cubicBezTo>
                  <a:pt x="7369" y="1869"/>
                  <a:pt x="7340" y="1840"/>
                  <a:pt x="7340" y="1781"/>
                </a:cubicBezTo>
                <a:cubicBezTo>
                  <a:pt x="7340" y="1720"/>
                  <a:pt x="7385" y="1598"/>
                  <a:pt x="7475" y="1415"/>
                </a:cubicBezTo>
                <a:cubicBezTo>
                  <a:pt x="7564" y="1232"/>
                  <a:pt x="7609" y="1105"/>
                  <a:pt x="7609" y="1034"/>
                </a:cubicBezTo>
                <a:cubicBezTo>
                  <a:pt x="7609" y="1025"/>
                  <a:pt x="7608" y="1011"/>
                  <a:pt x="7605" y="991"/>
                </a:cubicBezTo>
                <a:cubicBezTo>
                  <a:pt x="7601" y="971"/>
                  <a:pt x="7600" y="956"/>
                  <a:pt x="7600" y="947"/>
                </a:cubicBezTo>
                <a:cubicBezTo>
                  <a:pt x="7375" y="973"/>
                  <a:pt x="7157" y="1059"/>
                  <a:pt x="6947" y="1204"/>
                </a:cubicBezTo>
                <a:cubicBezTo>
                  <a:pt x="6730" y="1356"/>
                  <a:pt x="6579" y="1533"/>
                  <a:pt x="6494" y="1735"/>
                </a:cubicBezTo>
                <a:cubicBezTo>
                  <a:pt x="6461" y="1723"/>
                  <a:pt x="6410" y="1710"/>
                  <a:pt x="6343" y="1696"/>
                </a:cubicBezTo>
                <a:cubicBezTo>
                  <a:pt x="6350" y="1663"/>
                  <a:pt x="6403" y="1581"/>
                  <a:pt x="6501" y="1450"/>
                </a:cubicBezTo>
                <a:cubicBezTo>
                  <a:pt x="6536" y="1406"/>
                  <a:pt x="6634" y="1278"/>
                  <a:pt x="6793" y="1067"/>
                </a:cubicBezTo>
                <a:cubicBezTo>
                  <a:pt x="6910" y="912"/>
                  <a:pt x="6983" y="808"/>
                  <a:pt x="7014" y="756"/>
                </a:cubicBezTo>
                <a:cubicBezTo>
                  <a:pt x="7023" y="741"/>
                  <a:pt x="7069" y="634"/>
                  <a:pt x="7152" y="437"/>
                </a:cubicBezTo>
                <a:cubicBezTo>
                  <a:pt x="7212" y="296"/>
                  <a:pt x="7267" y="202"/>
                  <a:pt x="7317" y="156"/>
                </a:cubicBezTo>
                <a:cubicBezTo>
                  <a:pt x="7336" y="167"/>
                  <a:pt x="7355" y="179"/>
                  <a:pt x="7375" y="191"/>
                </a:cubicBezTo>
                <a:cubicBezTo>
                  <a:pt x="7395" y="203"/>
                  <a:pt x="7405" y="220"/>
                  <a:pt x="7405" y="241"/>
                </a:cubicBezTo>
                <a:cubicBezTo>
                  <a:pt x="7405" y="264"/>
                  <a:pt x="7275" y="536"/>
                  <a:pt x="7016" y="1057"/>
                </a:cubicBezTo>
                <a:cubicBezTo>
                  <a:pt x="7145" y="1001"/>
                  <a:pt x="7257" y="952"/>
                  <a:pt x="7354" y="912"/>
                </a:cubicBezTo>
                <a:cubicBezTo>
                  <a:pt x="7538" y="836"/>
                  <a:pt x="7642" y="798"/>
                  <a:pt x="7667" y="798"/>
                </a:cubicBezTo>
                <a:cubicBezTo>
                  <a:pt x="7694" y="798"/>
                  <a:pt x="7715" y="804"/>
                  <a:pt x="7729" y="818"/>
                </a:cubicBezTo>
                <a:cubicBezTo>
                  <a:pt x="7770" y="860"/>
                  <a:pt x="7791" y="916"/>
                  <a:pt x="7791" y="986"/>
                </a:cubicBezTo>
                <a:close/>
                <a:moveTo>
                  <a:pt x="8694" y="1103"/>
                </a:moveTo>
                <a:cubicBezTo>
                  <a:pt x="8648" y="1054"/>
                  <a:pt x="8592" y="1030"/>
                  <a:pt x="8526" y="1030"/>
                </a:cubicBezTo>
                <a:cubicBezTo>
                  <a:pt x="8479" y="1030"/>
                  <a:pt x="8436" y="1040"/>
                  <a:pt x="8398" y="1060"/>
                </a:cubicBezTo>
                <a:cubicBezTo>
                  <a:pt x="8396" y="1061"/>
                  <a:pt x="8357" y="1083"/>
                  <a:pt x="8280" y="1124"/>
                </a:cubicBezTo>
                <a:cubicBezTo>
                  <a:pt x="8326" y="1198"/>
                  <a:pt x="8389" y="1234"/>
                  <a:pt x="8469" y="1234"/>
                </a:cubicBezTo>
                <a:cubicBezTo>
                  <a:pt x="8559" y="1234"/>
                  <a:pt x="8634" y="1191"/>
                  <a:pt x="8694" y="1103"/>
                </a:cubicBezTo>
                <a:close/>
                <a:moveTo>
                  <a:pt x="8931" y="1545"/>
                </a:moveTo>
                <a:cubicBezTo>
                  <a:pt x="8885" y="1595"/>
                  <a:pt x="8776" y="1633"/>
                  <a:pt x="8604" y="1660"/>
                </a:cubicBezTo>
                <a:cubicBezTo>
                  <a:pt x="8483" y="1678"/>
                  <a:pt x="8360" y="1687"/>
                  <a:pt x="8234" y="1687"/>
                </a:cubicBezTo>
                <a:cubicBezTo>
                  <a:pt x="7975" y="1687"/>
                  <a:pt x="7846" y="1613"/>
                  <a:pt x="7846" y="1464"/>
                </a:cubicBezTo>
                <a:cubicBezTo>
                  <a:pt x="7846" y="1282"/>
                  <a:pt x="7981" y="1126"/>
                  <a:pt x="8250" y="995"/>
                </a:cubicBezTo>
                <a:cubicBezTo>
                  <a:pt x="8344" y="949"/>
                  <a:pt x="8441" y="912"/>
                  <a:pt x="8542" y="883"/>
                </a:cubicBezTo>
                <a:cubicBezTo>
                  <a:pt x="8640" y="906"/>
                  <a:pt x="8705" y="922"/>
                  <a:pt x="8738" y="933"/>
                </a:cubicBezTo>
                <a:cubicBezTo>
                  <a:pt x="8807" y="956"/>
                  <a:pt x="8841" y="1014"/>
                  <a:pt x="8841" y="1106"/>
                </a:cubicBezTo>
                <a:cubicBezTo>
                  <a:pt x="8841" y="1187"/>
                  <a:pt x="8789" y="1251"/>
                  <a:pt x="8685" y="1299"/>
                </a:cubicBezTo>
                <a:cubicBezTo>
                  <a:pt x="8597" y="1339"/>
                  <a:pt x="8509" y="1358"/>
                  <a:pt x="8418" y="1358"/>
                </a:cubicBezTo>
                <a:cubicBezTo>
                  <a:pt x="8277" y="1358"/>
                  <a:pt x="8176" y="1337"/>
                  <a:pt x="8115" y="1294"/>
                </a:cubicBezTo>
                <a:cubicBezTo>
                  <a:pt x="8038" y="1331"/>
                  <a:pt x="8000" y="1378"/>
                  <a:pt x="8000" y="1437"/>
                </a:cubicBezTo>
                <a:cubicBezTo>
                  <a:pt x="8000" y="1539"/>
                  <a:pt x="8093" y="1591"/>
                  <a:pt x="8280" y="1591"/>
                </a:cubicBezTo>
                <a:cubicBezTo>
                  <a:pt x="8349" y="1591"/>
                  <a:pt x="8430" y="1586"/>
                  <a:pt x="8522" y="1577"/>
                </a:cubicBezTo>
                <a:cubicBezTo>
                  <a:pt x="8738" y="1555"/>
                  <a:pt x="8874" y="1545"/>
                  <a:pt x="8931" y="1545"/>
                </a:cubicBezTo>
                <a:close/>
                <a:moveTo>
                  <a:pt x="9981" y="1170"/>
                </a:moveTo>
                <a:lnTo>
                  <a:pt x="9620" y="1053"/>
                </a:lnTo>
                <a:cubicBezTo>
                  <a:pt x="9531" y="1053"/>
                  <a:pt x="9453" y="1113"/>
                  <a:pt x="9386" y="1234"/>
                </a:cubicBezTo>
                <a:cubicBezTo>
                  <a:pt x="9361" y="1276"/>
                  <a:pt x="9320" y="1373"/>
                  <a:pt x="9263" y="1527"/>
                </a:cubicBezTo>
                <a:cubicBezTo>
                  <a:pt x="9205" y="1681"/>
                  <a:pt x="9113" y="1758"/>
                  <a:pt x="8986" y="1758"/>
                </a:cubicBezTo>
                <a:cubicBezTo>
                  <a:pt x="8994" y="1696"/>
                  <a:pt x="9033" y="1609"/>
                  <a:pt x="9105" y="1499"/>
                </a:cubicBezTo>
                <a:cubicBezTo>
                  <a:pt x="9184" y="1379"/>
                  <a:pt x="9230" y="1291"/>
                  <a:pt x="9246" y="1234"/>
                </a:cubicBezTo>
                <a:cubicBezTo>
                  <a:pt x="9258" y="1187"/>
                  <a:pt x="9266" y="1109"/>
                  <a:pt x="9271" y="1000"/>
                </a:cubicBezTo>
                <a:cubicBezTo>
                  <a:pt x="9272" y="954"/>
                  <a:pt x="9283" y="906"/>
                  <a:pt x="9303" y="857"/>
                </a:cubicBezTo>
                <a:cubicBezTo>
                  <a:pt x="9331" y="788"/>
                  <a:pt x="9362" y="752"/>
                  <a:pt x="9397" y="749"/>
                </a:cubicBezTo>
                <a:lnTo>
                  <a:pt x="9441" y="752"/>
                </a:lnTo>
                <a:lnTo>
                  <a:pt x="9464" y="908"/>
                </a:lnTo>
                <a:cubicBezTo>
                  <a:pt x="9475" y="948"/>
                  <a:pt x="9511" y="968"/>
                  <a:pt x="9572" y="968"/>
                </a:cubicBezTo>
                <a:lnTo>
                  <a:pt x="9650" y="968"/>
                </a:lnTo>
                <a:cubicBezTo>
                  <a:pt x="9664" y="966"/>
                  <a:pt x="9675" y="965"/>
                  <a:pt x="9682" y="965"/>
                </a:cubicBezTo>
                <a:cubicBezTo>
                  <a:pt x="9859" y="962"/>
                  <a:pt x="9958" y="1031"/>
                  <a:pt x="9981" y="1170"/>
                </a:cubicBezTo>
                <a:close/>
                <a:moveTo>
                  <a:pt x="12983" y="1207"/>
                </a:moveTo>
                <a:cubicBezTo>
                  <a:pt x="12983" y="1368"/>
                  <a:pt x="12887" y="1499"/>
                  <a:pt x="12696" y="1602"/>
                </a:cubicBezTo>
                <a:cubicBezTo>
                  <a:pt x="12536" y="1686"/>
                  <a:pt x="12367" y="1728"/>
                  <a:pt x="12188" y="1728"/>
                </a:cubicBezTo>
                <a:cubicBezTo>
                  <a:pt x="12051" y="1728"/>
                  <a:pt x="11944" y="1682"/>
                  <a:pt x="11866" y="1588"/>
                </a:cubicBezTo>
                <a:lnTo>
                  <a:pt x="11866" y="1545"/>
                </a:lnTo>
                <a:lnTo>
                  <a:pt x="11818" y="1526"/>
                </a:lnTo>
                <a:cubicBezTo>
                  <a:pt x="11796" y="1529"/>
                  <a:pt x="11696" y="1570"/>
                  <a:pt x="11516" y="1648"/>
                </a:cubicBezTo>
                <a:cubicBezTo>
                  <a:pt x="11443" y="1680"/>
                  <a:pt x="11379" y="1696"/>
                  <a:pt x="11323" y="1696"/>
                </a:cubicBezTo>
                <a:cubicBezTo>
                  <a:pt x="11164" y="1696"/>
                  <a:pt x="11084" y="1648"/>
                  <a:pt x="11084" y="1551"/>
                </a:cubicBezTo>
                <a:cubicBezTo>
                  <a:pt x="11084" y="1509"/>
                  <a:pt x="11155" y="1394"/>
                  <a:pt x="11297" y="1208"/>
                </a:cubicBezTo>
                <a:cubicBezTo>
                  <a:pt x="11439" y="1022"/>
                  <a:pt x="11526" y="929"/>
                  <a:pt x="11558" y="929"/>
                </a:cubicBezTo>
                <a:cubicBezTo>
                  <a:pt x="11581" y="929"/>
                  <a:pt x="11601" y="939"/>
                  <a:pt x="11618" y="958"/>
                </a:cubicBezTo>
                <a:cubicBezTo>
                  <a:pt x="11634" y="978"/>
                  <a:pt x="11643" y="1000"/>
                  <a:pt x="11643" y="1023"/>
                </a:cubicBezTo>
                <a:cubicBezTo>
                  <a:pt x="11643" y="1078"/>
                  <a:pt x="11562" y="1189"/>
                  <a:pt x="11402" y="1356"/>
                </a:cubicBezTo>
                <a:cubicBezTo>
                  <a:pt x="11314" y="1447"/>
                  <a:pt x="11260" y="1509"/>
                  <a:pt x="11238" y="1545"/>
                </a:cubicBezTo>
                <a:cubicBezTo>
                  <a:pt x="11294" y="1577"/>
                  <a:pt x="11333" y="1593"/>
                  <a:pt x="11358" y="1593"/>
                </a:cubicBezTo>
                <a:cubicBezTo>
                  <a:pt x="11505" y="1593"/>
                  <a:pt x="11631" y="1547"/>
                  <a:pt x="11735" y="1455"/>
                </a:cubicBezTo>
                <a:cubicBezTo>
                  <a:pt x="11808" y="1391"/>
                  <a:pt x="11889" y="1280"/>
                  <a:pt x="11976" y="1124"/>
                </a:cubicBezTo>
                <a:cubicBezTo>
                  <a:pt x="11982" y="1132"/>
                  <a:pt x="11988" y="1139"/>
                  <a:pt x="11995" y="1145"/>
                </a:cubicBezTo>
                <a:cubicBezTo>
                  <a:pt x="11996" y="1146"/>
                  <a:pt x="12004" y="1147"/>
                  <a:pt x="12018" y="1147"/>
                </a:cubicBezTo>
                <a:cubicBezTo>
                  <a:pt x="12039" y="1165"/>
                  <a:pt x="12051" y="1177"/>
                  <a:pt x="12054" y="1181"/>
                </a:cubicBezTo>
                <a:cubicBezTo>
                  <a:pt x="12062" y="1192"/>
                  <a:pt x="12066" y="1208"/>
                  <a:pt x="12066" y="1227"/>
                </a:cubicBezTo>
                <a:cubicBezTo>
                  <a:pt x="12066" y="1257"/>
                  <a:pt x="12055" y="1299"/>
                  <a:pt x="12034" y="1355"/>
                </a:cubicBezTo>
                <a:cubicBezTo>
                  <a:pt x="12012" y="1411"/>
                  <a:pt x="12001" y="1453"/>
                  <a:pt x="12001" y="1480"/>
                </a:cubicBezTo>
                <a:cubicBezTo>
                  <a:pt x="12001" y="1526"/>
                  <a:pt x="12029" y="1562"/>
                  <a:pt x="12084" y="1588"/>
                </a:cubicBezTo>
                <a:cubicBezTo>
                  <a:pt x="12127" y="1608"/>
                  <a:pt x="12175" y="1618"/>
                  <a:pt x="12227" y="1618"/>
                </a:cubicBezTo>
                <a:cubicBezTo>
                  <a:pt x="12406" y="1618"/>
                  <a:pt x="12556" y="1574"/>
                  <a:pt x="12677" y="1487"/>
                </a:cubicBezTo>
                <a:cubicBezTo>
                  <a:pt x="12815" y="1389"/>
                  <a:pt x="12884" y="1254"/>
                  <a:pt x="12884" y="1083"/>
                </a:cubicBezTo>
                <a:cubicBezTo>
                  <a:pt x="12884" y="1038"/>
                  <a:pt x="12878" y="1004"/>
                  <a:pt x="12866" y="981"/>
                </a:cubicBezTo>
                <a:cubicBezTo>
                  <a:pt x="12856" y="965"/>
                  <a:pt x="12833" y="939"/>
                  <a:pt x="12797" y="906"/>
                </a:cubicBezTo>
                <a:cubicBezTo>
                  <a:pt x="12769" y="906"/>
                  <a:pt x="12740" y="890"/>
                  <a:pt x="12709" y="860"/>
                </a:cubicBezTo>
                <a:lnTo>
                  <a:pt x="12742" y="823"/>
                </a:lnTo>
                <a:cubicBezTo>
                  <a:pt x="12820" y="823"/>
                  <a:pt x="12882" y="869"/>
                  <a:pt x="12928" y="961"/>
                </a:cubicBezTo>
                <a:cubicBezTo>
                  <a:pt x="12965" y="1034"/>
                  <a:pt x="12983" y="1116"/>
                  <a:pt x="12983" y="1207"/>
                </a:cubicBezTo>
                <a:close/>
                <a:moveTo>
                  <a:pt x="13636" y="402"/>
                </a:moveTo>
                <a:cubicBezTo>
                  <a:pt x="13636" y="457"/>
                  <a:pt x="13599" y="485"/>
                  <a:pt x="13525" y="485"/>
                </a:cubicBezTo>
                <a:cubicBezTo>
                  <a:pt x="13458" y="485"/>
                  <a:pt x="13424" y="457"/>
                  <a:pt x="13424" y="402"/>
                </a:cubicBezTo>
                <a:cubicBezTo>
                  <a:pt x="13424" y="375"/>
                  <a:pt x="13433" y="336"/>
                  <a:pt x="13451" y="287"/>
                </a:cubicBezTo>
                <a:cubicBezTo>
                  <a:pt x="13468" y="238"/>
                  <a:pt x="13478" y="202"/>
                  <a:pt x="13479" y="177"/>
                </a:cubicBezTo>
                <a:cubicBezTo>
                  <a:pt x="13495" y="186"/>
                  <a:pt x="13524" y="230"/>
                  <a:pt x="13567" y="308"/>
                </a:cubicBezTo>
                <a:cubicBezTo>
                  <a:pt x="13570" y="313"/>
                  <a:pt x="13584" y="326"/>
                  <a:pt x="13608" y="349"/>
                </a:cubicBezTo>
                <a:cubicBezTo>
                  <a:pt x="13626" y="366"/>
                  <a:pt x="13636" y="384"/>
                  <a:pt x="13636" y="402"/>
                </a:cubicBezTo>
                <a:close/>
                <a:moveTo>
                  <a:pt x="13420" y="1034"/>
                </a:moveTo>
                <a:cubicBezTo>
                  <a:pt x="13420" y="1059"/>
                  <a:pt x="13377" y="1181"/>
                  <a:pt x="13291" y="1400"/>
                </a:cubicBezTo>
                <a:cubicBezTo>
                  <a:pt x="13280" y="1427"/>
                  <a:pt x="13264" y="1468"/>
                  <a:pt x="13243" y="1522"/>
                </a:cubicBezTo>
                <a:cubicBezTo>
                  <a:pt x="13224" y="1563"/>
                  <a:pt x="13200" y="1589"/>
                  <a:pt x="13171" y="1600"/>
                </a:cubicBezTo>
                <a:cubicBezTo>
                  <a:pt x="13154" y="1606"/>
                  <a:pt x="13120" y="1609"/>
                  <a:pt x="13068" y="1609"/>
                </a:cubicBezTo>
                <a:cubicBezTo>
                  <a:pt x="13068" y="1598"/>
                  <a:pt x="13066" y="1583"/>
                  <a:pt x="13062" y="1563"/>
                </a:cubicBezTo>
                <a:cubicBezTo>
                  <a:pt x="13058" y="1543"/>
                  <a:pt x="13056" y="1528"/>
                  <a:pt x="13056" y="1517"/>
                </a:cubicBezTo>
                <a:cubicBezTo>
                  <a:pt x="13056" y="1483"/>
                  <a:pt x="13069" y="1446"/>
                  <a:pt x="13095" y="1404"/>
                </a:cubicBezTo>
                <a:cubicBezTo>
                  <a:pt x="13131" y="1348"/>
                  <a:pt x="13151" y="1313"/>
                  <a:pt x="13155" y="1301"/>
                </a:cubicBezTo>
                <a:cubicBezTo>
                  <a:pt x="13168" y="1263"/>
                  <a:pt x="13191" y="1195"/>
                  <a:pt x="13227" y="1099"/>
                </a:cubicBezTo>
                <a:cubicBezTo>
                  <a:pt x="13253" y="1031"/>
                  <a:pt x="13294" y="975"/>
                  <a:pt x="13351" y="929"/>
                </a:cubicBezTo>
                <a:cubicBezTo>
                  <a:pt x="13397" y="975"/>
                  <a:pt x="13420" y="1010"/>
                  <a:pt x="13420" y="1034"/>
                </a:cubicBezTo>
                <a:close/>
                <a:moveTo>
                  <a:pt x="14732" y="315"/>
                </a:moveTo>
                <a:cubicBezTo>
                  <a:pt x="14732" y="353"/>
                  <a:pt x="14719" y="396"/>
                  <a:pt x="14693" y="444"/>
                </a:cubicBezTo>
                <a:cubicBezTo>
                  <a:pt x="14682" y="464"/>
                  <a:pt x="14635" y="529"/>
                  <a:pt x="14553" y="639"/>
                </a:cubicBezTo>
                <a:cubicBezTo>
                  <a:pt x="14591" y="665"/>
                  <a:pt x="14630" y="690"/>
                  <a:pt x="14670" y="715"/>
                </a:cubicBezTo>
                <a:cubicBezTo>
                  <a:pt x="14713" y="750"/>
                  <a:pt x="14732" y="790"/>
                  <a:pt x="14727" y="834"/>
                </a:cubicBezTo>
                <a:lnTo>
                  <a:pt x="14725" y="860"/>
                </a:lnTo>
                <a:cubicBezTo>
                  <a:pt x="14724" y="860"/>
                  <a:pt x="14688" y="849"/>
                  <a:pt x="14619" y="827"/>
                </a:cubicBezTo>
                <a:cubicBezTo>
                  <a:pt x="14575" y="814"/>
                  <a:pt x="14540" y="807"/>
                  <a:pt x="14516" y="807"/>
                </a:cubicBezTo>
                <a:cubicBezTo>
                  <a:pt x="14432" y="807"/>
                  <a:pt x="14310" y="895"/>
                  <a:pt x="14152" y="1072"/>
                </a:cubicBezTo>
                <a:cubicBezTo>
                  <a:pt x="13993" y="1249"/>
                  <a:pt x="13914" y="1381"/>
                  <a:pt x="13914" y="1469"/>
                </a:cubicBezTo>
                <a:cubicBezTo>
                  <a:pt x="13914" y="1544"/>
                  <a:pt x="13981" y="1598"/>
                  <a:pt x="14116" y="1632"/>
                </a:cubicBezTo>
                <a:cubicBezTo>
                  <a:pt x="14202" y="1653"/>
                  <a:pt x="14298" y="1664"/>
                  <a:pt x="14406" y="1664"/>
                </a:cubicBezTo>
                <a:cubicBezTo>
                  <a:pt x="14447" y="1664"/>
                  <a:pt x="14489" y="1661"/>
                  <a:pt x="14532" y="1655"/>
                </a:cubicBezTo>
                <a:cubicBezTo>
                  <a:pt x="14530" y="1663"/>
                  <a:pt x="14537" y="1676"/>
                  <a:pt x="14553" y="1696"/>
                </a:cubicBezTo>
                <a:cubicBezTo>
                  <a:pt x="14456" y="1733"/>
                  <a:pt x="14360" y="1751"/>
                  <a:pt x="14265" y="1751"/>
                </a:cubicBezTo>
                <a:cubicBezTo>
                  <a:pt x="13921" y="1751"/>
                  <a:pt x="13748" y="1667"/>
                  <a:pt x="13748" y="1499"/>
                </a:cubicBezTo>
                <a:cubicBezTo>
                  <a:pt x="13748" y="1399"/>
                  <a:pt x="13835" y="1253"/>
                  <a:pt x="14008" y="1060"/>
                </a:cubicBezTo>
                <a:lnTo>
                  <a:pt x="14206" y="839"/>
                </a:lnTo>
                <a:lnTo>
                  <a:pt x="14125" y="834"/>
                </a:lnTo>
                <a:cubicBezTo>
                  <a:pt x="14091" y="833"/>
                  <a:pt x="14046" y="842"/>
                  <a:pt x="13990" y="862"/>
                </a:cubicBezTo>
                <a:cubicBezTo>
                  <a:pt x="13878" y="902"/>
                  <a:pt x="13812" y="922"/>
                  <a:pt x="13792" y="922"/>
                </a:cubicBezTo>
                <a:cubicBezTo>
                  <a:pt x="13766" y="922"/>
                  <a:pt x="13742" y="914"/>
                  <a:pt x="13719" y="898"/>
                </a:cubicBezTo>
                <a:cubicBezTo>
                  <a:pt x="13697" y="881"/>
                  <a:pt x="13686" y="861"/>
                  <a:pt x="13686" y="837"/>
                </a:cubicBezTo>
                <a:cubicBezTo>
                  <a:pt x="13686" y="777"/>
                  <a:pt x="13754" y="747"/>
                  <a:pt x="13891" y="747"/>
                </a:cubicBezTo>
                <a:cubicBezTo>
                  <a:pt x="13905" y="747"/>
                  <a:pt x="13924" y="748"/>
                  <a:pt x="13950" y="749"/>
                </a:cubicBezTo>
                <a:cubicBezTo>
                  <a:pt x="13977" y="751"/>
                  <a:pt x="13996" y="752"/>
                  <a:pt x="14010" y="752"/>
                </a:cubicBezTo>
                <a:cubicBezTo>
                  <a:pt x="14127" y="752"/>
                  <a:pt x="14223" y="732"/>
                  <a:pt x="14299" y="692"/>
                </a:cubicBezTo>
                <a:cubicBezTo>
                  <a:pt x="14375" y="652"/>
                  <a:pt x="14442" y="583"/>
                  <a:pt x="14500" y="485"/>
                </a:cubicBezTo>
                <a:cubicBezTo>
                  <a:pt x="14520" y="451"/>
                  <a:pt x="14566" y="356"/>
                  <a:pt x="14640" y="200"/>
                </a:cubicBezTo>
                <a:cubicBezTo>
                  <a:pt x="14660" y="200"/>
                  <a:pt x="14680" y="214"/>
                  <a:pt x="14701" y="241"/>
                </a:cubicBezTo>
                <a:cubicBezTo>
                  <a:pt x="14722" y="269"/>
                  <a:pt x="14732" y="293"/>
                  <a:pt x="14732" y="315"/>
                </a:cubicBezTo>
                <a:close/>
                <a:moveTo>
                  <a:pt x="16249" y="986"/>
                </a:moveTo>
                <a:cubicBezTo>
                  <a:pt x="16249" y="1057"/>
                  <a:pt x="16203" y="1179"/>
                  <a:pt x="16112" y="1354"/>
                </a:cubicBezTo>
                <a:cubicBezTo>
                  <a:pt x="16021" y="1528"/>
                  <a:pt x="15975" y="1643"/>
                  <a:pt x="15975" y="1696"/>
                </a:cubicBezTo>
                <a:cubicBezTo>
                  <a:pt x="15975" y="1741"/>
                  <a:pt x="15988" y="1784"/>
                  <a:pt x="16012" y="1825"/>
                </a:cubicBezTo>
                <a:cubicBezTo>
                  <a:pt x="15957" y="1854"/>
                  <a:pt x="15914" y="1869"/>
                  <a:pt x="15883" y="1869"/>
                </a:cubicBezTo>
                <a:cubicBezTo>
                  <a:pt x="15827" y="1869"/>
                  <a:pt x="15798" y="1840"/>
                  <a:pt x="15798" y="1781"/>
                </a:cubicBezTo>
                <a:cubicBezTo>
                  <a:pt x="15798" y="1720"/>
                  <a:pt x="15843" y="1598"/>
                  <a:pt x="15933" y="1415"/>
                </a:cubicBezTo>
                <a:cubicBezTo>
                  <a:pt x="16023" y="1232"/>
                  <a:pt x="16067" y="1105"/>
                  <a:pt x="16067" y="1034"/>
                </a:cubicBezTo>
                <a:cubicBezTo>
                  <a:pt x="16067" y="1025"/>
                  <a:pt x="16066" y="1011"/>
                  <a:pt x="16063" y="991"/>
                </a:cubicBezTo>
                <a:cubicBezTo>
                  <a:pt x="16060" y="971"/>
                  <a:pt x="16058" y="956"/>
                  <a:pt x="16058" y="947"/>
                </a:cubicBezTo>
                <a:cubicBezTo>
                  <a:pt x="15833" y="973"/>
                  <a:pt x="15615" y="1059"/>
                  <a:pt x="15405" y="1204"/>
                </a:cubicBezTo>
                <a:cubicBezTo>
                  <a:pt x="15188" y="1356"/>
                  <a:pt x="15037" y="1533"/>
                  <a:pt x="14953" y="1735"/>
                </a:cubicBezTo>
                <a:cubicBezTo>
                  <a:pt x="14919" y="1723"/>
                  <a:pt x="14868" y="1710"/>
                  <a:pt x="14801" y="1696"/>
                </a:cubicBezTo>
                <a:cubicBezTo>
                  <a:pt x="14809" y="1663"/>
                  <a:pt x="14861" y="1581"/>
                  <a:pt x="14959" y="1450"/>
                </a:cubicBezTo>
                <a:cubicBezTo>
                  <a:pt x="14995" y="1406"/>
                  <a:pt x="15092" y="1278"/>
                  <a:pt x="15251" y="1067"/>
                </a:cubicBezTo>
                <a:cubicBezTo>
                  <a:pt x="15368" y="912"/>
                  <a:pt x="15441" y="808"/>
                  <a:pt x="15472" y="756"/>
                </a:cubicBezTo>
                <a:cubicBezTo>
                  <a:pt x="15481" y="741"/>
                  <a:pt x="15527" y="634"/>
                  <a:pt x="15610" y="437"/>
                </a:cubicBezTo>
                <a:cubicBezTo>
                  <a:pt x="15670" y="296"/>
                  <a:pt x="15725" y="202"/>
                  <a:pt x="15775" y="156"/>
                </a:cubicBezTo>
                <a:cubicBezTo>
                  <a:pt x="15794" y="167"/>
                  <a:pt x="15813" y="179"/>
                  <a:pt x="15833" y="191"/>
                </a:cubicBezTo>
                <a:cubicBezTo>
                  <a:pt x="15853" y="203"/>
                  <a:pt x="15863" y="220"/>
                  <a:pt x="15863" y="241"/>
                </a:cubicBezTo>
                <a:cubicBezTo>
                  <a:pt x="15863" y="264"/>
                  <a:pt x="15733" y="536"/>
                  <a:pt x="15474" y="1057"/>
                </a:cubicBezTo>
                <a:cubicBezTo>
                  <a:pt x="15603" y="1001"/>
                  <a:pt x="15716" y="952"/>
                  <a:pt x="15812" y="912"/>
                </a:cubicBezTo>
                <a:cubicBezTo>
                  <a:pt x="15996" y="836"/>
                  <a:pt x="16100" y="798"/>
                  <a:pt x="16125" y="798"/>
                </a:cubicBezTo>
                <a:cubicBezTo>
                  <a:pt x="16152" y="798"/>
                  <a:pt x="16173" y="804"/>
                  <a:pt x="16187" y="818"/>
                </a:cubicBezTo>
                <a:cubicBezTo>
                  <a:pt x="16228" y="860"/>
                  <a:pt x="16249" y="916"/>
                  <a:pt x="16249" y="986"/>
                </a:cubicBezTo>
                <a:close/>
                <a:moveTo>
                  <a:pt x="18851" y="536"/>
                </a:moveTo>
                <a:cubicBezTo>
                  <a:pt x="18851" y="465"/>
                  <a:pt x="18826" y="411"/>
                  <a:pt x="18777" y="372"/>
                </a:cubicBezTo>
                <a:cubicBezTo>
                  <a:pt x="18734" y="339"/>
                  <a:pt x="18676" y="322"/>
                  <a:pt x="18603" y="322"/>
                </a:cubicBezTo>
                <a:cubicBezTo>
                  <a:pt x="18541" y="322"/>
                  <a:pt x="18481" y="333"/>
                  <a:pt x="18423" y="356"/>
                </a:cubicBezTo>
                <a:cubicBezTo>
                  <a:pt x="18356" y="384"/>
                  <a:pt x="18310" y="421"/>
                  <a:pt x="18285" y="467"/>
                </a:cubicBezTo>
                <a:cubicBezTo>
                  <a:pt x="18264" y="519"/>
                  <a:pt x="18242" y="570"/>
                  <a:pt x="18221" y="621"/>
                </a:cubicBezTo>
                <a:lnTo>
                  <a:pt x="18044" y="864"/>
                </a:lnTo>
                <a:cubicBezTo>
                  <a:pt x="17980" y="958"/>
                  <a:pt x="17931" y="1045"/>
                  <a:pt x="17897" y="1126"/>
                </a:cubicBezTo>
                <a:lnTo>
                  <a:pt x="17918" y="1149"/>
                </a:lnTo>
                <a:lnTo>
                  <a:pt x="17938" y="1149"/>
                </a:lnTo>
                <a:cubicBezTo>
                  <a:pt x="18076" y="1149"/>
                  <a:pt x="18258" y="1082"/>
                  <a:pt x="18483" y="947"/>
                </a:cubicBezTo>
                <a:cubicBezTo>
                  <a:pt x="18728" y="800"/>
                  <a:pt x="18851" y="663"/>
                  <a:pt x="18851" y="536"/>
                </a:cubicBezTo>
                <a:close/>
                <a:moveTo>
                  <a:pt x="18968" y="501"/>
                </a:moveTo>
                <a:cubicBezTo>
                  <a:pt x="18968" y="780"/>
                  <a:pt x="18756" y="995"/>
                  <a:pt x="18331" y="1147"/>
                </a:cubicBezTo>
                <a:cubicBezTo>
                  <a:pt x="18245" y="1178"/>
                  <a:pt x="18094" y="1222"/>
                  <a:pt x="17876" y="1280"/>
                </a:cubicBezTo>
                <a:cubicBezTo>
                  <a:pt x="17813" y="1297"/>
                  <a:pt x="17761" y="1338"/>
                  <a:pt x="17718" y="1402"/>
                </a:cubicBezTo>
                <a:cubicBezTo>
                  <a:pt x="17708" y="1416"/>
                  <a:pt x="17679" y="1474"/>
                  <a:pt x="17628" y="1577"/>
                </a:cubicBezTo>
                <a:cubicBezTo>
                  <a:pt x="17597" y="1640"/>
                  <a:pt x="17564" y="1678"/>
                  <a:pt x="17529" y="1692"/>
                </a:cubicBezTo>
                <a:cubicBezTo>
                  <a:pt x="17482" y="1670"/>
                  <a:pt x="17458" y="1640"/>
                  <a:pt x="17458" y="1602"/>
                </a:cubicBezTo>
                <a:cubicBezTo>
                  <a:pt x="17458" y="1568"/>
                  <a:pt x="17482" y="1521"/>
                  <a:pt x="17531" y="1460"/>
                </a:cubicBezTo>
                <a:cubicBezTo>
                  <a:pt x="17551" y="1435"/>
                  <a:pt x="17587" y="1390"/>
                  <a:pt x="17637" y="1324"/>
                </a:cubicBezTo>
                <a:cubicBezTo>
                  <a:pt x="17649" y="1307"/>
                  <a:pt x="17665" y="1246"/>
                  <a:pt x="17683" y="1140"/>
                </a:cubicBezTo>
                <a:cubicBezTo>
                  <a:pt x="17691" y="1094"/>
                  <a:pt x="17705" y="1060"/>
                  <a:pt x="17725" y="1037"/>
                </a:cubicBezTo>
                <a:lnTo>
                  <a:pt x="17789" y="1080"/>
                </a:lnTo>
                <a:cubicBezTo>
                  <a:pt x="17914" y="901"/>
                  <a:pt x="17982" y="805"/>
                  <a:pt x="17991" y="793"/>
                </a:cubicBezTo>
                <a:cubicBezTo>
                  <a:pt x="18075" y="660"/>
                  <a:pt x="18118" y="557"/>
                  <a:pt x="18118" y="485"/>
                </a:cubicBezTo>
                <a:cubicBezTo>
                  <a:pt x="18026" y="534"/>
                  <a:pt x="17945" y="564"/>
                  <a:pt x="17876" y="575"/>
                </a:cubicBezTo>
                <a:lnTo>
                  <a:pt x="17876" y="552"/>
                </a:lnTo>
                <a:lnTo>
                  <a:pt x="17856" y="529"/>
                </a:lnTo>
                <a:lnTo>
                  <a:pt x="17876" y="444"/>
                </a:lnTo>
                <a:cubicBezTo>
                  <a:pt x="17945" y="390"/>
                  <a:pt x="18070" y="336"/>
                  <a:pt x="18251" y="280"/>
                </a:cubicBezTo>
                <a:cubicBezTo>
                  <a:pt x="18427" y="227"/>
                  <a:pt x="18563" y="200"/>
                  <a:pt x="18658" y="200"/>
                </a:cubicBezTo>
                <a:cubicBezTo>
                  <a:pt x="18754" y="200"/>
                  <a:pt x="18830" y="226"/>
                  <a:pt x="18885" y="278"/>
                </a:cubicBezTo>
                <a:cubicBezTo>
                  <a:pt x="18940" y="330"/>
                  <a:pt x="18968" y="405"/>
                  <a:pt x="18968" y="501"/>
                </a:cubicBezTo>
                <a:close/>
                <a:moveTo>
                  <a:pt x="19984" y="1761"/>
                </a:moveTo>
                <a:lnTo>
                  <a:pt x="19984" y="1754"/>
                </a:lnTo>
                <a:lnTo>
                  <a:pt x="19989" y="1754"/>
                </a:lnTo>
                <a:lnTo>
                  <a:pt x="19989" y="1747"/>
                </a:lnTo>
                <a:lnTo>
                  <a:pt x="19984" y="1747"/>
                </a:lnTo>
                <a:lnTo>
                  <a:pt x="19984" y="1733"/>
                </a:lnTo>
                <a:lnTo>
                  <a:pt x="19993" y="1733"/>
                </a:lnTo>
                <a:lnTo>
                  <a:pt x="19993" y="1738"/>
                </a:lnTo>
                <a:lnTo>
                  <a:pt x="19989" y="1738"/>
                </a:lnTo>
                <a:lnTo>
                  <a:pt x="19989" y="1742"/>
                </a:lnTo>
                <a:lnTo>
                  <a:pt x="19993" y="1742"/>
                </a:lnTo>
                <a:lnTo>
                  <a:pt x="19993" y="1761"/>
                </a:lnTo>
                <a:lnTo>
                  <a:pt x="19984" y="1761"/>
                </a:lnTo>
                <a:close/>
                <a:moveTo>
                  <a:pt x="19908" y="938"/>
                </a:moveTo>
                <a:cubicBezTo>
                  <a:pt x="19908" y="883"/>
                  <a:pt x="19861" y="855"/>
                  <a:pt x="19766" y="855"/>
                </a:cubicBezTo>
                <a:cubicBezTo>
                  <a:pt x="19626" y="855"/>
                  <a:pt x="19510" y="886"/>
                  <a:pt x="19418" y="949"/>
                </a:cubicBezTo>
                <a:cubicBezTo>
                  <a:pt x="19333" y="1008"/>
                  <a:pt x="19244" y="1086"/>
                  <a:pt x="19152" y="1184"/>
                </a:cubicBezTo>
                <a:cubicBezTo>
                  <a:pt x="19035" y="1308"/>
                  <a:pt x="18977" y="1406"/>
                  <a:pt x="18977" y="1478"/>
                </a:cubicBezTo>
                <a:cubicBezTo>
                  <a:pt x="18977" y="1521"/>
                  <a:pt x="18996" y="1554"/>
                  <a:pt x="19032" y="1577"/>
                </a:cubicBezTo>
                <a:cubicBezTo>
                  <a:pt x="19065" y="1597"/>
                  <a:pt x="19104" y="1607"/>
                  <a:pt x="19150" y="1607"/>
                </a:cubicBezTo>
                <a:cubicBezTo>
                  <a:pt x="19283" y="1607"/>
                  <a:pt x="19397" y="1560"/>
                  <a:pt x="19492" y="1466"/>
                </a:cubicBezTo>
                <a:cubicBezTo>
                  <a:pt x="19515" y="1443"/>
                  <a:pt x="19580" y="1355"/>
                  <a:pt x="19687" y="1202"/>
                </a:cubicBezTo>
                <a:cubicBezTo>
                  <a:pt x="19753" y="1107"/>
                  <a:pt x="19817" y="1060"/>
                  <a:pt x="19878" y="1060"/>
                </a:cubicBezTo>
                <a:cubicBezTo>
                  <a:pt x="19898" y="1017"/>
                  <a:pt x="19908" y="976"/>
                  <a:pt x="19908" y="938"/>
                </a:cubicBezTo>
                <a:close/>
                <a:moveTo>
                  <a:pt x="19991" y="1715"/>
                </a:moveTo>
                <a:cubicBezTo>
                  <a:pt x="19957" y="1788"/>
                  <a:pt x="19917" y="1825"/>
                  <a:pt x="19871" y="1825"/>
                </a:cubicBezTo>
                <a:cubicBezTo>
                  <a:pt x="19819" y="1825"/>
                  <a:pt x="19762" y="1787"/>
                  <a:pt x="19699" y="1710"/>
                </a:cubicBezTo>
                <a:cubicBezTo>
                  <a:pt x="19650" y="1652"/>
                  <a:pt x="19610" y="1589"/>
                  <a:pt x="19579" y="1522"/>
                </a:cubicBezTo>
                <a:cubicBezTo>
                  <a:pt x="19451" y="1583"/>
                  <a:pt x="19363" y="1623"/>
                  <a:pt x="19317" y="1641"/>
                </a:cubicBezTo>
                <a:cubicBezTo>
                  <a:pt x="19204" y="1686"/>
                  <a:pt x="19113" y="1708"/>
                  <a:pt x="19044" y="1708"/>
                </a:cubicBezTo>
                <a:cubicBezTo>
                  <a:pt x="18923" y="1708"/>
                  <a:pt x="18862" y="1647"/>
                  <a:pt x="18862" y="1524"/>
                </a:cubicBezTo>
                <a:cubicBezTo>
                  <a:pt x="18862" y="1326"/>
                  <a:pt x="18970" y="1150"/>
                  <a:pt x="19184" y="995"/>
                </a:cubicBezTo>
                <a:cubicBezTo>
                  <a:pt x="19255" y="945"/>
                  <a:pt x="19350" y="890"/>
                  <a:pt x="19469" y="832"/>
                </a:cubicBezTo>
                <a:cubicBezTo>
                  <a:pt x="19612" y="763"/>
                  <a:pt x="19713" y="729"/>
                  <a:pt x="19772" y="729"/>
                </a:cubicBezTo>
                <a:cubicBezTo>
                  <a:pt x="19814" y="729"/>
                  <a:pt x="19853" y="751"/>
                  <a:pt x="19890" y="795"/>
                </a:cubicBezTo>
                <a:cubicBezTo>
                  <a:pt x="19926" y="840"/>
                  <a:pt x="19945" y="883"/>
                  <a:pt x="19945" y="926"/>
                </a:cubicBezTo>
                <a:cubicBezTo>
                  <a:pt x="19945" y="1011"/>
                  <a:pt x="19912" y="1121"/>
                  <a:pt x="19845" y="1258"/>
                </a:cubicBezTo>
                <a:cubicBezTo>
                  <a:pt x="19778" y="1396"/>
                  <a:pt x="19745" y="1475"/>
                  <a:pt x="19745" y="1496"/>
                </a:cubicBezTo>
                <a:cubicBezTo>
                  <a:pt x="19745" y="1570"/>
                  <a:pt x="19756" y="1620"/>
                  <a:pt x="19779" y="1648"/>
                </a:cubicBezTo>
                <a:cubicBezTo>
                  <a:pt x="19798" y="1671"/>
                  <a:pt x="19868" y="1693"/>
                  <a:pt x="19991" y="1715"/>
                </a:cubicBezTo>
                <a:close/>
                <a:moveTo>
                  <a:pt x="21358" y="595"/>
                </a:moveTo>
                <a:cubicBezTo>
                  <a:pt x="21345" y="667"/>
                  <a:pt x="21287" y="718"/>
                  <a:pt x="21186" y="747"/>
                </a:cubicBezTo>
                <a:cubicBezTo>
                  <a:pt x="21126" y="762"/>
                  <a:pt x="21020" y="789"/>
                  <a:pt x="20867" y="827"/>
                </a:cubicBezTo>
                <a:cubicBezTo>
                  <a:pt x="20735" y="861"/>
                  <a:pt x="20639" y="909"/>
                  <a:pt x="20579" y="970"/>
                </a:cubicBezTo>
                <a:cubicBezTo>
                  <a:pt x="20772" y="1017"/>
                  <a:pt x="20893" y="1050"/>
                  <a:pt x="20940" y="1069"/>
                </a:cubicBezTo>
                <a:cubicBezTo>
                  <a:pt x="21109" y="1132"/>
                  <a:pt x="21193" y="1204"/>
                  <a:pt x="21193" y="1287"/>
                </a:cubicBezTo>
                <a:cubicBezTo>
                  <a:pt x="21193" y="1407"/>
                  <a:pt x="21093" y="1519"/>
                  <a:pt x="20892" y="1623"/>
                </a:cubicBezTo>
                <a:cubicBezTo>
                  <a:pt x="20714" y="1713"/>
                  <a:pt x="20559" y="1758"/>
                  <a:pt x="20428" y="1758"/>
                </a:cubicBezTo>
                <a:cubicBezTo>
                  <a:pt x="20319" y="1758"/>
                  <a:pt x="20219" y="1716"/>
                  <a:pt x="20129" y="1632"/>
                </a:cubicBezTo>
                <a:cubicBezTo>
                  <a:pt x="20031" y="1540"/>
                  <a:pt x="19985" y="1442"/>
                  <a:pt x="19993" y="1338"/>
                </a:cubicBezTo>
                <a:lnTo>
                  <a:pt x="19995" y="1303"/>
                </a:lnTo>
                <a:cubicBezTo>
                  <a:pt x="20038" y="1319"/>
                  <a:pt x="20100" y="1383"/>
                  <a:pt x="20182" y="1496"/>
                </a:cubicBezTo>
                <a:cubicBezTo>
                  <a:pt x="20258" y="1602"/>
                  <a:pt x="20326" y="1655"/>
                  <a:pt x="20384" y="1655"/>
                </a:cubicBezTo>
                <a:cubicBezTo>
                  <a:pt x="20483" y="1655"/>
                  <a:pt x="20612" y="1621"/>
                  <a:pt x="20770" y="1554"/>
                </a:cubicBezTo>
                <a:cubicBezTo>
                  <a:pt x="20952" y="1476"/>
                  <a:pt x="21043" y="1394"/>
                  <a:pt x="21043" y="1310"/>
                </a:cubicBezTo>
                <a:cubicBezTo>
                  <a:pt x="21044" y="1250"/>
                  <a:pt x="20990" y="1204"/>
                  <a:pt x="20883" y="1172"/>
                </a:cubicBezTo>
                <a:cubicBezTo>
                  <a:pt x="20878" y="1172"/>
                  <a:pt x="20764" y="1143"/>
                  <a:pt x="20540" y="1085"/>
                </a:cubicBezTo>
                <a:cubicBezTo>
                  <a:pt x="20416" y="1053"/>
                  <a:pt x="20335" y="1015"/>
                  <a:pt x="20297" y="972"/>
                </a:cubicBezTo>
                <a:cubicBezTo>
                  <a:pt x="20342" y="922"/>
                  <a:pt x="20434" y="868"/>
                  <a:pt x="20570" y="811"/>
                </a:cubicBezTo>
                <a:cubicBezTo>
                  <a:pt x="20657" y="775"/>
                  <a:pt x="20788" y="730"/>
                  <a:pt x="20961" y="678"/>
                </a:cubicBezTo>
                <a:cubicBezTo>
                  <a:pt x="21148" y="621"/>
                  <a:pt x="21258" y="587"/>
                  <a:pt x="21292" y="575"/>
                </a:cubicBezTo>
                <a:cubicBezTo>
                  <a:pt x="21312" y="585"/>
                  <a:pt x="21334" y="592"/>
                  <a:pt x="21358" y="595"/>
                </a:cubicBezTo>
                <a:close/>
                <a:moveTo>
                  <a:pt x="22800" y="595"/>
                </a:moveTo>
                <a:cubicBezTo>
                  <a:pt x="22786" y="667"/>
                  <a:pt x="22728" y="718"/>
                  <a:pt x="22627" y="747"/>
                </a:cubicBezTo>
                <a:cubicBezTo>
                  <a:pt x="22567" y="762"/>
                  <a:pt x="22461" y="789"/>
                  <a:pt x="22308" y="827"/>
                </a:cubicBezTo>
                <a:cubicBezTo>
                  <a:pt x="22176" y="861"/>
                  <a:pt x="22080" y="909"/>
                  <a:pt x="22020" y="970"/>
                </a:cubicBezTo>
                <a:cubicBezTo>
                  <a:pt x="22213" y="1017"/>
                  <a:pt x="22334" y="1050"/>
                  <a:pt x="22381" y="1069"/>
                </a:cubicBezTo>
                <a:cubicBezTo>
                  <a:pt x="22550" y="1132"/>
                  <a:pt x="22634" y="1204"/>
                  <a:pt x="22634" y="1287"/>
                </a:cubicBezTo>
                <a:cubicBezTo>
                  <a:pt x="22634" y="1407"/>
                  <a:pt x="22534" y="1519"/>
                  <a:pt x="22333" y="1623"/>
                </a:cubicBezTo>
                <a:cubicBezTo>
                  <a:pt x="22155" y="1713"/>
                  <a:pt x="22000" y="1758"/>
                  <a:pt x="21869" y="1758"/>
                </a:cubicBezTo>
                <a:cubicBezTo>
                  <a:pt x="21760" y="1758"/>
                  <a:pt x="21660" y="1716"/>
                  <a:pt x="21570" y="1632"/>
                </a:cubicBezTo>
                <a:cubicBezTo>
                  <a:pt x="21472" y="1540"/>
                  <a:pt x="21427" y="1442"/>
                  <a:pt x="21434" y="1338"/>
                </a:cubicBezTo>
                <a:lnTo>
                  <a:pt x="21437" y="1303"/>
                </a:lnTo>
                <a:cubicBezTo>
                  <a:pt x="21479" y="1319"/>
                  <a:pt x="21541" y="1383"/>
                  <a:pt x="21623" y="1496"/>
                </a:cubicBezTo>
                <a:cubicBezTo>
                  <a:pt x="21699" y="1602"/>
                  <a:pt x="21767" y="1655"/>
                  <a:pt x="21825" y="1655"/>
                </a:cubicBezTo>
                <a:cubicBezTo>
                  <a:pt x="21925" y="1655"/>
                  <a:pt x="22053" y="1621"/>
                  <a:pt x="22211" y="1554"/>
                </a:cubicBezTo>
                <a:cubicBezTo>
                  <a:pt x="22393" y="1476"/>
                  <a:pt x="22485" y="1394"/>
                  <a:pt x="22485" y="1310"/>
                </a:cubicBezTo>
                <a:cubicBezTo>
                  <a:pt x="22485" y="1250"/>
                  <a:pt x="22431" y="1204"/>
                  <a:pt x="22324" y="1172"/>
                </a:cubicBezTo>
                <a:cubicBezTo>
                  <a:pt x="22319" y="1172"/>
                  <a:pt x="22205" y="1143"/>
                  <a:pt x="21981" y="1085"/>
                </a:cubicBezTo>
                <a:cubicBezTo>
                  <a:pt x="21857" y="1053"/>
                  <a:pt x="21776" y="1015"/>
                  <a:pt x="21738" y="972"/>
                </a:cubicBezTo>
                <a:cubicBezTo>
                  <a:pt x="21784" y="922"/>
                  <a:pt x="21875" y="868"/>
                  <a:pt x="22011" y="811"/>
                </a:cubicBezTo>
                <a:cubicBezTo>
                  <a:pt x="22099" y="775"/>
                  <a:pt x="22229" y="730"/>
                  <a:pt x="22402" y="678"/>
                </a:cubicBezTo>
                <a:cubicBezTo>
                  <a:pt x="22589" y="621"/>
                  <a:pt x="22699" y="587"/>
                  <a:pt x="22733" y="575"/>
                </a:cubicBezTo>
                <a:cubicBezTo>
                  <a:pt x="22753" y="585"/>
                  <a:pt x="22775" y="592"/>
                  <a:pt x="22800" y="595"/>
                </a:cubicBezTo>
                <a:close/>
                <a:moveTo>
                  <a:pt x="23443" y="402"/>
                </a:moveTo>
                <a:cubicBezTo>
                  <a:pt x="23443" y="457"/>
                  <a:pt x="23406" y="485"/>
                  <a:pt x="23333" y="485"/>
                </a:cubicBezTo>
                <a:cubicBezTo>
                  <a:pt x="23265" y="485"/>
                  <a:pt x="23232" y="457"/>
                  <a:pt x="23232" y="402"/>
                </a:cubicBezTo>
                <a:cubicBezTo>
                  <a:pt x="23232" y="375"/>
                  <a:pt x="23240" y="336"/>
                  <a:pt x="23258" y="287"/>
                </a:cubicBezTo>
                <a:cubicBezTo>
                  <a:pt x="23276" y="238"/>
                  <a:pt x="23285" y="202"/>
                  <a:pt x="23287" y="177"/>
                </a:cubicBezTo>
                <a:cubicBezTo>
                  <a:pt x="23302" y="186"/>
                  <a:pt x="23331" y="230"/>
                  <a:pt x="23374" y="308"/>
                </a:cubicBezTo>
                <a:cubicBezTo>
                  <a:pt x="23377" y="313"/>
                  <a:pt x="23391" y="326"/>
                  <a:pt x="23416" y="349"/>
                </a:cubicBezTo>
                <a:cubicBezTo>
                  <a:pt x="23434" y="366"/>
                  <a:pt x="23443" y="384"/>
                  <a:pt x="23443" y="402"/>
                </a:cubicBezTo>
                <a:close/>
                <a:moveTo>
                  <a:pt x="23227" y="1034"/>
                </a:moveTo>
                <a:cubicBezTo>
                  <a:pt x="23227" y="1059"/>
                  <a:pt x="23184" y="1181"/>
                  <a:pt x="23098" y="1400"/>
                </a:cubicBezTo>
                <a:cubicBezTo>
                  <a:pt x="23088" y="1427"/>
                  <a:pt x="23072" y="1468"/>
                  <a:pt x="23050" y="1522"/>
                </a:cubicBezTo>
                <a:cubicBezTo>
                  <a:pt x="23032" y="1563"/>
                  <a:pt x="23008" y="1589"/>
                  <a:pt x="22979" y="1600"/>
                </a:cubicBezTo>
                <a:cubicBezTo>
                  <a:pt x="22962" y="1606"/>
                  <a:pt x="22927" y="1609"/>
                  <a:pt x="22875" y="1609"/>
                </a:cubicBezTo>
                <a:cubicBezTo>
                  <a:pt x="22875" y="1598"/>
                  <a:pt x="22873" y="1583"/>
                  <a:pt x="22870" y="1563"/>
                </a:cubicBezTo>
                <a:cubicBezTo>
                  <a:pt x="22866" y="1543"/>
                  <a:pt x="22864" y="1528"/>
                  <a:pt x="22864" y="1517"/>
                </a:cubicBezTo>
                <a:cubicBezTo>
                  <a:pt x="22864" y="1483"/>
                  <a:pt x="22877" y="1446"/>
                  <a:pt x="22903" y="1404"/>
                </a:cubicBezTo>
                <a:cubicBezTo>
                  <a:pt x="22938" y="1348"/>
                  <a:pt x="22958" y="1313"/>
                  <a:pt x="22963" y="1301"/>
                </a:cubicBezTo>
                <a:cubicBezTo>
                  <a:pt x="22975" y="1263"/>
                  <a:pt x="22999" y="1195"/>
                  <a:pt x="23034" y="1099"/>
                </a:cubicBezTo>
                <a:cubicBezTo>
                  <a:pt x="23060" y="1031"/>
                  <a:pt x="23101" y="975"/>
                  <a:pt x="23158" y="929"/>
                </a:cubicBezTo>
                <a:cubicBezTo>
                  <a:pt x="23204" y="975"/>
                  <a:pt x="23227" y="1010"/>
                  <a:pt x="23227" y="1034"/>
                </a:cubicBezTo>
                <a:close/>
                <a:moveTo>
                  <a:pt x="24765" y="1253"/>
                </a:moveTo>
                <a:cubicBezTo>
                  <a:pt x="24765" y="1178"/>
                  <a:pt x="24726" y="1121"/>
                  <a:pt x="24650" y="1083"/>
                </a:cubicBezTo>
                <a:cubicBezTo>
                  <a:pt x="24588" y="1052"/>
                  <a:pt x="24516" y="1037"/>
                  <a:pt x="24434" y="1037"/>
                </a:cubicBezTo>
                <a:cubicBezTo>
                  <a:pt x="24296" y="1037"/>
                  <a:pt x="24153" y="1075"/>
                  <a:pt x="24004" y="1152"/>
                </a:cubicBezTo>
                <a:cubicBezTo>
                  <a:pt x="23848" y="1230"/>
                  <a:pt x="23736" y="1325"/>
                  <a:pt x="23668" y="1439"/>
                </a:cubicBezTo>
                <a:cubicBezTo>
                  <a:pt x="23773" y="1545"/>
                  <a:pt x="23897" y="1597"/>
                  <a:pt x="24043" y="1597"/>
                </a:cubicBezTo>
                <a:cubicBezTo>
                  <a:pt x="24182" y="1597"/>
                  <a:pt x="24326" y="1572"/>
                  <a:pt x="24473" y="1522"/>
                </a:cubicBezTo>
                <a:cubicBezTo>
                  <a:pt x="24667" y="1454"/>
                  <a:pt x="24765" y="1365"/>
                  <a:pt x="24765" y="1253"/>
                </a:cubicBezTo>
                <a:close/>
                <a:moveTo>
                  <a:pt x="24891" y="1266"/>
                </a:moveTo>
                <a:cubicBezTo>
                  <a:pt x="24891" y="1411"/>
                  <a:pt x="24787" y="1523"/>
                  <a:pt x="24579" y="1604"/>
                </a:cubicBezTo>
                <a:cubicBezTo>
                  <a:pt x="24421" y="1666"/>
                  <a:pt x="24254" y="1696"/>
                  <a:pt x="24080" y="1696"/>
                </a:cubicBezTo>
                <a:cubicBezTo>
                  <a:pt x="23714" y="1696"/>
                  <a:pt x="23530" y="1606"/>
                  <a:pt x="23530" y="1425"/>
                </a:cubicBezTo>
                <a:cubicBezTo>
                  <a:pt x="23530" y="1296"/>
                  <a:pt x="23650" y="1171"/>
                  <a:pt x="23889" y="1050"/>
                </a:cubicBezTo>
                <a:cubicBezTo>
                  <a:pt x="24102" y="943"/>
                  <a:pt x="24281" y="890"/>
                  <a:pt x="24427" y="890"/>
                </a:cubicBezTo>
                <a:cubicBezTo>
                  <a:pt x="24556" y="890"/>
                  <a:pt x="24662" y="919"/>
                  <a:pt x="24746" y="979"/>
                </a:cubicBezTo>
                <a:cubicBezTo>
                  <a:pt x="24843" y="1047"/>
                  <a:pt x="24891" y="1142"/>
                  <a:pt x="24891" y="1266"/>
                </a:cubicBezTo>
                <a:close/>
                <a:moveTo>
                  <a:pt x="26146" y="1142"/>
                </a:moveTo>
                <a:cubicBezTo>
                  <a:pt x="26146" y="1196"/>
                  <a:pt x="26121" y="1273"/>
                  <a:pt x="26070" y="1375"/>
                </a:cubicBezTo>
                <a:cubicBezTo>
                  <a:pt x="26020" y="1476"/>
                  <a:pt x="25973" y="1546"/>
                  <a:pt x="25930" y="1586"/>
                </a:cubicBezTo>
                <a:cubicBezTo>
                  <a:pt x="25932" y="1606"/>
                  <a:pt x="25933" y="1618"/>
                  <a:pt x="25935" y="1623"/>
                </a:cubicBezTo>
                <a:cubicBezTo>
                  <a:pt x="25938" y="1633"/>
                  <a:pt x="25943" y="1645"/>
                  <a:pt x="25951" y="1657"/>
                </a:cubicBezTo>
                <a:cubicBezTo>
                  <a:pt x="25938" y="1703"/>
                  <a:pt x="25908" y="1726"/>
                  <a:pt x="25859" y="1726"/>
                </a:cubicBezTo>
                <a:cubicBezTo>
                  <a:pt x="25833" y="1726"/>
                  <a:pt x="25809" y="1718"/>
                  <a:pt x="25789" y="1703"/>
                </a:cubicBezTo>
                <a:cubicBezTo>
                  <a:pt x="25768" y="1688"/>
                  <a:pt x="25758" y="1668"/>
                  <a:pt x="25758" y="1643"/>
                </a:cubicBezTo>
                <a:cubicBezTo>
                  <a:pt x="25758" y="1599"/>
                  <a:pt x="25797" y="1523"/>
                  <a:pt x="25875" y="1416"/>
                </a:cubicBezTo>
                <a:cubicBezTo>
                  <a:pt x="25953" y="1309"/>
                  <a:pt x="25992" y="1234"/>
                  <a:pt x="25992" y="1193"/>
                </a:cubicBezTo>
                <a:cubicBezTo>
                  <a:pt x="25992" y="1115"/>
                  <a:pt x="25952" y="1076"/>
                  <a:pt x="25873" y="1076"/>
                </a:cubicBezTo>
                <a:cubicBezTo>
                  <a:pt x="25767" y="1076"/>
                  <a:pt x="25664" y="1125"/>
                  <a:pt x="25565" y="1223"/>
                </a:cubicBezTo>
                <a:cubicBezTo>
                  <a:pt x="25514" y="1276"/>
                  <a:pt x="25421" y="1371"/>
                  <a:pt x="25286" y="1508"/>
                </a:cubicBezTo>
                <a:cubicBezTo>
                  <a:pt x="25179" y="1617"/>
                  <a:pt x="25076" y="1679"/>
                  <a:pt x="24976" y="1696"/>
                </a:cubicBezTo>
                <a:lnTo>
                  <a:pt x="24976" y="1676"/>
                </a:lnTo>
                <a:lnTo>
                  <a:pt x="24955" y="1653"/>
                </a:lnTo>
                <a:cubicBezTo>
                  <a:pt x="24955" y="1571"/>
                  <a:pt x="25030" y="1441"/>
                  <a:pt x="25181" y="1262"/>
                </a:cubicBezTo>
                <a:cubicBezTo>
                  <a:pt x="25267" y="1159"/>
                  <a:pt x="25322" y="1085"/>
                  <a:pt x="25346" y="1039"/>
                </a:cubicBezTo>
                <a:cubicBezTo>
                  <a:pt x="25360" y="999"/>
                  <a:pt x="25375" y="959"/>
                  <a:pt x="25392" y="919"/>
                </a:cubicBezTo>
                <a:cubicBezTo>
                  <a:pt x="25406" y="889"/>
                  <a:pt x="25419" y="867"/>
                  <a:pt x="25432" y="855"/>
                </a:cubicBezTo>
                <a:cubicBezTo>
                  <a:pt x="25445" y="843"/>
                  <a:pt x="25466" y="837"/>
                  <a:pt x="25496" y="837"/>
                </a:cubicBezTo>
                <a:cubicBezTo>
                  <a:pt x="25538" y="837"/>
                  <a:pt x="25560" y="859"/>
                  <a:pt x="25560" y="903"/>
                </a:cubicBezTo>
                <a:cubicBezTo>
                  <a:pt x="25560" y="934"/>
                  <a:pt x="25556" y="958"/>
                  <a:pt x="25548" y="977"/>
                </a:cubicBezTo>
                <a:cubicBezTo>
                  <a:pt x="25547" y="983"/>
                  <a:pt x="25530" y="1024"/>
                  <a:pt x="25498" y="1101"/>
                </a:cubicBezTo>
                <a:cubicBezTo>
                  <a:pt x="25630" y="1031"/>
                  <a:pt x="25705" y="991"/>
                  <a:pt x="25723" y="984"/>
                </a:cubicBezTo>
                <a:cubicBezTo>
                  <a:pt x="25827" y="933"/>
                  <a:pt x="25904" y="908"/>
                  <a:pt x="25953" y="908"/>
                </a:cubicBezTo>
                <a:cubicBezTo>
                  <a:pt x="26011" y="908"/>
                  <a:pt x="26058" y="932"/>
                  <a:pt x="26093" y="980"/>
                </a:cubicBezTo>
                <a:cubicBezTo>
                  <a:pt x="26128" y="1029"/>
                  <a:pt x="26146" y="1083"/>
                  <a:pt x="26146" y="1142"/>
                </a:cubicBezTo>
                <a:close/>
              </a:path>
            </a:pathLst>
          </a:custGeom>
          <a:solidFill>
            <a:srgbClr val="00469B"/>
          </a:solidFill>
          <a:ln>
            <a:noFill/>
          </a:ln>
        </p:spPr>
        <p:txBody>
          <a:bodyPr vert="horz" wrap="square" lIns="89309" tIns="44655" rIns="89309" bIns="44655" numCol="1" anchor="t" anchorCtr="0" compatLnSpc="1">
            <a:prstTxWarp prst="textNoShape">
              <a:avLst/>
            </a:prstTxWarp>
          </a:bodyPr>
          <a:lstStyle/>
          <a:p>
            <a:pPr defTabSz="914350"/>
            <a:endParaRPr lang="en-US" noProof="0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737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55"/>
          <p:cNvSpPr>
            <a:spLocks noGrp="1"/>
          </p:cNvSpPr>
          <p:nvPr>
            <p:ph type="body" sz="quarter" idx="31"/>
          </p:nvPr>
        </p:nvSpPr>
        <p:spPr bwMode="gray">
          <a:xfrm>
            <a:off x="-1" y="1697832"/>
            <a:ext cx="12190414" cy="4536676"/>
          </a:xfrm>
          <a:custGeom>
            <a:avLst/>
            <a:gdLst>
              <a:gd name="connsiteX0" fmla="*/ 0 w 12190414"/>
              <a:gd name="connsiteY0" fmla="*/ 0 h 4536676"/>
              <a:gd name="connsiteX1" fmla="*/ 12190414 w 12190414"/>
              <a:gd name="connsiteY1" fmla="*/ 0 h 4536676"/>
              <a:gd name="connsiteX2" fmla="*/ 12190414 w 12190414"/>
              <a:gd name="connsiteY2" fmla="*/ 3456676 h 4536676"/>
              <a:gd name="connsiteX3" fmla="*/ 11110414 w 12190414"/>
              <a:gd name="connsiteY3" fmla="*/ 4536676 h 4536676"/>
              <a:gd name="connsiteX4" fmla="*/ 0 w 12190414"/>
              <a:gd name="connsiteY4" fmla="*/ 4536676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0414" h="4536676">
                <a:moveTo>
                  <a:pt x="0" y="0"/>
                </a:moveTo>
                <a:lnTo>
                  <a:pt x="12190414" y="0"/>
                </a:lnTo>
                <a:lnTo>
                  <a:pt x="12190414" y="3456676"/>
                </a:lnTo>
                <a:lnTo>
                  <a:pt x="11110414" y="4536676"/>
                </a:lnTo>
                <a:lnTo>
                  <a:pt x="0" y="4536676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-1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1012981 w 12190413"/>
              <a:gd name="connsiteY6" fmla="*/ 4536676 h 4536676"/>
              <a:gd name="connsiteX7" fmla="*/ 10611779 w 12190413"/>
              <a:gd name="connsiteY7" fmla="*/ 4536676 h 4536676"/>
              <a:gd name="connsiteX8" fmla="*/ 0 w 12190413"/>
              <a:gd name="connsiteY8" fmla="*/ 4536676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0611779 w 12190413"/>
              <a:gd name="connsiteY6" fmla="*/ 4536676 h 4536676"/>
              <a:gd name="connsiteX7" fmla="*/ 0 w 12190413"/>
              <a:gd name="connsiteY7" fmla="*/ 4536676 h 4536676"/>
              <a:gd name="connsiteX8" fmla="*/ 0 w 12190413"/>
              <a:gd name="connsiteY8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0 w 12190413"/>
              <a:gd name="connsiteY6" fmla="*/ 4536676 h 4536676"/>
              <a:gd name="connsiteX7" fmla="*/ 0 w 12190413"/>
              <a:gd name="connsiteY7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458269 h 4536676"/>
              <a:gd name="connsiteX4" fmla="*/ 11112006 w 12190413"/>
              <a:gd name="connsiteY4" fmla="*/ 4536676 h 4536676"/>
              <a:gd name="connsiteX5" fmla="*/ 0 w 12190413"/>
              <a:gd name="connsiteY5" fmla="*/ 4536676 h 4536676"/>
              <a:gd name="connsiteX6" fmla="*/ 0 w 12190413"/>
              <a:gd name="connsiteY6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8269 h 4536676"/>
              <a:gd name="connsiteX3" fmla="*/ 11112006 w 12190413"/>
              <a:gd name="connsiteY3" fmla="*/ 4536676 h 4536676"/>
              <a:gd name="connsiteX4" fmla="*/ 0 w 12190413"/>
              <a:gd name="connsiteY4" fmla="*/ 4536676 h 4536676"/>
              <a:gd name="connsiteX5" fmla="*/ 0 w 12190413"/>
              <a:gd name="connsiteY5" fmla="*/ 0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8269"/>
                </a:lnTo>
                <a:lnTo>
                  <a:pt x="11112006" y="4536676"/>
                </a:lnTo>
                <a:lnTo>
                  <a:pt x="0" y="453667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 bwMode="gray">
          <a:xfrm>
            <a:off x="1179241" y="214630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1179241" y="313982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1179241" y="413334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1179241" y="5126862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7079156" y="214630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7079156" y="313982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7079156" y="413334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3" name="Text Placeholder 9"/>
          <p:cNvSpPr>
            <a:spLocks noGrp="1"/>
          </p:cNvSpPr>
          <p:nvPr>
            <p:ph type="body" sz="quarter" idx="22"/>
          </p:nvPr>
        </p:nvSpPr>
        <p:spPr bwMode="gray">
          <a:xfrm>
            <a:off x="7079156" y="5126862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23"/>
          </p:nvPr>
        </p:nvSpPr>
        <p:spPr bwMode="gray">
          <a:xfrm>
            <a:off x="371475" y="212207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9600" y="187657"/>
                </a:moveTo>
                <a:cubicBezTo>
                  <a:pt x="351712" y="209677"/>
                  <a:pt x="337168" y="228945"/>
                  <a:pt x="315970" y="245461"/>
                </a:cubicBezTo>
                <a:cubicBezTo>
                  <a:pt x="294771" y="261976"/>
                  <a:pt x="275133" y="273191"/>
                  <a:pt x="257057" y="279107"/>
                </a:cubicBezTo>
                <a:lnTo>
                  <a:pt x="257057" y="341964"/>
                </a:lnTo>
                <a:cubicBezTo>
                  <a:pt x="291402" y="330625"/>
                  <a:pt x="321228" y="313124"/>
                  <a:pt x="346535" y="289460"/>
                </a:cubicBezTo>
                <a:lnTo>
                  <a:pt x="346535" y="550500"/>
                </a:lnTo>
                <a:lnTo>
                  <a:pt x="415801" y="550500"/>
                </a:lnTo>
                <a:lnTo>
                  <a:pt x="415801" y="187657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24"/>
          </p:nvPr>
        </p:nvSpPr>
        <p:spPr bwMode="gray">
          <a:xfrm>
            <a:off x="371475" y="311319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7874" y="187657"/>
                </a:moveTo>
                <a:cubicBezTo>
                  <a:pt x="325337" y="187657"/>
                  <a:pt x="298222" y="195956"/>
                  <a:pt x="276530" y="212553"/>
                </a:cubicBezTo>
                <a:cubicBezTo>
                  <a:pt x="254839" y="229151"/>
                  <a:pt x="241939" y="256512"/>
                  <a:pt x="237830" y="294637"/>
                </a:cubicBezTo>
                <a:lnTo>
                  <a:pt x="306849" y="301538"/>
                </a:lnTo>
                <a:cubicBezTo>
                  <a:pt x="308164" y="281326"/>
                  <a:pt x="313094" y="266865"/>
                  <a:pt x="321639" y="258155"/>
                </a:cubicBezTo>
                <a:cubicBezTo>
                  <a:pt x="330184" y="249446"/>
                  <a:pt x="341688" y="245091"/>
                  <a:pt x="356149" y="245091"/>
                </a:cubicBezTo>
                <a:cubicBezTo>
                  <a:pt x="370774" y="245091"/>
                  <a:pt x="382236" y="249240"/>
                  <a:pt x="390535" y="257539"/>
                </a:cubicBezTo>
                <a:cubicBezTo>
                  <a:pt x="398834" y="265838"/>
                  <a:pt x="402983" y="277710"/>
                  <a:pt x="402983" y="293158"/>
                </a:cubicBezTo>
                <a:cubicBezTo>
                  <a:pt x="402983" y="307126"/>
                  <a:pt x="398217" y="321258"/>
                  <a:pt x="388686" y="335555"/>
                </a:cubicBezTo>
                <a:cubicBezTo>
                  <a:pt x="381620" y="345908"/>
                  <a:pt x="362475" y="365628"/>
                  <a:pt x="331253" y="394714"/>
                </a:cubicBezTo>
                <a:cubicBezTo>
                  <a:pt x="292470" y="430703"/>
                  <a:pt x="266506" y="459584"/>
                  <a:pt x="253360" y="481358"/>
                </a:cubicBezTo>
                <a:cubicBezTo>
                  <a:pt x="240213" y="503132"/>
                  <a:pt x="232325" y="526179"/>
                  <a:pt x="229696" y="550500"/>
                </a:cubicBezTo>
                <a:lnTo>
                  <a:pt x="472495" y="550500"/>
                </a:lnTo>
                <a:lnTo>
                  <a:pt x="472495" y="486164"/>
                </a:lnTo>
                <a:lnTo>
                  <a:pt x="334950" y="486164"/>
                </a:lnTo>
                <a:cubicBezTo>
                  <a:pt x="338565" y="479920"/>
                  <a:pt x="343290" y="473511"/>
                  <a:pt x="349124" y="466938"/>
                </a:cubicBezTo>
                <a:cubicBezTo>
                  <a:pt x="354957" y="460364"/>
                  <a:pt x="368802" y="447054"/>
                  <a:pt x="390658" y="427005"/>
                </a:cubicBezTo>
                <a:cubicBezTo>
                  <a:pt x="412514" y="406957"/>
                  <a:pt x="427633" y="391592"/>
                  <a:pt x="436014" y="380910"/>
                </a:cubicBezTo>
                <a:cubicBezTo>
                  <a:pt x="448667" y="364806"/>
                  <a:pt x="457911" y="349400"/>
                  <a:pt x="463744" y="334692"/>
                </a:cubicBezTo>
                <a:cubicBezTo>
                  <a:pt x="469578" y="319985"/>
                  <a:pt x="472495" y="304496"/>
                  <a:pt x="472495" y="288228"/>
                </a:cubicBezTo>
                <a:cubicBezTo>
                  <a:pt x="472495" y="259634"/>
                  <a:pt x="462307" y="235724"/>
                  <a:pt x="441930" y="216497"/>
                </a:cubicBezTo>
                <a:cubicBezTo>
                  <a:pt x="421552" y="197270"/>
                  <a:pt x="393534" y="187657"/>
                  <a:pt x="357874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25"/>
          </p:nvPr>
        </p:nvSpPr>
        <p:spPr bwMode="gray">
          <a:xfrm>
            <a:off x="371475" y="410431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2698" y="187657"/>
                </a:moveTo>
                <a:cubicBezTo>
                  <a:pt x="332814" y="187657"/>
                  <a:pt x="314861" y="191396"/>
                  <a:pt x="298838" y="198873"/>
                </a:cubicBezTo>
                <a:cubicBezTo>
                  <a:pt x="282816" y="206350"/>
                  <a:pt x="270327" y="216620"/>
                  <a:pt x="261371" y="229685"/>
                </a:cubicBezTo>
                <a:cubicBezTo>
                  <a:pt x="252415" y="242749"/>
                  <a:pt x="245718" y="260209"/>
                  <a:pt x="241281" y="282065"/>
                </a:cubicBezTo>
                <a:lnTo>
                  <a:pt x="305124" y="292911"/>
                </a:lnTo>
                <a:cubicBezTo>
                  <a:pt x="306932" y="277135"/>
                  <a:pt x="312026" y="265139"/>
                  <a:pt x="320407" y="256923"/>
                </a:cubicBezTo>
                <a:cubicBezTo>
                  <a:pt x="328788" y="248706"/>
                  <a:pt x="338894" y="244598"/>
                  <a:pt x="350726" y="244598"/>
                </a:cubicBezTo>
                <a:cubicBezTo>
                  <a:pt x="362722" y="244598"/>
                  <a:pt x="372335" y="248213"/>
                  <a:pt x="379566" y="255444"/>
                </a:cubicBezTo>
                <a:cubicBezTo>
                  <a:pt x="386796" y="262674"/>
                  <a:pt x="390412" y="272370"/>
                  <a:pt x="390412" y="284530"/>
                </a:cubicBezTo>
                <a:cubicBezTo>
                  <a:pt x="390412" y="298827"/>
                  <a:pt x="385482" y="310289"/>
                  <a:pt x="375622" y="318917"/>
                </a:cubicBezTo>
                <a:cubicBezTo>
                  <a:pt x="365762" y="327544"/>
                  <a:pt x="351465" y="331611"/>
                  <a:pt x="332732" y="331118"/>
                </a:cubicBezTo>
                <a:lnTo>
                  <a:pt x="325090" y="387566"/>
                </a:lnTo>
                <a:cubicBezTo>
                  <a:pt x="337415" y="384115"/>
                  <a:pt x="348014" y="382389"/>
                  <a:pt x="356888" y="382389"/>
                </a:cubicBezTo>
                <a:cubicBezTo>
                  <a:pt x="370363" y="382389"/>
                  <a:pt x="381784" y="387484"/>
                  <a:pt x="391151" y="397672"/>
                </a:cubicBezTo>
                <a:cubicBezTo>
                  <a:pt x="400518" y="407861"/>
                  <a:pt x="405202" y="421665"/>
                  <a:pt x="405202" y="439084"/>
                </a:cubicBezTo>
                <a:cubicBezTo>
                  <a:pt x="405202" y="457489"/>
                  <a:pt x="400313" y="472114"/>
                  <a:pt x="390535" y="482960"/>
                </a:cubicBezTo>
                <a:cubicBezTo>
                  <a:pt x="380757" y="493806"/>
                  <a:pt x="368720" y="499229"/>
                  <a:pt x="354423" y="499229"/>
                </a:cubicBezTo>
                <a:cubicBezTo>
                  <a:pt x="341112" y="499229"/>
                  <a:pt x="329774" y="494710"/>
                  <a:pt x="320407" y="485672"/>
                </a:cubicBezTo>
                <a:cubicBezTo>
                  <a:pt x="311040" y="476633"/>
                  <a:pt x="305288" y="463569"/>
                  <a:pt x="303152" y="446479"/>
                </a:cubicBezTo>
                <a:lnTo>
                  <a:pt x="236105" y="454613"/>
                </a:lnTo>
                <a:cubicBezTo>
                  <a:pt x="239556" y="485014"/>
                  <a:pt x="252045" y="509623"/>
                  <a:pt x="273572" y="528439"/>
                </a:cubicBezTo>
                <a:cubicBezTo>
                  <a:pt x="295100" y="547255"/>
                  <a:pt x="322214" y="556663"/>
                  <a:pt x="354916" y="556663"/>
                </a:cubicBezTo>
                <a:cubicBezTo>
                  <a:pt x="389426" y="556663"/>
                  <a:pt x="418266" y="545488"/>
                  <a:pt x="441437" y="523139"/>
                </a:cubicBezTo>
                <a:cubicBezTo>
                  <a:pt x="464607" y="500790"/>
                  <a:pt x="476193" y="473758"/>
                  <a:pt x="476193" y="442042"/>
                </a:cubicBezTo>
                <a:cubicBezTo>
                  <a:pt x="476193" y="420186"/>
                  <a:pt x="469989" y="401534"/>
                  <a:pt x="457582" y="386087"/>
                </a:cubicBezTo>
                <a:cubicBezTo>
                  <a:pt x="445175" y="370640"/>
                  <a:pt x="428619" y="360698"/>
                  <a:pt x="407913" y="356261"/>
                </a:cubicBezTo>
                <a:cubicBezTo>
                  <a:pt x="442587" y="337363"/>
                  <a:pt x="459924" y="312056"/>
                  <a:pt x="459924" y="280340"/>
                </a:cubicBezTo>
                <a:cubicBezTo>
                  <a:pt x="459924" y="257991"/>
                  <a:pt x="451461" y="237942"/>
                  <a:pt x="434535" y="220195"/>
                </a:cubicBezTo>
                <a:cubicBezTo>
                  <a:pt x="413993" y="198503"/>
                  <a:pt x="386714" y="187657"/>
                  <a:pt x="352698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26"/>
          </p:nvPr>
        </p:nvSpPr>
        <p:spPr bwMode="gray">
          <a:xfrm>
            <a:off x="371475" y="5095431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74389" y="293404"/>
                </a:moveTo>
                <a:lnTo>
                  <a:pt x="374389" y="416899"/>
                </a:lnTo>
                <a:lnTo>
                  <a:pt x="291320" y="416899"/>
                </a:lnTo>
                <a:close/>
                <a:moveTo>
                  <a:pt x="383263" y="187657"/>
                </a:moveTo>
                <a:lnTo>
                  <a:pt x="226492" y="417145"/>
                </a:lnTo>
                <a:lnTo>
                  <a:pt x="226492" y="477784"/>
                </a:lnTo>
                <a:lnTo>
                  <a:pt x="374389" y="477784"/>
                </a:lnTo>
                <a:lnTo>
                  <a:pt x="374389" y="550500"/>
                </a:lnTo>
                <a:lnTo>
                  <a:pt x="441437" y="550500"/>
                </a:lnTo>
                <a:lnTo>
                  <a:pt x="441437" y="477784"/>
                </a:lnTo>
                <a:lnTo>
                  <a:pt x="486299" y="477784"/>
                </a:lnTo>
                <a:lnTo>
                  <a:pt x="486299" y="416899"/>
                </a:lnTo>
                <a:lnTo>
                  <a:pt x="441437" y="416899"/>
                </a:lnTo>
                <a:lnTo>
                  <a:pt x="441437" y="187657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27"/>
          </p:nvPr>
        </p:nvSpPr>
        <p:spPr bwMode="gray">
          <a:xfrm>
            <a:off x="6271390" y="212207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283432" y="194066"/>
                </a:moveTo>
                <a:lnTo>
                  <a:pt x="247937" y="382143"/>
                </a:lnTo>
                <a:lnTo>
                  <a:pt x="304138" y="390277"/>
                </a:lnTo>
                <a:cubicBezTo>
                  <a:pt x="319914" y="372694"/>
                  <a:pt x="337744" y="363902"/>
                  <a:pt x="357628" y="363902"/>
                </a:cubicBezTo>
                <a:cubicBezTo>
                  <a:pt x="373568" y="363902"/>
                  <a:pt x="386509" y="369448"/>
                  <a:pt x="396451" y="380541"/>
                </a:cubicBezTo>
                <a:cubicBezTo>
                  <a:pt x="406393" y="391633"/>
                  <a:pt x="411364" y="408271"/>
                  <a:pt x="411364" y="430456"/>
                </a:cubicBezTo>
                <a:cubicBezTo>
                  <a:pt x="411364" y="454120"/>
                  <a:pt x="406352" y="471827"/>
                  <a:pt x="396328" y="483576"/>
                </a:cubicBezTo>
                <a:cubicBezTo>
                  <a:pt x="386303" y="495326"/>
                  <a:pt x="374061" y="501201"/>
                  <a:pt x="359600" y="501201"/>
                </a:cubicBezTo>
                <a:cubicBezTo>
                  <a:pt x="346946" y="501201"/>
                  <a:pt x="335772" y="496641"/>
                  <a:pt x="326076" y="487520"/>
                </a:cubicBezTo>
                <a:cubicBezTo>
                  <a:pt x="316381" y="478400"/>
                  <a:pt x="310547" y="466034"/>
                  <a:pt x="308575" y="450422"/>
                </a:cubicBezTo>
                <a:lnTo>
                  <a:pt x="239556" y="457571"/>
                </a:lnTo>
                <a:cubicBezTo>
                  <a:pt x="243664" y="487808"/>
                  <a:pt x="256235" y="511882"/>
                  <a:pt x="277270" y="529794"/>
                </a:cubicBezTo>
                <a:cubicBezTo>
                  <a:pt x="298304" y="547706"/>
                  <a:pt x="325501" y="556662"/>
                  <a:pt x="358860" y="556662"/>
                </a:cubicBezTo>
                <a:cubicBezTo>
                  <a:pt x="400600" y="556662"/>
                  <a:pt x="433220" y="540722"/>
                  <a:pt x="456719" y="508842"/>
                </a:cubicBezTo>
                <a:cubicBezTo>
                  <a:pt x="473974" y="485507"/>
                  <a:pt x="482601" y="458968"/>
                  <a:pt x="482601" y="429224"/>
                </a:cubicBezTo>
                <a:cubicBezTo>
                  <a:pt x="482601" y="393564"/>
                  <a:pt x="471920" y="364559"/>
                  <a:pt x="450557" y="342210"/>
                </a:cubicBezTo>
                <a:cubicBezTo>
                  <a:pt x="429194" y="319861"/>
                  <a:pt x="403147" y="308687"/>
                  <a:pt x="372417" y="308687"/>
                </a:cubicBezTo>
                <a:cubicBezTo>
                  <a:pt x="356313" y="308687"/>
                  <a:pt x="340537" y="312549"/>
                  <a:pt x="325090" y="320272"/>
                </a:cubicBezTo>
                <a:lnTo>
                  <a:pt x="335936" y="258895"/>
                </a:lnTo>
                <a:lnTo>
                  <a:pt x="466579" y="258895"/>
                </a:lnTo>
                <a:lnTo>
                  <a:pt x="466579" y="194066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28"/>
          </p:nvPr>
        </p:nvSpPr>
        <p:spPr bwMode="gray">
          <a:xfrm>
            <a:off x="6271390" y="311319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63790" y="366860"/>
                </a:moveTo>
                <a:cubicBezTo>
                  <a:pt x="377594" y="366860"/>
                  <a:pt x="389097" y="372324"/>
                  <a:pt x="398300" y="383252"/>
                </a:cubicBezTo>
                <a:cubicBezTo>
                  <a:pt x="407502" y="394180"/>
                  <a:pt x="412103" y="411394"/>
                  <a:pt x="412103" y="434893"/>
                </a:cubicBezTo>
                <a:cubicBezTo>
                  <a:pt x="412103" y="457735"/>
                  <a:pt x="407831" y="474168"/>
                  <a:pt x="399286" y="484192"/>
                </a:cubicBezTo>
                <a:cubicBezTo>
                  <a:pt x="390740" y="494217"/>
                  <a:pt x="380059" y="499229"/>
                  <a:pt x="367241" y="499229"/>
                </a:cubicBezTo>
                <a:cubicBezTo>
                  <a:pt x="353930" y="499229"/>
                  <a:pt x="342098" y="493107"/>
                  <a:pt x="331746" y="480865"/>
                </a:cubicBezTo>
                <a:cubicBezTo>
                  <a:pt x="321393" y="468622"/>
                  <a:pt x="316216" y="451244"/>
                  <a:pt x="316216" y="428731"/>
                </a:cubicBezTo>
                <a:cubicBezTo>
                  <a:pt x="316216" y="408354"/>
                  <a:pt x="320818" y="392948"/>
                  <a:pt x="330020" y="382513"/>
                </a:cubicBezTo>
                <a:cubicBezTo>
                  <a:pt x="339223" y="372078"/>
                  <a:pt x="350479" y="366860"/>
                  <a:pt x="363790" y="366860"/>
                </a:cubicBezTo>
                <a:close/>
                <a:moveTo>
                  <a:pt x="370692" y="187657"/>
                </a:moveTo>
                <a:cubicBezTo>
                  <a:pt x="331581" y="187657"/>
                  <a:pt x="299783" y="202283"/>
                  <a:pt x="275298" y="231533"/>
                </a:cubicBezTo>
                <a:cubicBezTo>
                  <a:pt x="250813" y="260784"/>
                  <a:pt x="238570" y="308523"/>
                  <a:pt x="238570" y="374748"/>
                </a:cubicBezTo>
                <a:cubicBezTo>
                  <a:pt x="238570" y="439330"/>
                  <a:pt x="250320" y="485795"/>
                  <a:pt x="273819" y="514142"/>
                </a:cubicBezTo>
                <a:cubicBezTo>
                  <a:pt x="297318" y="542489"/>
                  <a:pt x="327309" y="556662"/>
                  <a:pt x="363790" y="556662"/>
                </a:cubicBezTo>
                <a:cubicBezTo>
                  <a:pt x="397807" y="556662"/>
                  <a:pt x="425661" y="545488"/>
                  <a:pt x="447352" y="523139"/>
                </a:cubicBezTo>
                <a:cubicBezTo>
                  <a:pt x="469044" y="500790"/>
                  <a:pt x="479890" y="471128"/>
                  <a:pt x="479890" y="434154"/>
                </a:cubicBezTo>
                <a:cubicBezTo>
                  <a:pt x="479890" y="399316"/>
                  <a:pt x="469578" y="370886"/>
                  <a:pt x="448955" y="348866"/>
                </a:cubicBezTo>
                <a:cubicBezTo>
                  <a:pt x="428331" y="326845"/>
                  <a:pt x="403558" y="315835"/>
                  <a:pt x="374636" y="315835"/>
                </a:cubicBezTo>
                <a:cubicBezTo>
                  <a:pt x="349000" y="315835"/>
                  <a:pt x="327555" y="326024"/>
                  <a:pt x="310300" y="346401"/>
                </a:cubicBezTo>
                <a:cubicBezTo>
                  <a:pt x="312930" y="304825"/>
                  <a:pt x="319297" y="277464"/>
                  <a:pt x="329404" y="264318"/>
                </a:cubicBezTo>
                <a:cubicBezTo>
                  <a:pt x="339510" y="251171"/>
                  <a:pt x="351876" y="244598"/>
                  <a:pt x="366502" y="244598"/>
                </a:cubicBezTo>
                <a:cubicBezTo>
                  <a:pt x="377512" y="244598"/>
                  <a:pt x="386468" y="247884"/>
                  <a:pt x="393370" y="254458"/>
                </a:cubicBezTo>
                <a:cubicBezTo>
                  <a:pt x="400272" y="261031"/>
                  <a:pt x="404544" y="271219"/>
                  <a:pt x="406188" y="285023"/>
                </a:cubicBezTo>
                <a:lnTo>
                  <a:pt x="473235" y="277628"/>
                </a:lnTo>
                <a:cubicBezTo>
                  <a:pt x="468305" y="248377"/>
                  <a:pt x="456843" y="226069"/>
                  <a:pt x="438848" y="210704"/>
                </a:cubicBezTo>
                <a:cubicBezTo>
                  <a:pt x="420854" y="195340"/>
                  <a:pt x="398135" y="187657"/>
                  <a:pt x="370692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29"/>
          </p:nvPr>
        </p:nvSpPr>
        <p:spPr bwMode="gray">
          <a:xfrm>
            <a:off x="6271390" y="410431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238570" y="194066"/>
                </a:moveTo>
                <a:lnTo>
                  <a:pt x="238570" y="258402"/>
                </a:lnTo>
                <a:lnTo>
                  <a:pt x="396081" y="258402"/>
                </a:lnTo>
                <a:cubicBezTo>
                  <a:pt x="363544" y="299320"/>
                  <a:pt x="337538" y="345744"/>
                  <a:pt x="318065" y="397672"/>
                </a:cubicBezTo>
                <a:cubicBezTo>
                  <a:pt x="298592" y="449601"/>
                  <a:pt x="288280" y="500543"/>
                  <a:pt x="287130" y="550500"/>
                </a:cubicBezTo>
                <a:lnTo>
                  <a:pt x="353930" y="550500"/>
                </a:lnTo>
                <a:cubicBezTo>
                  <a:pt x="353766" y="518620"/>
                  <a:pt x="358983" y="482426"/>
                  <a:pt x="369583" y="441918"/>
                </a:cubicBezTo>
                <a:cubicBezTo>
                  <a:pt x="380182" y="401411"/>
                  <a:pt x="395588" y="363163"/>
                  <a:pt x="415801" y="327174"/>
                </a:cubicBezTo>
                <a:cubicBezTo>
                  <a:pt x="436014" y="291186"/>
                  <a:pt x="455898" y="263578"/>
                  <a:pt x="475453" y="244351"/>
                </a:cubicBezTo>
                <a:lnTo>
                  <a:pt x="475453" y="194066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9" name="Text Placeholder 48"/>
          <p:cNvSpPr>
            <a:spLocks noGrp="1"/>
          </p:cNvSpPr>
          <p:nvPr>
            <p:ph type="body" sz="quarter" idx="30"/>
          </p:nvPr>
        </p:nvSpPr>
        <p:spPr bwMode="gray">
          <a:xfrm>
            <a:off x="6271390" y="5095431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6149" y="385101"/>
                </a:moveTo>
                <a:cubicBezTo>
                  <a:pt x="370774" y="385101"/>
                  <a:pt x="382852" y="390236"/>
                  <a:pt x="392384" y="400507"/>
                </a:cubicBezTo>
                <a:cubicBezTo>
                  <a:pt x="401915" y="410778"/>
                  <a:pt x="406681" y="424376"/>
                  <a:pt x="406681" y="441302"/>
                </a:cubicBezTo>
                <a:cubicBezTo>
                  <a:pt x="406681" y="460693"/>
                  <a:pt x="401997" y="475524"/>
                  <a:pt x="392630" y="485795"/>
                </a:cubicBezTo>
                <a:cubicBezTo>
                  <a:pt x="383263" y="496065"/>
                  <a:pt x="371431" y="501201"/>
                  <a:pt x="357135" y="501201"/>
                </a:cubicBezTo>
                <a:cubicBezTo>
                  <a:pt x="342509" y="501201"/>
                  <a:pt x="330308" y="495860"/>
                  <a:pt x="320530" y="485179"/>
                </a:cubicBezTo>
                <a:cubicBezTo>
                  <a:pt x="310752" y="474497"/>
                  <a:pt x="305863" y="459625"/>
                  <a:pt x="305863" y="440563"/>
                </a:cubicBezTo>
                <a:cubicBezTo>
                  <a:pt x="305863" y="426923"/>
                  <a:pt x="310013" y="414270"/>
                  <a:pt x="318311" y="402602"/>
                </a:cubicBezTo>
                <a:cubicBezTo>
                  <a:pt x="326610" y="390935"/>
                  <a:pt x="339223" y="385101"/>
                  <a:pt x="356149" y="385101"/>
                </a:cubicBezTo>
                <a:close/>
                <a:moveTo>
                  <a:pt x="355902" y="242626"/>
                </a:moveTo>
                <a:cubicBezTo>
                  <a:pt x="368720" y="242626"/>
                  <a:pt x="379032" y="246529"/>
                  <a:pt x="386838" y="254334"/>
                </a:cubicBezTo>
                <a:cubicBezTo>
                  <a:pt x="394643" y="262140"/>
                  <a:pt x="398546" y="272534"/>
                  <a:pt x="398546" y="285516"/>
                </a:cubicBezTo>
                <a:cubicBezTo>
                  <a:pt x="398546" y="299320"/>
                  <a:pt x="394602" y="310125"/>
                  <a:pt x="386714" y="317931"/>
                </a:cubicBezTo>
                <a:cubicBezTo>
                  <a:pt x="378826" y="325736"/>
                  <a:pt x="368309" y="329639"/>
                  <a:pt x="355163" y="329639"/>
                </a:cubicBezTo>
                <a:cubicBezTo>
                  <a:pt x="342181" y="329639"/>
                  <a:pt x="331787" y="325777"/>
                  <a:pt x="323981" y="318054"/>
                </a:cubicBezTo>
                <a:cubicBezTo>
                  <a:pt x="316175" y="310330"/>
                  <a:pt x="312272" y="299567"/>
                  <a:pt x="312272" y="285763"/>
                </a:cubicBezTo>
                <a:cubicBezTo>
                  <a:pt x="312272" y="272781"/>
                  <a:pt x="316216" y="262346"/>
                  <a:pt x="324104" y="254458"/>
                </a:cubicBezTo>
                <a:cubicBezTo>
                  <a:pt x="331992" y="246570"/>
                  <a:pt x="342591" y="242626"/>
                  <a:pt x="355902" y="242626"/>
                </a:cubicBezTo>
                <a:close/>
                <a:moveTo>
                  <a:pt x="355163" y="187657"/>
                </a:moveTo>
                <a:cubicBezTo>
                  <a:pt x="320489" y="187657"/>
                  <a:pt x="293744" y="196449"/>
                  <a:pt x="274928" y="214032"/>
                </a:cubicBezTo>
                <a:cubicBezTo>
                  <a:pt x="256112" y="231616"/>
                  <a:pt x="246704" y="253883"/>
                  <a:pt x="246704" y="280833"/>
                </a:cubicBezTo>
                <a:cubicBezTo>
                  <a:pt x="246704" y="296609"/>
                  <a:pt x="250771" y="311111"/>
                  <a:pt x="258906" y="324340"/>
                </a:cubicBezTo>
                <a:cubicBezTo>
                  <a:pt x="267040" y="337568"/>
                  <a:pt x="280063" y="347962"/>
                  <a:pt x="297976" y="355521"/>
                </a:cubicBezTo>
                <a:cubicBezTo>
                  <a:pt x="277105" y="364395"/>
                  <a:pt x="261823" y="377008"/>
                  <a:pt x="252127" y="393359"/>
                </a:cubicBezTo>
                <a:cubicBezTo>
                  <a:pt x="242432" y="409709"/>
                  <a:pt x="237584" y="427663"/>
                  <a:pt x="237584" y="447218"/>
                </a:cubicBezTo>
                <a:cubicBezTo>
                  <a:pt x="237584" y="482714"/>
                  <a:pt x="250484" y="510650"/>
                  <a:pt x="276284" y="531027"/>
                </a:cubicBezTo>
                <a:cubicBezTo>
                  <a:pt x="298140" y="548282"/>
                  <a:pt x="325501" y="556909"/>
                  <a:pt x="358367" y="556909"/>
                </a:cubicBezTo>
                <a:cubicBezTo>
                  <a:pt x="393698" y="556909"/>
                  <a:pt x="422004" y="546474"/>
                  <a:pt x="443285" y="525604"/>
                </a:cubicBezTo>
                <a:cubicBezTo>
                  <a:pt x="464566" y="504734"/>
                  <a:pt x="475207" y="477619"/>
                  <a:pt x="475207" y="444260"/>
                </a:cubicBezTo>
                <a:cubicBezTo>
                  <a:pt x="475207" y="424047"/>
                  <a:pt x="469989" y="406217"/>
                  <a:pt x="459554" y="390770"/>
                </a:cubicBezTo>
                <a:cubicBezTo>
                  <a:pt x="449119" y="375323"/>
                  <a:pt x="433877" y="363574"/>
                  <a:pt x="413829" y="355521"/>
                </a:cubicBezTo>
                <a:cubicBezTo>
                  <a:pt x="429605" y="348619"/>
                  <a:pt x="441847" y="338636"/>
                  <a:pt x="450557" y="325572"/>
                </a:cubicBezTo>
                <a:cubicBezTo>
                  <a:pt x="459266" y="312508"/>
                  <a:pt x="463621" y="297595"/>
                  <a:pt x="463621" y="280833"/>
                </a:cubicBezTo>
                <a:cubicBezTo>
                  <a:pt x="463621" y="253883"/>
                  <a:pt x="454131" y="231616"/>
                  <a:pt x="435151" y="214032"/>
                </a:cubicBezTo>
                <a:cubicBezTo>
                  <a:pt x="416171" y="196449"/>
                  <a:pt x="389508" y="187657"/>
                  <a:pt x="355163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32"/>
          </p:nvPr>
        </p:nvSpPr>
        <p:spPr bwMode="gray"/>
        <p:txBody>
          <a:bodyPr/>
          <a:lstStyle/>
          <a:p>
            <a:fld id="{AE1BBC79-E77E-4210-8AF0-C4F538ADB5A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701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 Placeholder 100"/>
          <p:cNvSpPr>
            <a:spLocks noGrp="1"/>
          </p:cNvSpPr>
          <p:nvPr>
            <p:ph type="body" sz="quarter" idx="47"/>
          </p:nvPr>
        </p:nvSpPr>
        <p:spPr bwMode="gray">
          <a:xfrm>
            <a:off x="-2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6676 h 4536676"/>
              <a:gd name="connsiteX3" fmla="*/ 11110413 w 12190413"/>
              <a:gd name="connsiteY3" fmla="*/ 4536676 h 4536676"/>
              <a:gd name="connsiteX4" fmla="*/ 0 w 12190413"/>
              <a:gd name="connsiteY4" fmla="*/ 4536676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6676"/>
                </a:lnTo>
                <a:lnTo>
                  <a:pt x="11110413" y="4536676"/>
                </a:lnTo>
                <a:lnTo>
                  <a:pt x="0" y="4536676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-1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1012981 w 12190413"/>
              <a:gd name="connsiteY6" fmla="*/ 4536676 h 4536676"/>
              <a:gd name="connsiteX7" fmla="*/ 10611779 w 12190413"/>
              <a:gd name="connsiteY7" fmla="*/ 4536676 h 4536676"/>
              <a:gd name="connsiteX8" fmla="*/ 0 w 12190413"/>
              <a:gd name="connsiteY8" fmla="*/ 4536676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0611779 w 12190413"/>
              <a:gd name="connsiteY6" fmla="*/ 4536676 h 4536676"/>
              <a:gd name="connsiteX7" fmla="*/ 0 w 12190413"/>
              <a:gd name="connsiteY7" fmla="*/ 4536676 h 4536676"/>
              <a:gd name="connsiteX8" fmla="*/ 0 w 12190413"/>
              <a:gd name="connsiteY8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0 w 12190413"/>
              <a:gd name="connsiteY6" fmla="*/ 4536676 h 4536676"/>
              <a:gd name="connsiteX7" fmla="*/ 0 w 12190413"/>
              <a:gd name="connsiteY7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458269 h 4536676"/>
              <a:gd name="connsiteX4" fmla="*/ 11112006 w 12190413"/>
              <a:gd name="connsiteY4" fmla="*/ 4536676 h 4536676"/>
              <a:gd name="connsiteX5" fmla="*/ 0 w 12190413"/>
              <a:gd name="connsiteY5" fmla="*/ 4536676 h 4536676"/>
              <a:gd name="connsiteX6" fmla="*/ 0 w 12190413"/>
              <a:gd name="connsiteY6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8269 h 4536676"/>
              <a:gd name="connsiteX3" fmla="*/ 11112006 w 12190413"/>
              <a:gd name="connsiteY3" fmla="*/ 4536676 h 4536676"/>
              <a:gd name="connsiteX4" fmla="*/ 0 w 12190413"/>
              <a:gd name="connsiteY4" fmla="*/ 4536676 h 4536676"/>
              <a:gd name="connsiteX5" fmla="*/ 0 w 12190413"/>
              <a:gd name="connsiteY5" fmla="*/ 0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8269"/>
                </a:lnTo>
                <a:lnTo>
                  <a:pt x="11112006" y="4536676"/>
                </a:lnTo>
                <a:lnTo>
                  <a:pt x="0" y="453667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 bwMode="gray">
          <a:xfrm>
            <a:off x="979214" y="1860961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979214" y="2401854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979214" y="2942747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979214" y="3483640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979214" y="4024533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979214" y="4565426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979214" y="5106319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3" name="Text Placeholder 9"/>
          <p:cNvSpPr>
            <a:spLocks noGrp="1"/>
          </p:cNvSpPr>
          <p:nvPr>
            <p:ph type="body" sz="quarter" idx="22"/>
          </p:nvPr>
        </p:nvSpPr>
        <p:spPr bwMode="gray">
          <a:xfrm>
            <a:off x="979214" y="5647214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23"/>
          </p:nvPr>
        </p:nvSpPr>
        <p:spPr bwMode="gray">
          <a:xfrm>
            <a:off x="6271419" y="1860961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4"/>
          </p:nvPr>
        </p:nvSpPr>
        <p:spPr bwMode="gray">
          <a:xfrm>
            <a:off x="6271419" y="2401854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/>
          </p:nvPr>
        </p:nvSpPr>
        <p:spPr bwMode="gray">
          <a:xfrm>
            <a:off x="6271419" y="2942747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6"/>
          </p:nvPr>
        </p:nvSpPr>
        <p:spPr bwMode="gray">
          <a:xfrm>
            <a:off x="6271419" y="3483640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7"/>
          </p:nvPr>
        </p:nvSpPr>
        <p:spPr bwMode="gray">
          <a:xfrm>
            <a:off x="6271419" y="4024533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28"/>
          </p:nvPr>
        </p:nvSpPr>
        <p:spPr bwMode="gray">
          <a:xfrm>
            <a:off x="6271419" y="4565426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9"/>
          </p:nvPr>
        </p:nvSpPr>
        <p:spPr bwMode="gray">
          <a:xfrm>
            <a:off x="6271419" y="5106319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1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6271419" y="5647214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2" name="Text Placeholder 9"/>
          <p:cNvSpPr>
            <a:spLocks noGrp="1"/>
          </p:cNvSpPr>
          <p:nvPr>
            <p:ph type="body" sz="quarter" idx="31"/>
          </p:nvPr>
        </p:nvSpPr>
        <p:spPr bwMode="gray">
          <a:xfrm>
            <a:off x="8431419" y="1860961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8431419" y="2401854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5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8431419" y="2942747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7" name="Text Placeholder 9"/>
          <p:cNvSpPr>
            <a:spLocks noGrp="1"/>
          </p:cNvSpPr>
          <p:nvPr>
            <p:ph type="body" sz="quarter" idx="34"/>
          </p:nvPr>
        </p:nvSpPr>
        <p:spPr bwMode="gray">
          <a:xfrm>
            <a:off x="8431419" y="3483640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35"/>
          </p:nvPr>
        </p:nvSpPr>
        <p:spPr bwMode="gray">
          <a:xfrm>
            <a:off x="8431419" y="4024533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8431419" y="4565426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37"/>
          </p:nvPr>
        </p:nvSpPr>
        <p:spPr bwMode="gray">
          <a:xfrm>
            <a:off x="8431419" y="5106319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1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8431419" y="5647214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6" name="Text Placeholder 85"/>
          <p:cNvSpPr>
            <a:spLocks noGrp="1"/>
          </p:cNvSpPr>
          <p:nvPr>
            <p:ph type="body" sz="quarter" idx="39"/>
          </p:nvPr>
        </p:nvSpPr>
        <p:spPr bwMode="gray">
          <a:xfrm>
            <a:off x="371475" y="1877628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9588" y="90406"/>
                </a:moveTo>
                <a:cubicBezTo>
                  <a:pt x="175570" y="101624"/>
                  <a:pt x="168161" y="111439"/>
                  <a:pt x="157362" y="119853"/>
                </a:cubicBezTo>
                <a:cubicBezTo>
                  <a:pt x="146562" y="128266"/>
                  <a:pt x="136558" y="133980"/>
                  <a:pt x="127350" y="136993"/>
                </a:cubicBezTo>
                <a:lnTo>
                  <a:pt x="127350" y="169015"/>
                </a:lnTo>
                <a:cubicBezTo>
                  <a:pt x="144846" y="163238"/>
                  <a:pt x="160041" y="154323"/>
                  <a:pt x="172933" y="142268"/>
                </a:cubicBezTo>
                <a:lnTo>
                  <a:pt x="172933" y="275250"/>
                </a:lnTo>
                <a:lnTo>
                  <a:pt x="208219" y="275250"/>
                </a:lnTo>
                <a:lnTo>
                  <a:pt x="208219" y="90406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7" name="Text Placeholder 86"/>
          <p:cNvSpPr>
            <a:spLocks noGrp="1"/>
          </p:cNvSpPr>
          <p:nvPr>
            <p:ph type="body" sz="quarter" idx="40"/>
          </p:nvPr>
        </p:nvSpPr>
        <p:spPr bwMode="gray">
          <a:xfrm>
            <a:off x="371475" y="2418521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8709" y="90406"/>
                </a:moveTo>
                <a:cubicBezTo>
                  <a:pt x="162133" y="90406"/>
                  <a:pt x="148320" y="94633"/>
                  <a:pt x="137270" y="103088"/>
                </a:cubicBezTo>
                <a:cubicBezTo>
                  <a:pt x="126219" y="111544"/>
                  <a:pt x="119648" y="125482"/>
                  <a:pt x="117555" y="144905"/>
                </a:cubicBezTo>
                <a:lnTo>
                  <a:pt x="152715" y="148421"/>
                </a:lnTo>
                <a:cubicBezTo>
                  <a:pt x="153385" y="138124"/>
                  <a:pt x="155897" y="130757"/>
                  <a:pt x="160250" y="126320"/>
                </a:cubicBezTo>
                <a:cubicBezTo>
                  <a:pt x="164603" y="121883"/>
                  <a:pt x="170463" y="119664"/>
                  <a:pt x="177830" y="119664"/>
                </a:cubicBezTo>
                <a:cubicBezTo>
                  <a:pt x="185281" y="119664"/>
                  <a:pt x="191120" y="121778"/>
                  <a:pt x="195348" y="126006"/>
                </a:cubicBezTo>
                <a:cubicBezTo>
                  <a:pt x="199575" y="130233"/>
                  <a:pt x="201689" y="136282"/>
                  <a:pt x="201689" y="144151"/>
                </a:cubicBezTo>
                <a:cubicBezTo>
                  <a:pt x="201689" y="151267"/>
                  <a:pt x="199261" y="158466"/>
                  <a:pt x="194406" y="165750"/>
                </a:cubicBezTo>
                <a:cubicBezTo>
                  <a:pt x="190806" y="171024"/>
                  <a:pt x="181053" y="181070"/>
                  <a:pt x="165147" y="195887"/>
                </a:cubicBezTo>
                <a:cubicBezTo>
                  <a:pt x="145390" y="214221"/>
                  <a:pt x="132163" y="228934"/>
                  <a:pt x="125466" y="240027"/>
                </a:cubicBezTo>
                <a:cubicBezTo>
                  <a:pt x="118769" y="251119"/>
                  <a:pt x="114750" y="262860"/>
                  <a:pt x="113411" y="275250"/>
                </a:cubicBezTo>
                <a:lnTo>
                  <a:pt x="237101" y="275250"/>
                </a:lnTo>
                <a:lnTo>
                  <a:pt x="237101" y="242475"/>
                </a:lnTo>
                <a:lnTo>
                  <a:pt x="167031" y="242475"/>
                </a:lnTo>
                <a:cubicBezTo>
                  <a:pt x="168873" y="239294"/>
                  <a:pt x="171279" y="236029"/>
                  <a:pt x="174251" y="232681"/>
                </a:cubicBezTo>
                <a:cubicBezTo>
                  <a:pt x="177223" y="229332"/>
                  <a:pt x="184276" y="222551"/>
                  <a:pt x="195411" y="212338"/>
                </a:cubicBezTo>
                <a:cubicBezTo>
                  <a:pt x="206545" y="202124"/>
                  <a:pt x="214247" y="194297"/>
                  <a:pt x="218516" y="188855"/>
                </a:cubicBezTo>
                <a:cubicBezTo>
                  <a:pt x="224962" y="180651"/>
                  <a:pt x="229671" y="172803"/>
                  <a:pt x="232643" y="165310"/>
                </a:cubicBezTo>
                <a:cubicBezTo>
                  <a:pt x="235615" y="157818"/>
                  <a:pt x="237101" y="149927"/>
                  <a:pt x="237101" y="141640"/>
                </a:cubicBezTo>
                <a:cubicBezTo>
                  <a:pt x="237101" y="127073"/>
                  <a:pt x="231911" y="114892"/>
                  <a:pt x="221530" y="105098"/>
                </a:cubicBezTo>
                <a:cubicBezTo>
                  <a:pt x="211149" y="95303"/>
                  <a:pt x="196876" y="90406"/>
                  <a:pt x="178709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8" name="Text Placeholder 87"/>
          <p:cNvSpPr>
            <a:spLocks noGrp="1"/>
          </p:cNvSpPr>
          <p:nvPr>
            <p:ph type="body" sz="quarter" idx="41"/>
          </p:nvPr>
        </p:nvSpPr>
        <p:spPr bwMode="gray">
          <a:xfrm>
            <a:off x="371475" y="2959414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072" y="90406"/>
                </a:moveTo>
                <a:cubicBezTo>
                  <a:pt x="165943" y="90406"/>
                  <a:pt x="156797" y="92310"/>
                  <a:pt x="148634" y="96119"/>
                </a:cubicBezTo>
                <a:cubicBezTo>
                  <a:pt x="140472" y="99928"/>
                  <a:pt x="134110" y="105160"/>
                  <a:pt x="129547" y="111816"/>
                </a:cubicBezTo>
                <a:cubicBezTo>
                  <a:pt x="124985" y="118471"/>
                  <a:pt x="121573" y="127366"/>
                  <a:pt x="119313" y="138500"/>
                </a:cubicBezTo>
                <a:lnTo>
                  <a:pt x="151836" y="144026"/>
                </a:lnTo>
                <a:cubicBezTo>
                  <a:pt x="152757" y="135989"/>
                  <a:pt x="155353" y="129878"/>
                  <a:pt x="159622" y="125692"/>
                </a:cubicBezTo>
                <a:cubicBezTo>
                  <a:pt x="163892" y="121506"/>
                  <a:pt x="169040" y="119413"/>
                  <a:pt x="175068" y="119413"/>
                </a:cubicBezTo>
                <a:cubicBezTo>
                  <a:pt x="181179" y="119413"/>
                  <a:pt x="186076" y="121255"/>
                  <a:pt x="189760" y="124938"/>
                </a:cubicBezTo>
                <a:cubicBezTo>
                  <a:pt x="193443" y="128622"/>
                  <a:pt x="195285" y="133561"/>
                  <a:pt x="195285" y="139756"/>
                </a:cubicBezTo>
                <a:cubicBezTo>
                  <a:pt x="195285" y="147039"/>
                  <a:pt x="192773" y="152878"/>
                  <a:pt x="187751" y="157274"/>
                </a:cubicBezTo>
                <a:cubicBezTo>
                  <a:pt x="182728" y="161669"/>
                  <a:pt x="175444" y="163741"/>
                  <a:pt x="165901" y="163489"/>
                </a:cubicBezTo>
                <a:lnTo>
                  <a:pt x="162008" y="192246"/>
                </a:lnTo>
                <a:cubicBezTo>
                  <a:pt x="168287" y="190488"/>
                  <a:pt x="173686" y="189609"/>
                  <a:pt x="178207" y="189609"/>
                </a:cubicBezTo>
                <a:cubicBezTo>
                  <a:pt x="185072" y="189609"/>
                  <a:pt x="190890" y="192204"/>
                  <a:pt x="195662" y="197394"/>
                </a:cubicBezTo>
                <a:cubicBezTo>
                  <a:pt x="200433" y="202585"/>
                  <a:pt x="202819" y="209617"/>
                  <a:pt x="202819" y="218491"/>
                </a:cubicBezTo>
                <a:cubicBezTo>
                  <a:pt x="202819" y="227867"/>
                  <a:pt x="200329" y="235318"/>
                  <a:pt x="195348" y="240843"/>
                </a:cubicBezTo>
                <a:cubicBezTo>
                  <a:pt x="190367" y="246368"/>
                  <a:pt x="184234" y="249131"/>
                  <a:pt x="176951" y="249131"/>
                </a:cubicBezTo>
                <a:cubicBezTo>
                  <a:pt x="170170" y="249131"/>
                  <a:pt x="164394" y="246829"/>
                  <a:pt x="159622" y="242224"/>
                </a:cubicBezTo>
                <a:cubicBezTo>
                  <a:pt x="154850" y="237620"/>
                  <a:pt x="151920" y="230964"/>
                  <a:pt x="150832" y="222258"/>
                </a:cubicBezTo>
                <a:lnTo>
                  <a:pt x="116676" y="226402"/>
                </a:lnTo>
                <a:cubicBezTo>
                  <a:pt x="118434" y="241889"/>
                  <a:pt x="124796" y="254426"/>
                  <a:pt x="135763" y="264011"/>
                </a:cubicBezTo>
                <a:cubicBezTo>
                  <a:pt x="146730" y="273597"/>
                  <a:pt x="160543" y="278389"/>
                  <a:pt x="177202" y="278389"/>
                </a:cubicBezTo>
                <a:cubicBezTo>
                  <a:pt x="194783" y="278389"/>
                  <a:pt x="209475" y="272697"/>
                  <a:pt x="221279" y="261311"/>
                </a:cubicBezTo>
                <a:cubicBezTo>
                  <a:pt x="233083" y="249926"/>
                  <a:pt x="238985" y="236155"/>
                  <a:pt x="238985" y="219998"/>
                </a:cubicBezTo>
                <a:cubicBezTo>
                  <a:pt x="238985" y="208863"/>
                  <a:pt x="235824" y="199362"/>
                  <a:pt x="229504" y="191492"/>
                </a:cubicBezTo>
                <a:cubicBezTo>
                  <a:pt x="223183" y="183623"/>
                  <a:pt x="214749" y="178558"/>
                  <a:pt x="204201" y="176298"/>
                </a:cubicBezTo>
                <a:cubicBezTo>
                  <a:pt x="221865" y="166671"/>
                  <a:pt x="230697" y="153778"/>
                  <a:pt x="230697" y="137621"/>
                </a:cubicBezTo>
                <a:cubicBezTo>
                  <a:pt x="230697" y="126236"/>
                  <a:pt x="226385" y="116023"/>
                  <a:pt x="217763" y="106981"/>
                </a:cubicBezTo>
                <a:cubicBezTo>
                  <a:pt x="207298" y="95931"/>
                  <a:pt x="193401" y="90406"/>
                  <a:pt x="176072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9" name="Text Placeholder 88"/>
          <p:cNvSpPr>
            <a:spLocks noGrp="1"/>
          </p:cNvSpPr>
          <p:nvPr>
            <p:ph type="body" sz="quarter" idx="42"/>
          </p:nvPr>
        </p:nvSpPr>
        <p:spPr bwMode="gray">
          <a:xfrm>
            <a:off x="371475" y="3500307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123" y="144277"/>
                </a:moveTo>
                <a:lnTo>
                  <a:pt x="187123" y="207189"/>
                </a:lnTo>
                <a:lnTo>
                  <a:pt x="144804" y="207189"/>
                </a:lnTo>
                <a:close/>
                <a:moveTo>
                  <a:pt x="191643" y="90406"/>
                </a:moveTo>
                <a:lnTo>
                  <a:pt x="111778" y="207315"/>
                </a:lnTo>
                <a:lnTo>
                  <a:pt x="111778" y="238206"/>
                </a:lnTo>
                <a:lnTo>
                  <a:pt x="187123" y="238206"/>
                </a:lnTo>
                <a:lnTo>
                  <a:pt x="187123" y="275250"/>
                </a:lnTo>
                <a:lnTo>
                  <a:pt x="221279" y="275250"/>
                </a:lnTo>
                <a:lnTo>
                  <a:pt x="221279" y="238206"/>
                </a:lnTo>
                <a:lnTo>
                  <a:pt x="244133" y="238206"/>
                </a:lnTo>
                <a:lnTo>
                  <a:pt x="244133" y="207189"/>
                </a:lnTo>
                <a:lnTo>
                  <a:pt x="221279" y="207189"/>
                </a:lnTo>
                <a:lnTo>
                  <a:pt x="221279" y="90406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0" name="Text Placeholder 89"/>
          <p:cNvSpPr>
            <a:spLocks noGrp="1"/>
          </p:cNvSpPr>
          <p:nvPr>
            <p:ph type="body" sz="quarter" idx="43"/>
          </p:nvPr>
        </p:nvSpPr>
        <p:spPr bwMode="gray">
          <a:xfrm>
            <a:off x="371475" y="4041200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40786" y="93670"/>
                </a:moveTo>
                <a:lnTo>
                  <a:pt x="122703" y="189483"/>
                </a:lnTo>
                <a:lnTo>
                  <a:pt x="151334" y="193627"/>
                </a:lnTo>
                <a:cubicBezTo>
                  <a:pt x="159371" y="184670"/>
                  <a:pt x="168454" y="180191"/>
                  <a:pt x="178584" y="180191"/>
                </a:cubicBezTo>
                <a:cubicBezTo>
                  <a:pt x="186704" y="180191"/>
                  <a:pt x="193297" y="183016"/>
                  <a:pt x="198362" y="188667"/>
                </a:cubicBezTo>
                <a:cubicBezTo>
                  <a:pt x="203426" y="194318"/>
                  <a:pt x="205959" y="202794"/>
                  <a:pt x="205959" y="214096"/>
                </a:cubicBezTo>
                <a:cubicBezTo>
                  <a:pt x="205959" y="226151"/>
                  <a:pt x="203405" y="235171"/>
                  <a:pt x="198299" y="241157"/>
                </a:cubicBezTo>
                <a:cubicBezTo>
                  <a:pt x="193192" y="247142"/>
                  <a:pt x="186955" y="250135"/>
                  <a:pt x="179588" y="250135"/>
                </a:cubicBezTo>
                <a:cubicBezTo>
                  <a:pt x="173142" y="250135"/>
                  <a:pt x="167449" y="247812"/>
                  <a:pt x="162510" y="243166"/>
                </a:cubicBezTo>
                <a:cubicBezTo>
                  <a:pt x="157571" y="238520"/>
                  <a:pt x="154599" y="232220"/>
                  <a:pt x="153594" y="224267"/>
                </a:cubicBezTo>
                <a:lnTo>
                  <a:pt x="118434" y="227909"/>
                </a:lnTo>
                <a:cubicBezTo>
                  <a:pt x="120527" y="243312"/>
                  <a:pt x="126931" y="255577"/>
                  <a:pt x="137647" y="264702"/>
                </a:cubicBezTo>
                <a:cubicBezTo>
                  <a:pt x="148362" y="273827"/>
                  <a:pt x="162217" y="278389"/>
                  <a:pt x="179212" y="278389"/>
                </a:cubicBezTo>
                <a:cubicBezTo>
                  <a:pt x="200475" y="278389"/>
                  <a:pt x="217093" y="270269"/>
                  <a:pt x="229064" y="254028"/>
                </a:cubicBezTo>
                <a:cubicBezTo>
                  <a:pt x="237854" y="242140"/>
                  <a:pt x="242250" y="228620"/>
                  <a:pt x="242250" y="213468"/>
                </a:cubicBezTo>
                <a:cubicBezTo>
                  <a:pt x="242250" y="195301"/>
                  <a:pt x="236808" y="180526"/>
                  <a:pt x="225925" y="169140"/>
                </a:cubicBezTo>
                <a:cubicBezTo>
                  <a:pt x="215042" y="157755"/>
                  <a:pt x="201773" y="152062"/>
                  <a:pt x="186118" y="152062"/>
                </a:cubicBezTo>
                <a:cubicBezTo>
                  <a:pt x="177914" y="152062"/>
                  <a:pt x="169877" y="154030"/>
                  <a:pt x="162008" y="157964"/>
                </a:cubicBezTo>
                <a:lnTo>
                  <a:pt x="167533" y="126696"/>
                </a:lnTo>
                <a:lnTo>
                  <a:pt x="234087" y="126696"/>
                </a:lnTo>
                <a:lnTo>
                  <a:pt x="234087" y="93670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44"/>
          </p:nvPr>
        </p:nvSpPr>
        <p:spPr bwMode="gray">
          <a:xfrm>
            <a:off x="371475" y="4582093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1723" y="181698"/>
                </a:moveTo>
                <a:cubicBezTo>
                  <a:pt x="188755" y="181698"/>
                  <a:pt x="194615" y="184481"/>
                  <a:pt x="199303" y="190048"/>
                </a:cubicBezTo>
                <a:cubicBezTo>
                  <a:pt x="203991" y="195615"/>
                  <a:pt x="206335" y="204385"/>
                  <a:pt x="206335" y="216356"/>
                </a:cubicBezTo>
                <a:cubicBezTo>
                  <a:pt x="206335" y="227992"/>
                  <a:pt x="204159" y="236364"/>
                  <a:pt x="199806" y="241471"/>
                </a:cubicBezTo>
                <a:cubicBezTo>
                  <a:pt x="195452" y="246577"/>
                  <a:pt x="190011" y="249131"/>
                  <a:pt x="183481" y="249131"/>
                </a:cubicBezTo>
                <a:cubicBezTo>
                  <a:pt x="176700" y="249131"/>
                  <a:pt x="170673" y="246012"/>
                  <a:pt x="165398" y="239775"/>
                </a:cubicBezTo>
                <a:cubicBezTo>
                  <a:pt x="160124" y="233539"/>
                  <a:pt x="157487" y="224686"/>
                  <a:pt x="157487" y="213217"/>
                </a:cubicBezTo>
                <a:cubicBezTo>
                  <a:pt x="157487" y="202836"/>
                  <a:pt x="159831" y="194987"/>
                  <a:pt x="164519" y="189672"/>
                </a:cubicBezTo>
                <a:cubicBezTo>
                  <a:pt x="169207" y="184356"/>
                  <a:pt x="174942" y="181698"/>
                  <a:pt x="181723" y="181698"/>
                </a:cubicBezTo>
                <a:close/>
                <a:moveTo>
                  <a:pt x="185239" y="90405"/>
                </a:moveTo>
                <a:cubicBezTo>
                  <a:pt x="165315" y="90405"/>
                  <a:pt x="149116" y="97856"/>
                  <a:pt x="136642" y="112758"/>
                </a:cubicBezTo>
                <a:cubicBezTo>
                  <a:pt x="124168" y="127659"/>
                  <a:pt x="117932" y="151978"/>
                  <a:pt x="117932" y="185716"/>
                </a:cubicBezTo>
                <a:cubicBezTo>
                  <a:pt x="117932" y="218616"/>
                  <a:pt x="123917" y="242287"/>
                  <a:pt x="135889" y="256728"/>
                </a:cubicBezTo>
                <a:cubicBezTo>
                  <a:pt x="147860" y="271169"/>
                  <a:pt x="163138" y="278389"/>
                  <a:pt x="181723" y="278389"/>
                </a:cubicBezTo>
                <a:cubicBezTo>
                  <a:pt x="199052" y="278389"/>
                  <a:pt x="213242" y="272697"/>
                  <a:pt x="224292" y="261311"/>
                </a:cubicBezTo>
                <a:cubicBezTo>
                  <a:pt x="235343" y="249926"/>
                  <a:pt x="240868" y="234815"/>
                  <a:pt x="240868" y="215979"/>
                </a:cubicBezTo>
                <a:cubicBezTo>
                  <a:pt x="240868" y="198231"/>
                  <a:pt x="235615" y="183749"/>
                  <a:pt x="225109" y="172531"/>
                </a:cubicBezTo>
                <a:cubicBezTo>
                  <a:pt x="214602" y="161313"/>
                  <a:pt x="201982" y="155704"/>
                  <a:pt x="187248" y="155704"/>
                </a:cubicBezTo>
                <a:cubicBezTo>
                  <a:pt x="174189" y="155704"/>
                  <a:pt x="163264" y="160894"/>
                  <a:pt x="154474" y="171275"/>
                </a:cubicBezTo>
                <a:cubicBezTo>
                  <a:pt x="155813" y="150095"/>
                  <a:pt x="159057" y="136156"/>
                  <a:pt x="164205" y="129459"/>
                </a:cubicBezTo>
                <a:cubicBezTo>
                  <a:pt x="169354" y="122762"/>
                  <a:pt x="175654" y="119413"/>
                  <a:pt x="183104" y="119413"/>
                </a:cubicBezTo>
                <a:cubicBezTo>
                  <a:pt x="188713" y="119413"/>
                  <a:pt x="193276" y="121087"/>
                  <a:pt x="196792" y="124436"/>
                </a:cubicBezTo>
                <a:cubicBezTo>
                  <a:pt x="200308" y="127785"/>
                  <a:pt x="202485" y="132975"/>
                  <a:pt x="203322" y="140007"/>
                </a:cubicBezTo>
                <a:lnTo>
                  <a:pt x="237478" y="136240"/>
                </a:lnTo>
                <a:cubicBezTo>
                  <a:pt x="234966" y="121338"/>
                  <a:pt x="229127" y="109974"/>
                  <a:pt x="219960" y="102147"/>
                </a:cubicBezTo>
                <a:cubicBezTo>
                  <a:pt x="210793" y="94319"/>
                  <a:pt x="199220" y="90405"/>
                  <a:pt x="185239" y="90405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45"/>
          </p:nvPr>
        </p:nvSpPr>
        <p:spPr bwMode="gray">
          <a:xfrm>
            <a:off x="371475" y="5122986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17932" y="93670"/>
                </a:moveTo>
                <a:lnTo>
                  <a:pt x="117932" y="126445"/>
                </a:lnTo>
                <a:lnTo>
                  <a:pt x="198173" y="126445"/>
                </a:lnTo>
                <a:cubicBezTo>
                  <a:pt x="181597" y="147290"/>
                  <a:pt x="168349" y="170940"/>
                  <a:pt x="158429" y="197394"/>
                </a:cubicBezTo>
                <a:cubicBezTo>
                  <a:pt x="148509" y="223849"/>
                  <a:pt x="143256" y="249800"/>
                  <a:pt x="142670" y="275250"/>
                </a:cubicBezTo>
                <a:lnTo>
                  <a:pt x="176700" y="275250"/>
                </a:lnTo>
                <a:cubicBezTo>
                  <a:pt x="176616" y="259009"/>
                  <a:pt x="179274" y="240571"/>
                  <a:pt x="184674" y="219935"/>
                </a:cubicBezTo>
                <a:cubicBezTo>
                  <a:pt x="190074" y="199299"/>
                  <a:pt x="197922" y="179814"/>
                  <a:pt x="208219" y="161480"/>
                </a:cubicBezTo>
                <a:cubicBezTo>
                  <a:pt x="218516" y="143146"/>
                  <a:pt x="228646" y="129082"/>
                  <a:pt x="238608" y="119287"/>
                </a:cubicBezTo>
                <a:lnTo>
                  <a:pt x="238608" y="93670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46"/>
          </p:nvPr>
        </p:nvSpPr>
        <p:spPr bwMode="gray">
          <a:xfrm>
            <a:off x="371475" y="5663881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7830" y="190990"/>
                </a:moveTo>
                <a:cubicBezTo>
                  <a:pt x="185281" y="190990"/>
                  <a:pt x="191434" y="193606"/>
                  <a:pt x="196290" y="198838"/>
                </a:cubicBezTo>
                <a:cubicBezTo>
                  <a:pt x="201145" y="204071"/>
                  <a:pt x="203573" y="210998"/>
                  <a:pt x="203573" y="219621"/>
                </a:cubicBezTo>
                <a:cubicBezTo>
                  <a:pt x="203573" y="229499"/>
                  <a:pt x="201187" y="237055"/>
                  <a:pt x="196415" y="242287"/>
                </a:cubicBezTo>
                <a:cubicBezTo>
                  <a:pt x="191643" y="247519"/>
                  <a:pt x="185616" y="250135"/>
                  <a:pt x="178333" y="250135"/>
                </a:cubicBezTo>
                <a:cubicBezTo>
                  <a:pt x="170882" y="250135"/>
                  <a:pt x="164666" y="247415"/>
                  <a:pt x="159685" y="241973"/>
                </a:cubicBezTo>
                <a:cubicBezTo>
                  <a:pt x="154704" y="236531"/>
                  <a:pt x="152213" y="228955"/>
                  <a:pt x="152213" y="219244"/>
                </a:cubicBezTo>
                <a:cubicBezTo>
                  <a:pt x="152213" y="212296"/>
                  <a:pt x="154327" y="205850"/>
                  <a:pt x="158555" y="199906"/>
                </a:cubicBezTo>
                <a:cubicBezTo>
                  <a:pt x="162782" y="193962"/>
                  <a:pt x="169207" y="190990"/>
                  <a:pt x="177830" y="190990"/>
                </a:cubicBezTo>
                <a:close/>
                <a:moveTo>
                  <a:pt x="177705" y="118408"/>
                </a:moveTo>
                <a:cubicBezTo>
                  <a:pt x="184234" y="118408"/>
                  <a:pt x="189488" y="120397"/>
                  <a:pt x="193464" y="124373"/>
                </a:cubicBezTo>
                <a:cubicBezTo>
                  <a:pt x="197441" y="128350"/>
                  <a:pt x="199429" y="133645"/>
                  <a:pt x="199429" y="140258"/>
                </a:cubicBezTo>
                <a:cubicBezTo>
                  <a:pt x="199429" y="147290"/>
                  <a:pt x="197420" y="152795"/>
                  <a:pt x="193401" y="156771"/>
                </a:cubicBezTo>
                <a:cubicBezTo>
                  <a:pt x="189383" y="160748"/>
                  <a:pt x="184025" y="162736"/>
                  <a:pt x="177328" y="162736"/>
                </a:cubicBezTo>
                <a:cubicBezTo>
                  <a:pt x="170714" y="162736"/>
                  <a:pt x="165419" y="160769"/>
                  <a:pt x="161443" y="156834"/>
                </a:cubicBezTo>
                <a:cubicBezTo>
                  <a:pt x="157466" y="152899"/>
                  <a:pt x="155478" y="147416"/>
                  <a:pt x="155478" y="140384"/>
                </a:cubicBezTo>
                <a:cubicBezTo>
                  <a:pt x="155478" y="133770"/>
                  <a:pt x="157487" y="128454"/>
                  <a:pt x="161506" y="124436"/>
                </a:cubicBezTo>
                <a:cubicBezTo>
                  <a:pt x="165524" y="120418"/>
                  <a:pt x="170924" y="118408"/>
                  <a:pt x="177705" y="118408"/>
                </a:cubicBezTo>
                <a:close/>
                <a:moveTo>
                  <a:pt x="177328" y="90406"/>
                </a:moveTo>
                <a:cubicBezTo>
                  <a:pt x="159664" y="90406"/>
                  <a:pt x="146039" y="94884"/>
                  <a:pt x="136454" y="103842"/>
                </a:cubicBezTo>
                <a:cubicBezTo>
                  <a:pt x="126868" y="112799"/>
                  <a:pt x="122075" y="124143"/>
                  <a:pt x="122075" y="137872"/>
                </a:cubicBezTo>
                <a:cubicBezTo>
                  <a:pt x="122075" y="145909"/>
                  <a:pt x="124147" y="153297"/>
                  <a:pt x="128291" y="160036"/>
                </a:cubicBezTo>
                <a:cubicBezTo>
                  <a:pt x="132435" y="166775"/>
                  <a:pt x="139070" y="172070"/>
                  <a:pt x="148195" y="175921"/>
                </a:cubicBezTo>
                <a:cubicBezTo>
                  <a:pt x="137563" y="180442"/>
                  <a:pt x="129777" y="186867"/>
                  <a:pt x="124838" y="195197"/>
                </a:cubicBezTo>
                <a:cubicBezTo>
                  <a:pt x="119899" y="203527"/>
                  <a:pt x="117429" y="212672"/>
                  <a:pt x="117429" y="222635"/>
                </a:cubicBezTo>
                <a:cubicBezTo>
                  <a:pt x="117429" y="240717"/>
                  <a:pt x="124001" y="254949"/>
                  <a:pt x="137144" y="265330"/>
                </a:cubicBezTo>
                <a:cubicBezTo>
                  <a:pt x="148279" y="274120"/>
                  <a:pt x="162217" y="278515"/>
                  <a:pt x="178960" y="278515"/>
                </a:cubicBezTo>
                <a:cubicBezTo>
                  <a:pt x="196959" y="278515"/>
                  <a:pt x="211379" y="273199"/>
                  <a:pt x="222221" y="262567"/>
                </a:cubicBezTo>
                <a:cubicBezTo>
                  <a:pt x="233062" y="251935"/>
                  <a:pt x="238482" y="238122"/>
                  <a:pt x="238482" y="221128"/>
                </a:cubicBezTo>
                <a:cubicBezTo>
                  <a:pt x="238482" y="210831"/>
                  <a:pt x="235824" y="201748"/>
                  <a:pt x="230508" y="193878"/>
                </a:cubicBezTo>
                <a:cubicBezTo>
                  <a:pt x="225192" y="186009"/>
                  <a:pt x="217428" y="180023"/>
                  <a:pt x="207214" y="175921"/>
                </a:cubicBezTo>
                <a:cubicBezTo>
                  <a:pt x="215251" y="172405"/>
                  <a:pt x="221488" y="167319"/>
                  <a:pt x="225925" y="160664"/>
                </a:cubicBezTo>
                <a:cubicBezTo>
                  <a:pt x="230362" y="154009"/>
                  <a:pt x="232580" y="146411"/>
                  <a:pt x="232580" y="137872"/>
                </a:cubicBezTo>
                <a:cubicBezTo>
                  <a:pt x="232580" y="124143"/>
                  <a:pt x="227746" y="112799"/>
                  <a:pt x="218077" y="103842"/>
                </a:cubicBezTo>
                <a:cubicBezTo>
                  <a:pt x="208407" y="94884"/>
                  <a:pt x="194825" y="90406"/>
                  <a:pt x="177328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48"/>
          </p:nvPr>
        </p:nvSpPr>
        <p:spPr bwMode="gray"/>
        <p:txBody>
          <a:bodyPr/>
          <a:lstStyle/>
          <a:p>
            <a:fld id="{AE1BBC79-E77E-4210-8AF0-C4F538ADB5A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9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50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846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11455676" cy="458223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614B44-299D-42C9-857A-BBF4191F4592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55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platzhalter 55"/>
          <p:cNvSpPr>
            <a:spLocks noGrp="1"/>
          </p:cNvSpPr>
          <p:nvPr>
            <p:ph type="body" sz="quarter" idx="31"/>
          </p:nvPr>
        </p:nvSpPr>
        <p:spPr bwMode="gray">
          <a:xfrm>
            <a:off x="-1" y="1697832"/>
            <a:ext cx="12190414" cy="4536676"/>
          </a:xfrm>
          <a:custGeom>
            <a:avLst/>
            <a:gdLst>
              <a:gd name="connsiteX0" fmla="*/ 0 w 12190414"/>
              <a:gd name="connsiteY0" fmla="*/ 0 h 4536676"/>
              <a:gd name="connsiteX1" fmla="*/ 12190414 w 12190414"/>
              <a:gd name="connsiteY1" fmla="*/ 0 h 4536676"/>
              <a:gd name="connsiteX2" fmla="*/ 12190414 w 12190414"/>
              <a:gd name="connsiteY2" fmla="*/ 3456676 h 4536676"/>
              <a:gd name="connsiteX3" fmla="*/ 11110414 w 12190414"/>
              <a:gd name="connsiteY3" fmla="*/ 4536676 h 4536676"/>
              <a:gd name="connsiteX4" fmla="*/ 0 w 12190414"/>
              <a:gd name="connsiteY4" fmla="*/ 4536676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0414" h="4536676">
                <a:moveTo>
                  <a:pt x="0" y="0"/>
                </a:moveTo>
                <a:lnTo>
                  <a:pt x="12190414" y="0"/>
                </a:lnTo>
                <a:lnTo>
                  <a:pt x="12190414" y="3456676"/>
                </a:lnTo>
                <a:lnTo>
                  <a:pt x="11110414" y="4536676"/>
                </a:lnTo>
                <a:lnTo>
                  <a:pt x="0" y="4536676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4"/>
          </p:nvPr>
        </p:nvSpPr>
        <p:spPr bwMode="gray">
          <a:xfrm>
            <a:off x="-1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1012981 w 12190413"/>
              <a:gd name="connsiteY6" fmla="*/ 4536676 h 4536676"/>
              <a:gd name="connsiteX7" fmla="*/ 10611779 w 12190413"/>
              <a:gd name="connsiteY7" fmla="*/ 4536676 h 4536676"/>
              <a:gd name="connsiteX8" fmla="*/ 0 w 12190413"/>
              <a:gd name="connsiteY8" fmla="*/ 4536676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0611779 w 12190413"/>
              <a:gd name="connsiteY6" fmla="*/ 4536676 h 4536676"/>
              <a:gd name="connsiteX7" fmla="*/ 0 w 12190413"/>
              <a:gd name="connsiteY7" fmla="*/ 4536676 h 4536676"/>
              <a:gd name="connsiteX8" fmla="*/ 0 w 12190413"/>
              <a:gd name="connsiteY8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0 w 12190413"/>
              <a:gd name="connsiteY6" fmla="*/ 4536676 h 4536676"/>
              <a:gd name="connsiteX7" fmla="*/ 0 w 12190413"/>
              <a:gd name="connsiteY7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458269 h 4536676"/>
              <a:gd name="connsiteX4" fmla="*/ 11112006 w 12190413"/>
              <a:gd name="connsiteY4" fmla="*/ 4536676 h 4536676"/>
              <a:gd name="connsiteX5" fmla="*/ 0 w 12190413"/>
              <a:gd name="connsiteY5" fmla="*/ 4536676 h 4536676"/>
              <a:gd name="connsiteX6" fmla="*/ 0 w 12190413"/>
              <a:gd name="connsiteY6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8269 h 4536676"/>
              <a:gd name="connsiteX3" fmla="*/ 11112006 w 12190413"/>
              <a:gd name="connsiteY3" fmla="*/ 4536676 h 4536676"/>
              <a:gd name="connsiteX4" fmla="*/ 0 w 12190413"/>
              <a:gd name="connsiteY4" fmla="*/ 4536676 h 4536676"/>
              <a:gd name="connsiteX5" fmla="*/ 0 w 12190413"/>
              <a:gd name="connsiteY5" fmla="*/ 0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8269"/>
                </a:lnTo>
                <a:lnTo>
                  <a:pt x="11112006" y="4536676"/>
                </a:lnTo>
                <a:lnTo>
                  <a:pt x="0" y="453667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1179241" y="214630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1179241" y="313982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17"/>
          </p:nvPr>
        </p:nvSpPr>
        <p:spPr bwMode="gray">
          <a:xfrm>
            <a:off x="1179241" y="413334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9"/>
          <p:cNvSpPr>
            <a:spLocks noGrp="1"/>
          </p:cNvSpPr>
          <p:nvPr>
            <p:ph type="body" sz="quarter" idx="18"/>
          </p:nvPr>
        </p:nvSpPr>
        <p:spPr bwMode="gray">
          <a:xfrm>
            <a:off x="1179241" y="5126862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0" name="Textplatzhalter 9"/>
          <p:cNvSpPr>
            <a:spLocks noGrp="1"/>
          </p:cNvSpPr>
          <p:nvPr>
            <p:ph type="body" sz="quarter" idx="19"/>
          </p:nvPr>
        </p:nvSpPr>
        <p:spPr bwMode="gray">
          <a:xfrm>
            <a:off x="7079156" y="214630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2" name="Textplatzhalter 9"/>
          <p:cNvSpPr>
            <a:spLocks noGrp="1"/>
          </p:cNvSpPr>
          <p:nvPr>
            <p:ph type="body" sz="quarter" idx="20"/>
          </p:nvPr>
        </p:nvSpPr>
        <p:spPr bwMode="gray">
          <a:xfrm>
            <a:off x="7079156" y="313982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4" name="Textplatzhalter 9"/>
          <p:cNvSpPr>
            <a:spLocks noGrp="1"/>
          </p:cNvSpPr>
          <p:nvPr>
            <p:ph type="body" sz="quarter" idx="21"/>
          </p:nvPr>
        </p:nvSpPr>
        <p:spPr bwMode="gray">
          <a:xfrm>
            <a:off x="7079156" y="4133341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3" name="Textplatzhalter 9"/>
          <p:cNvSpPr>
            <a:spLocks noGrp="1"/>
          </p:cNvSpPr>
          <p:nvPr>
            <p:ph type="body" sz="quarter" idx="22"/>
          </p:nvPr>
        </p:nvSpPr>
        <p:spPr bwMode="gray">
          <a:xfrm>
            <a:off x="7079156" y="5126862"/>
            <a:ext cx="4320000" cy="432000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3"/>
          </p:nvPr>
        </p:nvSpPr>
        <p:spPr bwMode="gray">
          <a:xfrm>
            <a:off x="371475" y="212207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9600" y="187657"/>
                </a:moveTo>
                <a:cubicBezTo>
                  <a:pt x="351712" y="209677"/>
                  <a:pt x="337168" y="228945"/>
                  <a:pt x="315970" y="245461"/>
                </a:cubicBezTo>
                <a:cubicBezTo>
                  <a:pt x="294771" y="261976"/>
                  <a:pt x="275133" y="273191"/>
                  <a:pt x="257057" y="279107"/>
                </a:cubicBezTo>
                <a:lnTo>
                  <a:pt x="257057" y="341964"/>
                </a:lnTo>
                <a:cubicBezTo>
                  <a:pt x="291402" y="330625"/>
                  <a:pt x="321228" y="313124"/>
                  <a:pt x="346535" y="289460"/>
                </a:cubicBezTo>
                <a:lnTo>
                  <a:pt x="346535" y="550500"/>
                </a:lnTo>
                <a:lnTo>
                  <a:pt x="415801" y="550500"/>
                </a:lnTo>
                <a:lnTo>
                  <a:pt x="415801" y="187657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24"/>
          </p:nvPr>
        </p:nvSpPr>
        <p:spPr bwMode="gray">
          <a:xfrm>
            <a:off x="371475" y="311319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7874" y="187657"/>
                </a:moveTo>
                <a:cubicBezTo>
                  <a:pt x="325337" y="187657"/>
                  <a:pt x="298222" y="195956"/>
                  <a:pt x="276530" y="212553"/>
                </a:cubicBezTo>
                <a:cubicBezTo>
                  <a:pt x="254839" y="229151"/>
                  <a:pt x="241939" y="256512"/>
                  <a:pt x="237830" y="294637"/>
                </a:cubicBezTo>
                <a:lnTo>
                  <a:pt x="306849" y="301538"/>
                </a:lnTo>
                <a:cubicBezTo>
                  <a:pt x="308164" y="281326"/>
                  <a:pt x="313094" y="266865"/>
                  <a:pt x="321639" y="258155"/>
                </a:cubicBezTo>
                <a:cubicBezTo>
                  <a:pt x="330184" y="249446"/>
                  <a:pt x="341688" y="245091"/>
                  <a:pt x="356149" y="245091"/>
                </a:cubicBezTo>
                <a:cubicBezTo>
                  <a:pt x="370774" y="245091"/>
                  <a:pt x="382236" y="249240"/>
                  <a:pt x="390535" y="257539"/>
                </a:cubicBezTo>
                <a:cubicBezTo>
                  <a:pt x="398834" y="265838"/>
                  <a:pt x="402983" y="277710"/>
                  <a:pt x="402983" y="293158"/>
                </a:cubicBezTo>
                <a:cubicBezTo>
                  <a:pt x="402983" y="307126"/>
                  <a:pt x="398217" y="321258"/>
                  <a:pt x="388686" y="335555"/>
                </a:cubicBezTo>
                <a:cubicBezTo>
                  <a:pt x="381620" y="345908"/>
                  <a:pt x="362475" y="365628"/>
                  <a:pt x="331253" y="394714"/>
                </a:cubicBezTo>
                <a:cubicBezTo>
                  <a:pt x="292470" y="430703"/>
                  <a:pt x="266506" y="459584"/>
                  <a:pt x="253360" y="481358"/>
                </a:cubicBezTo>
                <a:cubicBezTo>
                  <a:pt x="240213" y="503132"/>
                  <a:pt x="232325" y="526179"/>
                  <a:pt x="229696" y="550500"/>
                </a:cubicBezTo>
                <a:lnTo>
                  <a:pt x="472495" y="550500"/>
                </a:lnTo>
                <a:lnTo>
                  <a:pt x="472495" y="486164"/>
                </a:lnTo>
                <a:lnTo>
                  <a:pt x="334950" y="486164"/>
                </a:lnTo>
                <a:cubicBezTo>
                  <a:pt x="338565" y="479920"/>
                  <a:pt x="343290" y="473511"/>
                  <a:pt x="349124" y="466938"/>
                </a:cubicBezTo>
                <a:cubicBezTo>
                  <a:pt x="354957" y="460364"/>
                  <a:pt x="368802" y="447054"/>
                  <a:pt x="390658" y="427005"/>
                </a:cubicBezTo>
                <a:cubicBezTo>
                  <a:pt x="412514" y="406957"/>
                  <a:pt x="427633" y="391592"/>
                  <a:pt x="436014" y="380910"/>
                </a:cubicBezTo>
                <a:cubicBezTo>
                  <a:pt x="448667" y="364806"/>
                  <a:pt x="457911" y="349400"/>
                  <a:pt x="463744" y="334692"/>
                </a:cubicBezTo>
                <a:cubicBezTo>
                  <a:pt x="469578" y="319985"/>
                  <a:pt x="472495" y="304496"/>
                  <a:pt x="472495" y="288228"/>
                </a:cubicBezTo>
                <a:cubicBezTo>
                  <a:pt x="472495" y="259634"/>
                  <a:pt x="462307" y="235724"/>
                  <a:pt x="441930" y="216497"/>
                </a:cubicBezTo>
                <a:cubicBezTo>
                  <a:pt x="421552" y="197270"/>
                  <a:pt x="393534" y="187657"/>
                  <a:pt x="357874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25"/>
          </p:nvPr>
        </p:nvSpPr>
        <p:spPr bwMode="gray">
          <a:xfrm>
            <a:off x="371475" y="410431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2698" y="187657"/>
                </a:moveTo>
                <a:cubicBezTo>
                  <a:pt x="332814" y="187657"/>
                  <a:pt x="314861" y="191396"/>
                  <a:pt x="298838" y="198873"/>
                </a:cubicBezTo>
                <a:cubicBezTo>
                  <a:pt x="282816" y="206350"/>
                  <a:pt x="270327" y="216620"/>
                  <a:pt x="261371" y="229685"/>
                </a:cubicBezTo>
                <a:cubicBezTo>
                  <a:pt x="252415" y="242749"/>
                  <a:pt x="245718" y="260209"/>
                  <a:pt x="241281" y="282065"/>
                </a:cubicBezTo>
                <a:lnTo>
                  <a:pt x="305124" y="292911"/>
                </a:lnTo>
                <a:cubicBezTo>
                  <a:pt x="306932" y="277135"/>
                  <a:pt x="312026" y="265139"/>
                  <a:pt x="320407" y="256923"/>
                </a:cubicBezTo>
                <a:cubicBezTo>
                  <a:pt x="328788" y="248706"/>
                  <a:pt x="338894" y="244598"/>
                  <a:pt x="350726" y="244598"/>
                </a:cubicBezTo>
                <a:cubicBezTo>
                  <a:pt x="362722" y="244598"/>
                  <a:pt x="372335" y="248213"/>
                  <a:pt x="379566" y="255444"/>
                </a:cubicBezTo>
                <a:cubicBezTo>
                  <a:pt x="386796" y="262674"/>
                  <a:pt x="390412" y="272370"/>
                  <a:pt x="390412" y="284530"/>
                </a:cubicBezTo>
                <a:cubicBezTo>
                  <a:pt x="390412" y="298827"/>
                  <a:pt x="385482" y="310289"/>
                  <a:pt x="375622" y="318917"/>
                </a:cubicBezTo>
                <a:cubicBezTo>
                  <a:pt x="365762" y="327544"/>
                  <a:pt x="351465" y="331611"/>
                  <a:pt x="332732" y="331118"/>
                </a:cubicBezTo>
                <a:lnTo>
                  <a:pt x="325090" y="387566"/>
                </a:lnTo>
                <a:cubicBezTo>
                  <a:pt x="337415" y="384115"/>
                  <a:pt x="348014" y="382389"/>
                  <a:pt x="356888" y="382389"/>
                </a:cubicBezTo>
                <a:cubicBezTo>
                  <a:pt x="370363" y="382389"/>
                  <a:pt x="381784" y="387484"/>
                  <a:pt x="391151" y="397672"/>
                </a:cubicBezTo>
                <a:cubicBezTo>
                  <a:pt x="400518" y="407861"/>
                  <a:pt x="405202" y="421665"/>
                  <a:pt x="405202" y="439084"/>
                </a:cubicBezTo>
                <a:cubicBezTo>
                  <a:pt x="405202" y="457489"/>
                  <a:pt x="400313" y="472114"/>
                  <a:pt x="390535" y="482960"/>
                </a:cubicBezTo>
                <a:cubicBezTo>
                  <a:pt x="380757" y="493806"/>
                  <a:pt x="368720" y="499229"/>
                  <a:pt x="354423" y="499229"/>
                </a:cubicBezTo>
                <a:cubicBezTo>
                  <a:pt x="341112" y="499229"/>
                  <a:pt x="329774" y="494710"/>
                  <a:pt x="320407" y="485672"/>
                </a:cubicBezTo>
                <a:cubicBezTo>
                  <a:pt x="311040" y="476633"/>
                  <a:pt x="305288" y="463569"/>
                  <a:pt x="303152" y="446479"/>
                </a:cubicBezTo>
                <a:lnTo>
                  <a:pt x="236105" y="454613"/>
                </a:lnTo>
                <a:cubicBezTo>
                  <a:pt x="239556" y="485014"/>
                  <a:pt x="252045" y="509623"/>
                  <a:pt x="273572" y="528439"/>
                </a:cubicBezTo>
                <a:cubicBezTo>
                  <a:pt x="295100" y="547255"/>
                  <a:pt x="322214" y="556663"/>
                  <a:pt x="354916" y="556663"/>
                </a:cubicBezTo>
                <a:cubicBezTo>
                  <a:pt x="389426" y="556663"/>
                  <a:pt x="418266" y="545488"/>
                  <a:pt x="441437" y="523139"/>
                </a:cubicBezTo>
                <a:cubicBezTo>
                  <a:pt x="464607" y="500790"/>
                  <a:pt x="476193" y="473758"/>
                  <a:pt x="476193" y="442042"/>
                </a:cubicBezTo>
                <a:cubicBezTo>
                  <a:pt x="476193" y="420186"/>
                  <a:pt x="469989" y="401534"/>
                  <a:pt x="457582" y="386087"/>
                </a:cubicBezTo>
                <a:cubicBezTo>
                  <a:pt x="445175" y="370640"/>
                  <a:pt x="428619" y="360698"/>
                  <a:pt x="407913" y="356261"/>
                </a:cubicBezTo>
                <a:cubicBezTo>
                  <a:pt x="442587" y="337363"/>
                  <a:pt x="459924" y="312056"/>
                  <a:pt x="459924" y="280340"/>
                </a:cubicBezTo>
                <a:cubicBezTo>
                  <a:pt x="459924" y="257991"/>
                  <a:pt x="451461" y="237942"/>
                  <a:pt x="434535" y="220195"/>
                </a:cubicBezTo>
                <a:cubicBezTo>
                  <a:pt x="413993" y="198503"/>
                  <a:pt x="386714" y="187657"/>
                  <a:pt x="352698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26"/>
          </p:nvPr>
        </p:nvSpPr>
        <p:spPr bwMode="gray">
          <a:xfrm>
            <a:off x="371475" y="5095431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74389" y="293404"/>
                </a:moveTo>
                <a:lnTo>
                  <a:pt x="374389" y="416899"/>
                </a:lnTo>
                <a:lnTo>
                  <a:pt x="291320" y="416899"/>
                </a:lnTo>
                <a:close/>
                <a:moveTo>
                  <a:pt x="383263" y="187657"/>
                </a:moveTo>
                <a:lnTo>
                  <a:pt x="226492" y="417145"/>
                </a:lnTo>
                <a:lnTo>
                  <a:pt x="226492" y="477784"/>
                </a:lnTo>
                <a:lnTo>
                  <a:pt x="374389" y="477784"/>
                </a:lnTo>
                <a:lnTo>
                  <a:pt x="374389" y="550500"/>
                </a:lnTo>
                <a:lnTo>
                  <a:pt x="441437" y="550500"/>
                </a:lnTo>
                <a:lnTo>
                  <a:pt x="441437" y="477784"/>
                </a:lnTo>
                <a:lnTo>
                  <a:pt x="486299" y="477784"/>
                </a:lnTo>
                <a:lnTo>
                  <a:pt x="486299" y="416899"/>
                </a:lnTo>
                <a:lnTo>
                  <a:pt x="441437" y="416899"/>
                </a:lnTo>
                <a:lnTo>
                  <a:pt x="441437" y="187657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6" name="Textplatzhalter 45"/>
          <p:cNvSpPr>
            <a:spLocks noGrp="1"/>
          </p:cNvSpPr>
          <p:nvPr>
            <p:ph type="body" sz="quarter" idx="27"/>
          </p:nvPr>
        </p:nvSpPr>
        <p:spPr bwMode="gray">
          <a:xfrm>
            <a:off x="6271390" y="212207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283432" y="194066"/>
                </a:moveTo>
                <a:lnTo>
                  <a:pt x="247937" y="382143"/>
                </a:lnTo>
                <a:lnTo>
                  <a:pt x="304138" y="390277"/>
                </a:lnTo>
                <a:cubicBezTo>
                  <a:pt x="319914" y="372694"/>
                  <a:pt x="337744" y="363902"/>
                  <a:pt x="357628" y="363902"/>
                </a:cubicBezTo>
                <a:cubicBezTo>
                  <a:pt x="373568" y="363902"/>
                  <a:pt x="386509" y="369448"/>
                  <a:pt x="396451" y="380541"/>
                </a:cubicBezTo>
                <a:cubicBezTo>
                  <a:pt x="406393" y="391633"/>
                  <a:pt x="411364" y="408271"/>
                  <a:pt x="411364" y="430456"/>
                </a:cubicBezTo>
                <a:cubicBezTo>
                  <a:pt x="411364" y="454120"/>
                  <a:pt x="406352" y="471827"/>
                  <a:pt x="396328" y="483576"/>
                </a:cubicBezTo>
                <a:cubicBezTo>
                  <a:pt x="386303" y="495326"/>
                  <a:pt x="374061" y="501201"/>
                  <a:pt x="359600" y="501201"/>
                </a:cubicBezTo>
                <a:cubicBezTo>
                  <a:pt x="346946" y="501201"/>
                  <a:pt x="335772" y="496641"/>
                  <a:pt x="326076" y="487520"/>
                </a:cubicBezTo>
                <a:cubicBezTo>
                  <a:pt x="316381" y="478400"/>
                  <a:pt x="310547" y="466034"/>
                  <a:pt x="308575" y="450422"/>
                </a:cubicBezTo>
                <a:lnTo>
                  <a:pt x="239556" y="457571"/>
                </a:lnTo>
                <a:cubicBezTo>
                  <a:pt x="243664" y="487808"/>
                  <a:pt x="256235" y="511882"/>
                  <a:pt x="277270" y="529794"/>
                </a:cubicBezTo>
                <a:cubicBezTo>
                  <a:pt x="298304" y="547706"/>
                  <a:pt x="325501" y="556662"/>
                  <a:pt x="358860" y="556662"/>
                </a:cubicBezTo>
                <a:cubicBezTo>
                  <a:pt x="400600" y="556662"/>
                  <a:pt x="433220" y="540722"/>
                  <a:pt x="456719" y="508842"/>
                </a:cubicBezTo>
                <a:cubicBezTo>
                  <a:pt x="473974" y="485507"/>
                  <a:pt x="482601" y="458968"/>
                  <a:pt x="482601" y="429224"/>
                </a:cubicBezTo>
                <a:cubicBezTo>
                  <a:pt x="482601" y="393564"/>
                  <a:pt x="471920" y="364559"/>
                  <a:pt x="450557" y="342210"/>
                </a:cubicBezTo>
                <a:cubicBezTo>
                  <a:pt x="429194" y="319861"/>
                  <a:pt x="403147" y="308687"/>
                  <a:pt x="372417" y="308687"/>
                </a:cubicBezTo>
                <a:cubicBezTo>
                  <a:pt x="356313" y="308687"/>
                  <a:pt x="340537" y="312549"/>
                  <a:pt x="325090" y="320272"/>
                </a:cubicBezTo>
                <a:lnTo>
                  <a:pt x="335936" y="258895"/>
                </a:lnTo>
                <a:lnTo>
                  <a:pt x="466579" y="258895"/>
                </a:lnTo>
                <a:lnTo>
                  <a:pt x="466579" y="194066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28"/>
          </p:nvPr>
        </p:nvSpPr>
        <p:spPr bwMode="gray">
          <a:xfrm>
            <a:off x="6271390" y="311319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63790" y="366860"/>
                </a:moveTo>
                <a:cubicBezTo>
                  <a:pt x="377594" y="366860"/>
                  <a:pt x="389097" y="372324"/>
                  <a:pt x="398300" y="383252"/>
                </a:cubicBezTo>
                <a:cubicBezTo>
                  <a:pt x="407502" y="394180"/>
                  <a:pt x="412103" y="411394"/>
                  <a:pt x="412103" y="434893"/>
                </a:cubicBezTo>
                <a:cubicBezTo>
                  <a:pt x="412103" y="457735"/>
                  <a:pt x="407831" y="474168"/>
                  <a:pt x="399286" y="484192"/>
                </a:cubicBezTo>
                <a:cubicBezTo>
                  <a:pt x="390740" y="494217"/>
                  <a:pt x="380059" y="499229"/>
                  <a:pt x="367241" y="499229"/>
                </a:cubicBezTo>
                <a:cubicBezTo>
                  <a:pt x="353930" y="499229"/>
                  <a:pt x="342098" y="493107"/>
                  <a:pt x="331746" y="480865"/>
                </a:cubicBezTo>
                <a:cubicBezTo>
                  <a:pt x="321393" y="468622"/>
                  <a:pt x="316216" y="451244"/>
                  <a:pt x="316216" y="428731"/>
                </a:cubicBezTo>
                <a:cubicBezTo>
                  <a:pt x="316216" y="408354"/>
                  <a:pt x="320818" y="392948"/>
                  <a:pt x="330020" y="382513"/>
                </a:cubicBezTo>
                <a:cubicBezTo>
                  <a:pt x="339223" y="372078"/>
                  <a:pt x="350479" y="366860"/>
                  <a:pt x="363790" y="366860"/>
                </a:cubicBezTo>
                <a:close/>
                <a:moveTo>
                  <a:pt x="370692" y="187657"/>
                </a:moveTo>
                <a:cubicBezTo>
                  <a:pt x="331581" y="187657"/>
                  <a:pt x="299783" y="202283"/>
                  <a:pt x="275298" y="231533"/>
                </a:cubicBezTo>
                <a:cubicBezTo>
                  <a:pt x="250813" y="260784"/>
                  <a:pt x="238570" y="308523"/>
                  <a:pt x="238570" y="374748"/>
                </a:cubicBezTo>
                <a:cubicBezTo>
                  <a:pt x="238570" y="439330"/>
                  <a:pt x="250320" y="485795"/>
                  <a:pt x="273819" y="514142"/>
                </a:cubicBezTo>
                <a:cubicBezTo>
                  <a:pt x="297318" y="542489"/>
                  <a:pt x="327309" y="556662"/>
                  <a:pt x="363790" y="556662"/>
                </a:cubicBezTo>
                <a:cubicBezTo>
                  <a:pt x="397807" y="556662"/>
                  <a:pt x="425661" y="545488"/>
                  <a:pt x="447352" y="523139"/>
                </a:cubicBezTo>
                <a:cubicBezTo>
                  <a:pt x="469044" y="500790"/>
                  <a:pt x="479890" y="471128"/>
                  <a:pt x="479890" y="434154"/>
                </a:cubicBezTo>
                <a:cubicBezTo>
                  <a:pt x="479890" y="399316"/>
                  <a:pt x="469578" y="370886"/>
                  <a:pt x="448955" y="348866"/>
                </a:cubicBezTo>
                <a:cubicBezTo>
                  <a:pt x="428331" y="326845"/>
                  <a:pt x="403558" y="315835"/>
                  <a:pt x="374636" y="315835"/>
                </a:cubicBezTo>
                <a:cubicBezTo>
                  <a:pt x="349000" y="315835"/>
                  <a:pt x="327555" y="326024"/>
                  <a:pt x="310300" y="346401"/>
                </a:cubicBezTo>
                <a:cubicBezTo>
                  <a:pt x="312930" y="304825"/>
                  <a:pt x="319297" y="277464"/>
                  <a:pt x="329404" y="264318"/>
                </a:cubicBezTo>
                <a:cubicBezTo>
                  <a:pt x="339510" y="251171"/>
                  <a:pt x="351876" y="244598"/>
                  <a:pt x="366502" y="244598"/>
                </a:cubicBezTo>
                <a:cubicBezTo>
                  <a:pt x="377512" y="244598"/>
                  <a:pt x="386468" y="247884"/>
                  <a:pt x="393370" y="254458"/>
                </a:cubicBezTo>
                <a:cubicBezTo>
                  <a:pt x="400272" y="261031"/>
                  <a:pt x="404544" y="271219"/>
                  <a:pt x="406188" y="285023"/>
                </a:cubicBezTo>
                <a:lnTo>
                  <a:pt x="473235" y="277628"/>
                </a:lnTo>
                <a:cubicBezTo>
                  <a:pt x="468305" y="248377"/>
                  <a:pt x="456843" y="226069"/>
                  <a:pt x="438848" y="210704"/>
                </a:cubicBezTo>
                <a:cubicBezTo>
                  <a:pt x="420854" y="195340"/>
                  <a:pt x="398135" y="187657"/>
                  <a:pt x="370692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8" name="Textplatzhalter 47"/>
          <p:cNvSpPr>
            <a:spLocks noGrp="1"/>
          </p:cNvSpPr>
          <p:nvPr>
            <p:ph type="body" sz="quarter" idx="29"/>
          </p:nvPr>
        </p:nvSpPr>
        <p:spPr bwMode="gray">
          <a:xfrm>
            <a:off x="6271390" y="410431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238570" y="194066"/>
                </a:moveTo>
                <a:lnTo>
                  <a:pt x="238570" y="258402"/>
                </a:lnTo>
                <a:lnTo>
                  <a:pt x="396081" y="258402"/>
                </a:lnTo>
                <a:cubicBezTo>
                  <a:pt x="363544" y="299320"/>
                  <a:pt x="337538" y="345744"/>
                  <a:pt x="318065" y="397672"/>
                </a:cubicBezTo>
                <a:cubicBezTo>
                  <a:pt x="298592" y="449601"/>
                  <a:pt x="288280" y="500543"/>
                  <a:pt x="287130" y="550500"/>
                </a:cubicBezTo>
                <a:lnTo>
                  <a:pt x="353930" y="550500"/>
                </a:lnTo>
                <a:cubicBezTo>
                  <a:pt x="353766" y="518620"/>
                  <a:pt x="358983" y="482426"/>
                  <a:pt x="369583" y="441918"/>
                </a:cubicBezTo>
                <a:cubicBezTo>
                  <a:pt x="380182" y="401411"/>
                  <a:pt x="395588" y="363163"/>
                  <a:pt x="415801" y="327174"/>
                </a:cubicBezTo>
                <a:cubicBezTo>
                  <a:pt x="436014" y="291186"/>
                  <a:pt x="455898" y="263578"/>
                  <a:pt x="475453" y="244351"/>
                </a:cubicBezTo>
                <a:lnTo>
                  <a:pt x="475453" y="194066"/>
                </a:ln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30"/>
          </p:nvPr>
        </p:nvSpPr>
        <p:spPr bwMode="gray">
          <a:xfrm>
            <a:off x="6271390" y="5095431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720000" h="720000">
                <a:moveTo>
                  <a:pt x="356149" y="385101"/>
                </a:moveTo>
                <a:cubicBezTo>
                  <a:pt x="370774" y="385101"/>
                  <a:pt x="382852" y="390236"/>
                  <a:pt x="392384" y="400507"/>
                </a:cubicBezTo>
                <a:cubicBezTo>
                  <a:pt x="401915" y="410778"/>
                  <a:pt x="406681" y="424376"/>
                  <a:pt x="406681" y="441302"/>
                </a:cubicBezTo>
                <a:cubicBezTo>
                  <a:pt x="406681" y="460693"/>
                  <a:pt x="401997" y="475524"/>
                  <a:pt x="392630" y="485795"/>
                </a:cubicBezTo>
                <a:cubicBezTo>
                  <a:pt x="383263" y="496065"/>
                  <a:pt x="371431" y="501201"/>
                  <a:pt x="357135" y="501201"/>
                </a:cubicBezTo>
                <a:cubicBezTo>
                  <a:pt x="342509" y="501201"/>
                  <a:pt x="330308" y="495860"/>
                  <a:pt x="320530" y="485179"/>
                </a:cubicBezTo>
                <a:cubicBezTo>
                  <a:pt x="310752" y="474497"/>
                  <a:pt x="305863" y="459625"/>
                  <a:pt x="305863" y="440563"/>
                </a:cubicBezTo>
                <a:cubicBezTo>
                  <a:pt x="305863" y="426923"/>
                  <a:pt x="310013" y="414270"/>
                  <a:pt x="318311" y="402602"/>
                </a:cubicBezTo>
                <a:cubicBezTo>
                  <a:pt x="326610" y="390935"/>
                  <a:pt x="339223" y="385101"/>
                  <a:pt x="356149" y="385101"/>
                </a:cubicBezTo>
                <a:close/>
                <a:moveTo>
                  <a:pt x="355902" y="242626"/>
                </a:moveTo>
                <a:cubicBezTo>
                  <a:pt x="368720" y="242626"/>
                  <a:pt x="379032" y="246529"/>
                  <a:pt x="386838" y="254334"/>
                </a:cubicBezTo>
                <a:cubicBezTo>
                  <a:pt x="394643" y="262140"/>
                  <a:pt x="398546" y="272534"/>
                  <a:pt x="398546" y="285516"/>
                </a:cubicBezTo>
                <a:cubicBezTo>
                  <a:pt x="398546" y="299320"/>
                  <a:pt x="394602" y="310125"/>
                  <a:pt x="386714" y="317931"/>
                </a:cubicBezTo>
                <a:cubicBezTo>
                  <a:pt x="378826" y="325736"/>
                  <a:pt x="368309" y="329639"/>
                  <a:pt x="355163" y="329639"/>
                </a:cubicBezTo>
                <a:cubicBezTo>
                  <a:pt x="342181" y="329639"/>
                  <a:pt x="331787" y="325777"/>
                  <a:pt x="323981" y="318054"/>
                </a:cubicBezTo>
                <a:cubicBezTo>
                  <a:pt x="316175" y="310330"/>
                  <a:pt x="312272" y="299567"/>
                  <a:pt x="312272" y="285763"/>
                </a:cubicBezTo>
                <a:cubicBezTo>
                  <a:pt x="312272" y="272781"/>
                  <a:pt x="316216" y="262346"/>
                  <a:pt x="324104" y="254458"/>
                </a:cubicBezTo>
                <a:cubicBezTo>
                  <a:pt x="331992" y="246570"/>
                  <a:pt x="342591" y="242626"/>
                  <a:pt x="355902" y="242626"/>
                </a:cubicBezTo>
                <a:close/>
                <a:moveTo>
                  <a:pt x="355163" y="187657"/>
                </a:moveTo>
                <a:cubicBezTo>
                  <a:pt x="320489" y="187657"/>
                  <a:pt x="293744" y="196449"/>
                  <a:pt x="274928" y="214032"/>
                </a:cubicBezTo>
                <a:cubicBezTo>
                  <a:pt x="256112" y="231616"/>
                  <a:pt x="246704" y="253883"/>
                  <a:pt x="246704" y="280833"/>
                </a:cubicBezTo>
                <a:cubicBezTo>
                  <a:pt x="246704" y="296609"/>
                  <a:pt x="250771" y="311111"/>
                  <a:pt x="258906" y="324340"/>
                </a:cubicBezTo>
                <a:cubicBezTo>
                  <a:pt x="267040" y="337568"/>
                  <a:pt x="280063" y="347962"/>
                  <a:pt x="297976" y="355521"/>
                </a:cubicBezTo>
                <a:cubicBezTo>
                  <a:pt x="277105" y="364395"/>
                  <a:pt x="261823" y="377008"/>
                  <a:pt x="252127" y="393359"/>
                </a:cubicBezTo>
                <a:cubicBezTo>
                  <a:pt x="242432" y="409709"/>
                  <a:pt x="237584" y="427663"/>
                  <a:pt x="237584" y="447218"/>
                </a:cubicBezTo>
                <a:cubicBezTo>
                  <a:pt x="237584" y="482714"/>
                  <a:pt x="250484" y="510650"/>
                  <a:pt x="276284" y="531027"/>
                </a:cubicBezTo>
                <a:cubicBezTo>
                  <a:pt x="298140" y="548282"/>
                  <a:pt x="325501" y="556909"/>
                  <a:pt x="358367" y="556909"/>
                </a:cubicBezTo>
                <a:cubicBezTo>
                  <a:pt x="393698" y="556909"/>
                  <a:pt x="422004" y="546474"/>
                  <a:pt x="443285" y="525604"/>
                </a:cubicBezTo>
                <a:cubicBezTo>
                  <a:pt x="464566" y="504734"/>
                  <a:pt x="475207" y="477619"/>
                  <a:pt x="475207" y="444260"/>
                </a:cubicBezTo>
                <a:cubicBezTo>
                  <a:pt x="475207" y="424047"/>
                  <a:pt x="469989" y="406217"/>
                  <a:pt x="459554" y="390770"/>
                </a:cubicBezTo>
                <a:cubicBezTo>
                  <a:pt x="449119" y="375323"/>
                  <a:pt x="433877" y="363574"/>
                  <a:pt x="413829" y="355521"/>
                </a:cubicBezTo>
                <a:cubicBezTo>
                  <a:pt x="429605" y="348619"/>
                  <a:pt x="441847" y="338636"/>
                  <a:pt x="450557" y="325572"/>
                </a:cubicBezTo>
                <a:cubicBezTo>
                  <a:pt x="459266" y="312508"/>
                  <a:pt x="463621" y="297595"/>
                  <a:pt x="463621" y="280833"/>
                </a:cubicBezTo>
                <a:cubicBezTo>
                  <a:pt x="463621" y="253883"/>
                  <a:pt x="454131" y="231616"/>
                  <a:pt x="435151" y="214032"/>
                </a:cubicBezTo>
                <a:cubicBezTo>
                  <a:pt x="416171" y="196449"/>
                  <a:pt x="389508" y="187657"/>
                  <a:pt x="355163" y="187657"/>
                </a:cubicBezTo>
                <a:close/>
                <a:moveTo>
                  <a:pt x="0" y="0"/>
                </a:moveTo>
                <a:lnTo>
                  <a:pt x="720000" y="0"/>
                </a:lnTo>
                <a:lnTo>
                  <a:pt x="720000" y="537019"/>
                </a:lnTo>
                <a:lnTo>
                  <a:pt x="537019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28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 (links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CD5745-2132-4CBC-B1E8-ED8B17F5A335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Text Placeholder 7 (right)"/>
          <p:cNvSpPr>
            <a:spLocks noGrp="1"/>
          </p:cNvSpPr>
          <p:nvPr>
            <p:ph type="body" sz="quarter" idx="14"/>
          </p:nvPr>
        </p:nvSpPr>
        <p:spPr bwMode="gray">
          <a:xfrm>
            <a:off x="6260373" y="1652274"/>
            <a:ext cx="5552419" cy="45822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117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1CB16F-B671-4857-9D68-A83D1B724CD7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5562742" cy="69373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 bwMode="gray">
          <a:xfrm>
            <a:off x="6273801" y="808039"/>
            <a:ext cx="5918198" cy="5429249"/>
          </a:xfrm>
          <a:custGeom>
            <a:avLst/>
            <a:gdLst/>
            <a:ahLst/>
            <a:cxnLst/>
            <a:rect l="l" t="t" r="r" b="b"/>
            <a:pathLst>
              <a:path w="5918198" h="5429249">
                <a:moveTo>
                  <a:pt x="1080000" y="0"/>
                </a:moveTo>
                <a:lnTo>
                  <a:pt x="5918197" y="0"/>
                </a:lnTo>
                <a:lnTo>
                  <a:pt x="5918198" y="4349249"/>
                </a:lnTo>
                <a:lnTo>
                  <a:pt x="4840467" y="5426980"/>
                </a:lnTo>
                <a:lnTo>
                  <a:pt x="0" y="5429249"/>
                </a:lnTo>
                <a:lnTo>
                  <a:pt x="0" y="1080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9708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 (top)"/>
          <p:cNvSpPr>
            <a:spLocks noGrp="1"/>
          </p:cNvSpPr>
          <p:nvPr>
            <p:ph type="pic" sz="quarter" idx="14"/>
          </p:nvPr>
        </p:nvSpPr>
        <p:spPr bwMode="gray">
          <a:xfrm>
            <a:off x="6273800" y="808039"/>
            <a:ext cx="5918197" cy="2696623"/>
          </a:xfrm>
          <a:custGeom>
            <a:avLst/>
            <a:gdLst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0 w 5918198"/>
              <a:gd name="connsiteY7" fmla="*/ 2339972 h 2696623"/>
              <a:gd name="connsiteX8" fmla="*/ 1 w 5918198"/>
              <a:gd name="connsiteY8" fmla="*/ 2339972 h 2696623"/>
              <a:gd name="connsiteX9" fmla="*/ 1 w 5918198"/>
              <a:gd name="connsiteY9" fmla="*/ 1079999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0 w 5918198"/>
              <a:gd name="connsiteY7" fmla="*/ 2339972 h 2696623"/>
              <a:gd name="connsiteX8" fmla="*/ 1 w 5918198"/>
              <a:gd name="connsiteY8" fmla="*/ 1079999 h 2696623"/>
              <a:gd name="connsiteX9" fmla="*/ 1080000 w 5918198"/>
              <a:gd name="connsiteY9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1 w 5918198"/>
              <a:gd name="connsiteY7" fmla="*/ 1079999 h 2696623"/>
              <a:gd name="connsiteX8" fmla="*/ 1080000 w 5918198"/>
              <a:gd name="connsiteY8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1 w 5918198"/>
              <a:gd name="connsiteY6" fmla="*/ 1079999 h 2696623"/>
              <a:gd name="connsiteX7" fmla="*/ 1080000 w 5918198"/>
              <a:gd name="connsiteY7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96623 h 2696623"/>
              <a:gd name="connsiteX4" fmla="*/ 0 w 5918198"/>
              <a:gd name="connsiteY4" fmla="*/ 2696623 h 2696623"/>
              <a:gd name="connsiteX5" fmla="*/ 1 w 5918198"/>
              <a:gd name="connsiteY5" fmla="*/ 1079999 h 2696623"/>
              <a:gd name="connsiteX6" fmla="*/ 1080000 w 5918198"/>
              <a:gd name="connsiteY6" fmla="*/ 0 h 2696623"/>
              <a:gd name="connsiteX0" fmla="*/ 1080000 w 6591212"/>
              <a:gd name="connsiteY0" fmla="*/ 0 h 2696623"/>
              <a:gd name="connsiteX1" fmla="*/ 5918197 w 6591212"/>
              <a:gd name="connsiteY1" fmla="*/ 0 h 2696623"/>
              <a:gd name="connsiteX2" fmla="*/ 5916612 w 6591212"/>
              <a:gd name="connsiteY2" fmla="*/ 2696623 h 2696623"/>
              <a:gd name="connsiteX3" fmla="*/ 0 w 6591212"/>
              <a:gd name="connsiteY3" fmla="*/ 2696623 h 2696623"/>
              <a:gd name="connsiteX4" fmla="*/ 1 w 6591212"/>
              <a:gd name="connsiteY4" fmla="*/ 1079999 h 2696623"/>
              <a:gd name="connsiteX5" fmla="*/ 1080000 w 6591212"/>
              <a:gd name="connsiteY5" fmla="*/ 0 h 2696623"/>
              <a:gd name="connsiteX0" fmla="*/ 1080000 w 6355231"/>
              <a:gd name="connsiteY0" fmla="*/ 0 h 2696623"/>
              <a:gd name="connsiteX1" fmla="*/ 5918197 w 6355231"/>
              <a:gd name="connsiteY1" fmla="*/ 0 h 2696623"/>
              <a:gd name="connsiteX2" fmla="*/ 5916612 w 6355231"/>
              <a:gd name="connsiteY2" fmla="*/ 2696623 h 2696623"/>
              <a:gd name="connsiteX3" fmla="*/ 0 w 6355231"/>
              <a:gd name="connsiteY3" fmla="*/ 2696623 h 2696623"/>
              <a:gd name="connsiteX4" fmla="*/ 1 w 6355231"/>
              <a:gd name="connsiteY4" fmla="*/ 1079999 h 2696623"/>
              <a:gd name="connsiteX5" fmla="*/ 1080000 w 6355231"/>
              <a:gd name="connsiteY5" fmla="*/ 0 h 2696623"/>
              <a:gd name="connsiteX0" fmla="*/ 1080000 w 5918197"/>
              <a:gd name="connsiteY0" fmla="*/ 0 h 2696623"/>
              <a:gd name="connsiteX1" fmla="*/ 5918197 w 5918197"/>
              <a:gd name="connsiteY1" fmla="*/ 0 h 2696623"/>
              <a:gd name="connsiteX2" fmla="*/ 5916612 w 5918197"/>
              <a:gd name="connsiteY2" fmla="*/ 2696623 h 2696623"/>
              <a:gd name="connsiteX3" fmla="*/ 0 w 5918197"/>
              <a:gd name="connsiteY3" fmla="*/ 2696623 h 2696623"/>
              <a:gd name="connsiteX4" fmla="*/ 1 w 5918197"/>
              <a:gd name="connsiteY4" fmla="*/ 1079999 h 2696623"/>
              <a:gd name="connsiteX5" fmla="*/ 1080000 w 5918197"/>
              <a:gd name="connsiteY5" fmla="*/ 0 h 269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8197" h="2696623">
                <a:moveTo>
                  <a:pt x="1080000" y="0"/>
                </a:moveTo>
                <a:lnTo>
                  <a:pt x="5918197" y="0"/>
                </a:lnTo>
                <a:cubicBezTo>
                  <a:pt x="5917404" y="1348311"/>
                  <a:pt x="5917404" y="1348311"/>
                  <a:pt x="5916612" y="2696623"/>
                </a:cubicBezTo>
                <a:lnTo>
                  <a:pt x="0" y="2696623"/>
                </a:lnTo>
                <a:cubicBezTo>
                  <a:pt x="0" y="2157748"/>
                  <a:pt x="1" y="1618874"/>
                  <a:pt x="1" y="1079999"/>
                </a:cubicBezTo>
                <a:lnTo>
                  <a:pt x="108000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8 (bottom)"/>
          <p:cNvSpPr>
            <a:spLocks noGrp="1"/>
          </p:cNvSpPr>
          <p:nvPr>
            <p:ph type="pic" sz="quarter" idx="15"/>
          </p:nvPr>
        </p:nvSpPr>
        <p:spPr bwMode="gray">
          <a:xfrm>
            <a:off x="6273801" y="3540664"/>
            <a:ext cx="5918198" cy="2696623"/>
          </a:xfrm>
          <a:custGeom>
            <a:avLst/>
            <a:gdLst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493174 h 2696623"/>
              <a:gd name="connsiteX8" fmla="*/ 0 w 5918198"/>
              <a:gd name="connsiteY8" fmla="*/ 35999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35999 h 2696623"/>
              <a:gd name="connsiteX8" fmla="*/ 0 w 5918198"/>
              <a:gd name="connsiteY8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1616624 h 2696623"/>
              <a:gd name="connsiteX4" fmla="*/ 4840467 w 5918198"/>
              <a:gd name="connsiteY4" fmla="*/ 2694355 h 2696623"/>
              <a:gd name="connsiteX5" fmla="*/ 0 w 5918198"/>
              <a:gd name="connsiteY5" fmla="*/ 2696623 h 2696623"/>
              <a:gd name="connsiteX6" fmla="*/ 0 w 5918198"/>
              <a:gd name="connsiteY6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8198 w 5918198"/>
              <a:gd name="connsiteY2" fmla="*/ 1616624 h 2696623"/>
              <a:gd name="connsiteX3" fmla="*/ 4840467 w 5918198"/>
              <a:gd name="connsiteY3" fmla="*/ 2694355 h 2696623"/>
              <a:gd name="connsiteX4" fmla="*/ 0 w 5918198"/>
              <a:gd name="connsiteY4" fmla="*/ 2696623 h 2696623"/>
              <a:gd name="connsiteX5" fmla="*/ 0 w 5918198"/>
              <a:gd name="connsiteY5" fmla="*/ 0 h 269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8198" h="2696623">
                <a:moveTo>
                  <a:pt x="0" y="0"/>
                </a:moveTo>
                <a:lnTo>
                  <a:pt x="5916612" y="0"/>
                </a:lnTo>
                <a:cubicBezTo>
                  <a:pt x="5917141" y="538875"/>
                  <a:pt x="5917669" y="1077749"/>
                  <a:pt x="5918198" y="1616624"/>
                </a:cubicBezTo>
                <a:lnTo>
                  <a:pt x="4840467" y="2694355"/>
                </a:lnTo>
                <a:lnTo>
                  <a:pt x="0" y="2696623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86C4604-D603-40A6-AAF6-DF6AC2A13859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5562742" cy="69373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144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6793" y="3641587"/>
            <a:ext cx="11469600" cy="69373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D867000-F22F-4ED8-94E3-5F6B1138127E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0" y="808026"/>
            <a:ext cx="12191999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 (left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4562804"/>
            <a:ext cx="5552419" cy="16717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7 (right)"/>
          <p:cNvSpPr>
            <a:spLocks noGrp="1"/>
          </p:cNvSpPr>
          <p:nvPr>
            <p:ph type="body" sz="quarter" idx="15"/>
          </p:nvPr>
        </p:nvSpPr>
        <p:spPr bwMode="gray">
          <a:xfrm>
            <a:off x="6260373" y="4562804"/>
            <a:ext cx="5552419" cy="16717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884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2) &amp;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6793" y="3641587"/>
            <a:ext cx="11469600" cy="69373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783D2D5-42BB-43E8-82D1-98F18DBAD483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Picture Placeholder 8 (left)"/>
          <p:cNvSpPr>
            <a:spLocks noGrp="1"/>
          </p:cNvSpPr>
          <p:nvPr>
            <p:ph type="pic" sz="quarter" idx="14"/>
          </p:nvPr>
        </p:nvSpPr>
        <p:spPr bwMode="gray">
          <a:xfrm>
            <a:off x="0" y="808026"/>
            <a:ext cx="5910328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 (left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4562804"/>
            <a:ext cx="5552419" cy="16717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7 (right)"/>
          <p:cNvSpPr>
            <a:spLocks noGrp="1"/>
          </p:cNvSpPr>
          <p:nvPr>
            <p:ph type="body" sz="quarter" idx="15"/>
          </p:nvPr>
        </p:nvSpPr>
        <p:spPr bwMode="gray">
          <a:xfrm>
            <a:off x="6260373" y="4562804"/>
            <a:ext cx="5552419" cy="16717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Picture Placeholder 8 (right)"/>
          <p:cNvSpPr>
            <a:spLocks noGrp="1"/>
          </p:cNvSpPr>
          <p:nvPr>
            <p:ph type="pic" sz="quarter" idx="16"/>
          </p:nvPr>
        </p:nvSpPr>
        <p:spPr bwMode="gray">
          <a:xfrm>
            <a:off x="6272941" y="808026"/>
            <a:ext cx="5917471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992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369093" y="1697832"/>
            <a:ext cx="11447300" cy="4536676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AE1BBC79-E77E-4210-8AF0-C4F538ADB5A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792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/>
            <a:ahLst/>
            <a:cxnLst/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lnTo>
                  <a:pt x="12192000" y="4346489"/>
                </a:lnTo>
                <a:lnTo>
                  <a:pt x="11112000" y="5426489"/>
                </a:lnTo>
                <a:lnTo>
                  <a:pt x="0" y="542648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54DF7D-45A6-42B5-AC4B-BAF724F8487E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 bwMode="gray">
          <a:xfrm>
            <a:off x="804863" y="975360"/>
            <a:ext cx="2906077" cy="4246880"/>
          </a:xfrm>
          <a:custGeom>
            <a:avLst/>
            <a:gdLst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2768867 h 4246880"/>
              <a:gd name="connsiteX3" fmla="*/ 2906077 w 2906077"/>
              <a:gd name="connsiteY3" fmla="*/ 3078481 h 4246880"/>
              <a:gd name="connsiteX4" fmla="*/ 2906077 w 2906077"/>
              <a:gd name="connsiteY4" fmla="*/ 3454880 h 4246880"/>
              <a:gd name="connsiteX5" fmla="*/ 2114077 w 2906077"/>
              <a:gd name="connsiteY5" fmla="*/ 4246880 h 4246880"/>
              <a:gd name="connsiteX6" fmla="*/ 1737678 w 2906077"/>
              <a:gd name="connsiteY6" fmla="*/ 4246880 h 4246880"/>
              <a:gd name="connsiteX7" fmla="*/ 1466699 w 2906077"/>
              <a:gd name="connsiteY7" fmla="*/ 4246880 h 4246880"/>
              <a:gd name="connsiteX8" fmla="*/ 0 w 2906077"/>
              <a:gd name="connsiteY8" fmla="*/ 424688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2768867 h 4246880"/>
              <a:gd name="connsiteX3" fmla="*/ 2906077 w 2906077"/>
              <a:gd name="connsiteY3" fmla="*/ 3454880 h 4246880"/>
              <a:gd name="connsiteX4" fmla="*/ 2114077 w 2906077"/>
              <a:gd name="connsiteY4" fmla="*/ 4246880 h 4246880"/>
              <a:gd name="connsiteX5" fmla="*/ 1737678 w 2906077"/>
              <a:gd name="connsiteY5" fmla="*/ 4246880 h 4246880"/>
              <a:gd name="connsiteX6" fmla="*/ 1466699 w 2906077"/>
              <a:gd name="connsiteY6" fmla="*/ 4246880 h 4246880"/>
              <a:gd name="connsiteX7" fmla="*/ 0 w 2906077"/>
              <a:gd name="connsiteY7" fmla="*/ 4246880 h 4246880"/>
              <a:gd name="connsiteX8" fmla="*/ 0 w 2906077"/>
              <a:gd name="connsiteY8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1737678 w 2906077"/>
              <a:gd name="connsiteY4" fmla="*/ 4246880 h 4246880"/>
              <a:gd name="connsiteX5" fmla="*/ 1466699 w 2906077"/>
              <a:gd name="connsiteY5" fmla="*/ 4246880 h 4246880"/>
              <a:gd name="connsiteX6" fmla="*/ 0 w 2906077"/>
              <a:gd name="connsiteY6" fmla="*/ 4246880 h 4246880"/>
              <a:gd name="connsiteX7" fmla="*/ 0 w 2906077"/>
              <a:gd name="connsiteY7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1466699 w 2906077"/>
              <a:gd name="connsiteY4" fmla="*/ 4246880 h 4246880"/>
              <a:gd name="connsiteX5" fmla="*/ 0 w 2906077"/>
              <a:gd name="connsiteY5" fmla="*/ 4246880 h 4246880"/>
              <a:gd name="connsiteX6" fmla="*/ 0 w 2906077"/>
              <a:gd name="connsiteY6" fmla="*/ 0 h 4246880"/>
              <a:gd name="connsiteX0" fmla="*/ 0 w 2906077"/>
              <a:gd name="connsiteY0" fmla="*/ 0 h 4246880"/>
              <a:gd name="connsiteX1" fmla="*/ 2906077 w 2906077"/>
              <a:gd name="connsiteY1" fmla="*/ 0 h 4246880"/>
              <a:gd name="connsiteX2" fmla="*/ 2906077 w 2906077"/>
              <a:gd name="connsiteY2" fmla="*/ 3454880 h 4246880"/>
              <a:gd name="connsiteX3" fmla="*/ 2114077 w 2906077"/>
              <a:gd name="connsiteY3" fmla="*/ 4246880 h 4246880"/>
              <a:gd name="connsiteX4" fmla="*/ 0 w 2906077"/>
              <a:gd name="connsiteY4" fmla="*/ 4246880 h 4246880"/>
              <a:gd name="connsiteX5" fmla="*/ 0 w 2906077"/>
              <a:gd name="connsiteY5" fmla="*/ 0 h 424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06077" h="4246880">
                <a:moveTo>
                  <a:pt x="0" y="0"/>
                </a:moveTo>
                <a:lnTo>
                  <a:pt x="2906077" y="0"/>
                </a:lnTo>
                <a:lnTo>
                  <a:pt x="2906077" y="3454880"/>
                </a:lnTo>
                <a:lnTo>
                  <a:pt x="2114077" y="4246880"/>
                </a:lnTo>
                <a:lnTo>
                  <a:pt x="0" y="42468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>
            <a:noAutofit/>
          </a:bodyPr>
          <a:lstStyle>
            <a:lvl1pPr>
              <a:spcBef>
                <a:spcPts val="0"/>
              </a:spcBef>
              <a:spcAft>
                <a:spcPts val="2000"/>
              </a:spcAft>
              <a:defRPr sz="2400" b="1" cap="all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128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803826C-3F57-48CA-8B64-8532D728C8C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noProof="0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533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909B831-2944-423F-B40B-F8B06B59250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3"/>
          </p:nvPr>
        </p:nvSpPr>
        <p:spPr bwMode="gray">
          <a:xfrm>
            <a:off x="-1" y="808025"/>
            <a:ext cx="12192000" cy="5426489"/>
          </a:xfrm>
          <a:custGeom>
            <a:avLst/>
            <a:gdLst>
              <a:gd name="connsiteX0" fmla="*/ 4267541 w 12192000"/>
              <a:gd name="connsiteY0" fmla="*/ 5426489 h 5426489"/>
              <a:gd name="connsiteX1" fmla="*/ 4831635 w 12192000"/>
              <a:gd name="connsiteY1" fmla="*/ 5426489 h 5426489"/>
              <a:gd name="connsiteX2" fmla="*/ 4267541 w 12192000"/>
              <a:gd name="connsiteY2" fmla="*/ 5426489 h 5426489"/>
              <a:gd name="connsiteX3" fmla="*/ 0 w 12192000"/>
              <a:gd name="connsiteY3" fmla="*/ 0 h 5426489"/>
              <a:gd name="connsiteX4" fmla="*/ 12191999 w 12192000"/>
              <a:gd name="connsiteY4" fmla="*/ 0 h 5426489"/>
              <a:gd name="connsiteX5" fmla="*/ 12192000 w 12192000"/>
              <a:gd name="connsiteY5" fmla="*/ 4346489 h 5426489"/>
              <a:gd name="connsiteX6" fmla="*/ 11112000 w 12192000"/>
              <a:gd name="connsiteY6" fmla="*/ 5426489 h 5426489"/>
              <a:gd name="connsiteX7" fmla="*/ 4831635 w 12192000"/>
              <a:gd name="connsiteY7" fmla="*/ 5426489 h 5426489"/>
              <a:gd name="connsiteX8" fmla="*/ 5911635 w 12192000"/>
              <a:gd name="connsiteY8" fmla="*/ 4346489 h 5426489"/>
              <a:gd name="connsiteX9" fmla="*/ 5911635 w 12192000"/>
              <a:gd name="connsiteY9" fmla="*/ 3773266 h 5426489"/>
              <a:gd name="connsiteX10" fmla="*/ 5911637 w 12192000"/>
              <a:gd name="connsiteY10" fmla="*/ 3773264 h 5426489"/>
              <a:gd name="connsiteX11" fmla="*/ 5911637 w 12192000"/>
              <a:gd name="connsiteY11" fmla="*/ 1342934 h 5426489"/>
              <a:gd name="connsiteX12" fmla="*/ 5911635 w 12192000"/>
              <a:gd name="connsiteY12" fmla="*/ 1342934 h 5426489"/>
              <a:gd name="connsiteX13" fmla="*/ 5911635 w 12192000"/>
              <a:gd name="connsiteY13" fmla="*/ 1340158 h 5426489"/>
              <a:gd name="connsiteX14" fmla="*/ 0 w 12192000"/>
              <a:gd name="connsiteY14" fmla="*/ 1340158 h 5426489"/>
              <a:gd name="connsiteX15" fmla="*/ 0 w 12192000"/>
              <a:gd name="connsiteY15" fmla="*/ 761984 h 5426489"/>
              <a:gd name="connsiteX16" fmla="*/ 0 w 12192000"/>
              <a:gd name="connsiteY16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3773264 h 5426489"/>
              <a:gd name="connsiteX8" fmla="*/ 5911637 w 12192000"/>
              <a:gd name="connsiteY8" fmla="*/ 1342934 h 5426489"/>
              <a:gd name="connsiteX9" fmla="*/ 5911635 w 12192000"/>
              <a:gd name="connsiteY9" fmla="*/ 1342934 h 5426489"/>
              <a:gd name="connsiteX10" fmla="*/ 5911635 w 12192000"/>
              <a:gd name="connsiteY10" fmla="*/ 1340158 h 5426489"/>
              <a:gd name="connsiteX11" fmla="*/ 0 w 12192000"/>
              <a:gd name="connsiteY11" fmla="*/ 1340158 h 5426489"/>
              <a:gd name="connsiteX12" fmla="*/ 0 w 12192000"/>
              <a:gd name="connsiteY12" fmla="*/ 761984 h 5426489"/>
              <a:gd name="connsiteX13" fmla="*/ 0 w 12192000"/>
              <a:gd name="connsiteY13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5 w 12192000"/>
              <a:gd name="connsiteY6" fmla="*/ 3773266 h 5426489"/>
              <a:gd name="connsiteX7" fmla="*/ 5911637 w 12192000"/>
              <a:gd name="connsiteY7" fmla="*/ 1342934 h 5426489"/>
              <a:gd name="connsiteX8" fmla="*/ 5911635 w 12192000"/>
              <a:gd name="connsiteY8" fmla="*/ 1342934 h 5426489"/>
              <a:gd name="connsiteX9" fmla="*/ 5911635 w 12192000"/>
              <a:gd name="connsiteY9" fmla="*/ 1340158 h 5426489"/>
              <a:gd name="connsiteX10" fmla="*/ 0 w 12192000"/>
              <a:gd name="connsiteY10" fmla="*/ 1340158 h 5426489"/>
              <a:gd name="connsiteX11" fmla="*/ 0 w 12192000"/>
              <a:gd name="connsiteY11" fmla="*/ 761984 h 5426489"/>
              <a:gd name="connsiteX12" fmla="*/ 0 w 12192000"/>
              <a:gd name="connsiteY12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761984 h 5426489"/>
              <a:gd name="connsiteX11" fmla="*/ 0 w 12192000"/>
              <a:gd name="connsiteY11" fmla="*/ 0 h 5426489"/>
              <a:gd name="connsiteX0" fmla="*/ 0 w 12192000"/>
              <a:gd name="connsiteY0" fmla="*/ 0 h 5426489"/>
              <a:gd name="connsiteX1" fmla="*/ 12191999 w 12192000"/>
              <a:gd name="connsiteY1" fmla="*/ 0 h 5426489"/>
              <a:gd name="connsiteX2" fmla="*/ 12192000 w 12192000"/>
              <a:gd name="connsiteY2" fmla="*/ 4346489 h 5426489"/>
              <a:gd name="connsiteX3" fmla="*/ 11112000 w 12192000"/>
              <a:gd name="connsiteY3" fmla="*/ 5426489 h 5426489"/>
              <a:gd name="connsiteX4" fmla="*/ 4831635 w 12192000"/>
              <a:gd name="connsiteY4" fmla="*/ 5426489 h 5426489"/>
              <a:gd name="connsiteX5" fmla="*/ 5911635 w 12192000"/>
              <a:gd name="connsiteY5" fmla="*/ 4346489 h 5426489"/>
              <a:gd name="connsiteX6" fmla="*/ 5911637 w 12192000"/>
              <a:gd name="connsiteY6" fmla="*/ 1342934 h 5426489"/>
              <a:gd name="connsiteX7" fmla="*/ 5911635 w 12192000"/>
              <a:gd name="connsiteY7" fmla="*/ 1342934 h 5426489"/>
              <a:gd name="connsiteX8" fmla="*/ 5911635 w 12192000"/>
              <a:gd name="connsiteY8" fmla="*/ 1340158 h 5426489"/>
              <a:gd name="connsiteX9" fmla="*/ 0 w 12192000"/>
              <a:gd name="connsiteY9" fmla="*/ 1340158 h 5426489"/>
              <a:gd name="connsiteX10" fmla="*/ 0 w 12192000"/>
              <a:gd name="connsiteY10" fmla="*/ 0 h 5426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6489">
                <a:moveTo>
                  <a:pt x="0" y="0"/>
                </a:moveTo>
                <a:lnTo>
                  <a:pt x="12191999" y="0"/>
                </a:lnTo>
                <a:cubicBezTo>
                  <a:pt x="12191999" y="1448830"/>
                  <a:pt x="12192000" y="2897659"/>
                  <a:pt x="12192000" y="4346489"/>
                </a:cubicBezTo>
                <a:lnTo>
                  <a:pt x="11112000" y="5426489"/>
                </a:lnTo>
                <a:lnTo>
                  <a:pt x="4831635" y="5426489"/>
                </a:lnTo>
                <a:lnTo>
                  <a:pt x="5911635" y="4346489"/>
                </a:lnTo>
                <a:cubicBezTo>
                  <a:pt x="5911636" y="3345304"/>
                  <a:pt x="5911636" y="2344119"/>
                  <a:pt x="5911637" y="1342934"/>
                </a:cubicBezTo>
                <a:lnTo>
                  <a:pt x="5911635" y="1342934"/>
                </a:lnTo>
                <a:lnTo>
                  <a:pt x="5911635" y="1340158"/>
                </a:lnTo>
                <a:lnTo>
                  <a:pt x="0" y="134015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8FC2B87-2E99-4CCB-AFB9-1A1F4515BEDB}"/>
              </a:ext>
            </a:extLst>
          </p:cNvPr>
          <p:cNvSpPr/>
          <p:nvPr/>
        </p:nvSpPr>
        <p:spPr bwMode="gray">
          <a:xfrm flipV="1">
            <a:off x="1" y="2148183"/>
            <a:ext cx="5911635" cy="4086331"/>
          </a:xfrm>
          <a:custGeom>
            <a:avLst/>
            <a:gdLst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3965607 w 5911635"/>
              <a:gd name="connsiteY6" fmla="*/ 0 h 4086331"/>
              <a:gd name="connsiteX7" fmla="*/ 0 w 5911635"/>
              <a:gd name="connsiteY7" fmla="*/ 1 h 4086331"/>
              <a:gd name="connsiteX8" fmla="*/ 0 w 5911635"/>
              <a:gd name="connsiteY8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656001 h 4086331"/>
              <a:gd name="connsiteX4" fmla="*/ 5911635 w 5911635"/>
              <a:gd name="connsiteY4" fmla="*/ 1080000 h 4086331"/>
              <a:gd name="connsiteX5" fmla="*/ 4831635 w 5911635"/>
              <a:gd name="connsiteY5" fmla="*/ 0 h 4086331"/>
              <a:gd name="connsiteX6" fmla="*/ 0 w 5911635"/>
              <a:gd name="connsiteY6" fmla="*/ 1 h 4086331"/>
              <a:gd name="connsiteX7" fmla="*/ 0 w 5911635"/>
              <a:gd name="connsiteY7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2043072 h 4086331"/>
              <a:gd name="connsiteX3" fmla="*/ 5911635 w 5911635"/>
              <a:gd name="connsiteY3" fmla="*/ 1080000 h 4086331"/>
              <a:gd name="connsiteX4" fmla="*/ 4831635 w 5911635"/>
              <a:gd name="connsiteY4" fmla="*/ 0 h 4086331"/>
              <a:gd name="connsiteX5" fmla="*/ 0 w 5911635"/>
              <a:gd name="connsiteY5" fmla="*/ 1 h 4086331"/>
              <a:gd name="connsiteX6" fmla="*/ 0 w 5911635"/>
              <a:gd name="connsiteY6" fmla="*/ 4086331 h 4086331"/>
              <a:gd name="connsiteX0" fmla="*/ 0 w 5911635"/>
              <a:gd name="connsiteY0" fmla="*/ 4086331 h 4086331"/>
              <a:gd name="connsiteX1" fmla="*/ 5911635 w 5911635"/>
              <a:gd name="connsiteY1" fmla="*/ 4086331 h 4086331"/>
              <a:gd name="connsiteX2" fmla="*/ 5911635 w 5911635"/>
              <a:gd name="connsiteY2" fmla="*/ 1080000 h 4086331"/>
              <a:gd name="connsiteX3" fmla="*/ 4831635 w 5911635"/>
              <a:gd name="connsiteY3" fmla="*/ 0 h 4086331"/>
              <a:gd name="connsiteX4" fmla="*/ 0 w 5911635"/>
              <a:gd name="connsiteY4" fmla="*/ 1 h 4086331"/>
              <a:gd name="connsiteX5" fmla="*/ 0 w 5911635"/>
              <a:gd name="connsiteY5" fmla="*/ 4086331 h 408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1635" h="4086331">
                <a:moveTo>
                  <a:pt x="0" y="4086331"/>
                </a:moveTo>
                <a:lnTo>
                  <a:pt x="5911635" y="4086331"/>
                </a:lnTo>
                <a:lnTo>
                  <a:pt x="5911635" y="1080000"/>
                </a:lnTo>
                <a:lnTo>
                  <a:pt x="4831635" y="0"/>
                </a:lnTo>
                <a:lnTo>
                  <a:pt x="0" y="1"/>
                </a:lnTo>
                <a:lnTo>
                  <a:pt x="0" y="40863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noProof="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5C4684-4986-4A53-B19F-63001F9D2ABB}"/>
              </a:ext>
            </a:extLst>
          </p:cNvPr>
          <p:cNvGrpSpPr/>
          <p:nvPr/>
        </p:nvGrpSpPr>
        <p:grpSpPr bwMode="gray">
          <a:xfrm>
            <a:off x="366281" y="2333338"/>
            <a:ext cx="687011" cy="799999"/>
            <a:chOff x="5575300" y="4071938"/>
            <a:chExt cx="1081088" cy="1258887"/>
          </a:xfrm>
          <a:solidFill>
            <a:schemeClr val="accent6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3729C28-DB4F-4C05-9073-3590440137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5300" y="4835525"/>
              <a:ext cx="1081088" cy="495300"/>
            </a:xfrm>
            <a:custGeom>
              <a:avLst/>
              <a:gdLst>
                <a:gd name="T0" fmla="*/ 1196 w 1380"/>
                <a:gd name="T1" fmla="*/ 129 h 631"/>
                <a:gd name="T2" fmla="*/ 930 w 1380"/>
                <a:gd name="T3" fmla="*/ 0 h 631"/>
                <a:gd name="T4" fmla="*/ 801 w 1380"/>
                <a:gd name="T5" fmla="*/ 407 h 631"/>
                <a:gd name="T6" fmla="*/ 783 w 1380"/>
                <a:gd name="T7" fmla="*/ 462 h 631"/>
                <a:gd name="T8" fmla="*/ 726 w 1380"/>
                <a:gd name="T9" fmla="*/ 299 h 631"/>
                <a:gd name="T10" fmla="*/ 691 w 1380"/>
                <a:gd name="T11" fmla="*/ 105 h 631"/>
                <a:gd name="T12" fmla="*/ 690 w 1380"/>
                <a:gd name="T13" fmla="*/ 105 h 631"/>
                <a:gd name="T14" fmla="*/ 655 w 1380"/>
                <a:gd name="T15" fmla="*/ 299 h 631"/>
                <a:gd name="T16" fmla="*/ 597 w 1380"/>
                <a:gd name="T17" fmla="*/ 462 h 631"/>
                <a:gd name="T18" fmla="*/ 580 w 1380"/>
                <a:gd name="T19" fmla="*/ 407 h 631"/>
                <a:gd name="T20" fmla="*/ 451 w 1380"/>
                <a:gd name="T21" fmla="*/ 0 h 631"/>
                <a:gd name="T22" fmla="*/ 184 w 1380"/>
                <a:gd name="T23" fmla="*/ 129 h 631"/>
                <a:gd name="T24" fmla="*/ 8 w 1380"/>
                <a:gd name="T25" fmla="*/ 631 h 631"/>
                <a:gd name="T26" fmla="*/ 1373 w 1380"/>
                <a:gd name="T27" fmla="*/ 631 h 631"/>
                <a:gd name="T28" fmla="*/ 1196 w 1380"/>
                <a:gd name="T29" fmla="*/ 129 h 631"/>
                <a:gd name="T30" fmla="*/ 1196 w 1380"/>
                <a:gd name="T31" fmla="*/ 129 h 631"/>
                <a:gd name="T32" fmla="*/ 1196 w 1380"/>
                <a:gd name="T33" fmla="*/ 12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0" h="631">
                  <a:moveTo>
                    <a:pt x="1196" y="129"/>
                  </a:moveTo>
                  <a:cubicBezTo>
                    <a:pt x="1029" y="65"/>
                    <a:pt x="930" y="0"/>
                    <a:pt x="930" y="0"/>
                  </a:cubicBezTo>
                  <a:cubicBezTo>
                    <a:pt x="801" y="407"/>
                    <a:pt x="801" y="407"/>
                    <a:pt x="801" y="407"/>
                  </a:cubicBezTo>
                  <a:cubicBezTo>
                    <a:pt x="783" y="462"/>
                    <a:pt x="783" y="462"/>
                    <a:pt x="783" y="462"/>
                  </a:cubicBezTo>
                  <a:cubicBezTo>
                    <a:pt x="726" y="299"/>
                    <a:pt x="726" y="299"/>
                    <a:pt x="726" y="299"/>
                  </a:cubicBezTo>
                  <a:cubicBezTo>
                    <a:pt x="858" y="114"/>
                    <a:pt x="716" y="105"/>
                    <a:pt x="691" y="105"/>
                  </a:cubicBezTo>
                  <a:cubicBezTo>
                    <a:pt x="690" y="105"/>
                    <a:pt x="690" y="105"/>
                    <a:pt x="690" y="105"/>
                  </a:cubicBezTo>
                  <a:cubicBezTo>
                    <a:pt x="665" y="106"/>
                    <a:pt x="523" y="114"/>
                    <a:pt x="655" y="299"/>
                  </a:cubicBezTo>
                  <a:cubicBezTo>
                    <a:pt x="597" y="462"/>
                    <a:pt x="597" y="462"/>
                    <a:pt x="597" y="462"/>
                  </a:cubicBezTo>
                  <a:cubicBezTo>
                    <a:pt x="580" y="407"/>
                    <a:pt x="580" y="407"/>
                    <a:pt x="580" y="407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351" y="65"/>
                    <a:pt x="184" y="129"/>
                  </a:cubicBezTo>
                  <a:cubicBezTo>
                    <a:pt x="0" y="196"/>
                    <a:pt x="12" y="347"/>
                    <a:pt x="8" y="631"/>
                  </a:cubicBezTo>
                  <a:cubicBezTo>
                    <a:pt x="1373" y="631"/>
                    <a:pt x="1373" y="631"/>
                    <a:pt x="1373" y="631"/>
                  </a:cubicBezTo>
                  <a:cubicBezTo>
                    <a:pt x="1369" y="347"/>
                    <a:pt x="1380" y="196"/>
                    <a:pt x="1196" y="129"/>
                  </a:cubicBezTo>
                  <a:close/>
                  <a:moveTo>
                    <a:pt x="1196" y="129"/>
                  </a:moveTo>
                  <a:cubicBezTo>
                    <a:pt x="1196" y="129"/>
                    <a:pt x="1196" y="129"/>
                    <a:pt x="1196" y="12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51C4A591-7416-43B8-B361-B387B6F4BFE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37225" y="4071938"/>
              <a:ext cx="754063" cy="749300"/>
            </a:xfrm>
            <a:custGeom>
              <a:avLst/>
              <a:gdLst>
                <a:gd name="T0" fmla="*/ 157 w 960"/>
                <a:gd name="T1" fmla="*/ 773 h 956"/>
                <a:gd name="T2" fmla="*/ 67 w 960"/>
                <a:gd name="T3" fmla="*/ 875 h 956"/>
                <a:gd name="T4" fmla="*/ 72 w 960"/>
                <a:gd name="T5" fmla="*/ 907 h 956"/>
                <a:gd name="T6" fmla="*/ 258 w 960"/>
                <a:gd name="T7" fmla="*/ 856 h 956"/>
                <a:gd name="T8" fmla="*/ 259 w 960"/>
                <a:gd name="T9" fmla="*/ 857 h 956"/>
                <a:gd name="T10" fmla="*/ 789 w 960"/>
                <a:gd name="T11" fmla="*/ 789 h 956"/>
                <a:gd name="T12" fmla="*/ 789 w 960"/>
                <a:gd name="T13" fmla="*/ 171 h 956"/>
                <a:gd name="T14" fmla="*/ 171 w 960"/>
                <a:gd name="T15" fmla="*/ 171 h 956"/>
                <a:gd name="T16" fmla="*/ 152 w 960"/>
                <a:gd name="T17" fmla="*/ 770 h 956"/>
                <a:gd name="T18" fmla="*/ 157 w 960"/>
                <a:gd name="T19" fmla="*/ 773 h 956"/>
                <a:gd name="T20" fmla="*/ 498 w 960"/>
                <a:gd name="T21" fmla="*/ 210 h 956"/>
                <a:gd name="T22" fmla="*/ 569 w 960"/>
                <a:gd name="T23" fmla="*/ 282 h 956"/>
                <a:gd name="T24" fmla="*/ 498 w 960"/>
                <a:gd name="T25" fmla="*/ 354 h 956"/>
                <a:gd name="T26" fmla="*/ 427 w 960"/>
                <a:gd name="T27" fmla="*/ 281 h 956"/>
                <a:gd name="T28" fmla="*/ 498 w 960"/>
                <a:gd name="T29" fmla="*/ 210 h 956"/>
                <a:gd name="T30" fmla="*/ 360 w 960"/>
                <a:gd name="T31" fmla="*/ 401 h 956"/>
                <a:gd name="T32" fmla="*/ 376 w 960"/>
                <a:gd name="T33" fmla="*/ 387 h 956"/>
                <a:gd name="T34" fmla="*/ 392 w 960"/>
                <a:gd name="T35" fmla="*/ 385 h 956"/>
                <a:gd name="T36" fmla="*/ 527 w 960"/>
                <a:gd name="T37" fmla="*/ 385 h 956"/>
                <a:gd name="T38" fmla="*/ 554 w 960"/>
                <a:gd name="T39" fmla="*/ 410 h 956"/>
                <a:gd name="T40" fmla="*/ 549 w 960"/>
                <a:gd name="T41" fmla="*/ 452 h 956"/>
                <a:gd name="T42" fmla="*/ 522 w 960"/>
                <a:gd name="T43" fmla="*/ 604 h 956"/>
                <a:gd name="T44" fmla="*/ 513 w 960"/>
                <a:gd name="T45" fmla="*/ 655 h 956"/>
                <a:gd name="T46" fmla="*/ 515 w 960"/>
                <a:gd name="T47" fmla="*/ 679 h 956"/>
                <a:gd name="T48" fmla="*/ 537 w 960"/>
                <a:gd name="T49" fmla="*/ 695 h 956"/>
                <a:gd name="T50" fmla="*/ 563 w 960"/>
                <a:gd name="T51" fmla="*/ 687 h 956"/>
                <a:gd name="T52" fmla="*/ 583 w 960"/>
                <a:gd name="T53" fmla="*/ 677 h 956"/>
                <a:gd name="T54" fmla="*/ 600 w 960"/>
                <a:gd name="T55" fmla="*/ 691 h 956"/>
                <a:gd name="T56" fmla="*/ 590 w 960"/>
                <a:gd name="T57" fmla="*/ 708 h 956"/>
                <a:gd name="T58" fmla="*/ 496 w 960"/>
                <a:gd name="T59" fmla="*/ 750 h 956"/>
                <a:gd name="T60" fmla="*/ 444 w 960"/>
                <a:gd name="T61" fmla="*/ 747 h 956"/>
                <a:gd name="T62" fmla="*/ 384 w 960"/>
                <a:gd name="T63" fmla="*/ 670 h 956"/>
                <a:gd name="T64" fmla="*/ 396 w 960"/>
                <a:gd name="T65" fmla="*/ 593 h 956"/>
                <a:gd name="T66" fmla="*/ 420 w 960"/>
                <a:gd name="T67" fmla="*/ 460 h 956"/>
                <a:gd name="T68" fmla="*/ 420 w 960"/>
                <a:gd name="T69" fmla="*/ 451 h 956"/>
                <a:gd name="T70" fmla="*/ 396 w 960"/>
                <a:gd name="T71" fmla="*/ 423 h 956"/>
                <a:gd name="T72" fmla="*/ 372 w 960"/>
                <a:gd name="T73" fmla="*/ 419 h 956"/>
                <a:gd name="T74" fmla="*/ 360 w 960"/>
                <a:gd name="T75" fmla="*/ 401 h 956"/>
                <a:gd name="T76" fmla="*/ 360 w 960"/>
                <a:gd name="T77" fmla="*/ 401 h 956"/>
                <a:gd name="T78" fmla="*/ 360 w 960"/>
                <a:gd name="T79" fmla="*/ 401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0" h="956">
                  <a:moveTo>
                    <a:pt x="157" y="773"/>
                  </a:moveTo>
                  <a:cubicBezTo>
                    <a:pt x="140" y="809"/>
                    <a:pt x="112" y="853"/>
                    <a:pt x="67" y="875"/>
                  </a:cubicBezTo>
                  <a:cubicBezTo>
                    <a:pt x="52" y="882"/>
                    <a:pt x="55" y="904"/>
                    <a:pt x="72" y="907"/>
                  </a:cubicBezTo>
                  <a:cubicBezTo>
                    <a:pt x="121" y="915"/>
                    <a:pt x="192" y="906"/>
                    <a:pt x="258" y="856"/>
                  </a:cubicBezTo>
                  <a:cubicBezTo>
                    <a:pt x="259" y="857"/>
                    <a:pt x="259" y="857"/>
                    <a:pt x="259" y="857"/>
                  </a:cubicBezTo>
                  <a:cubicBezTo>
                    <a:pt x="426" y="956"/>
                    <a:pt x="645" y="933"/>
                    <a:pt x="789" y="789"/>
                  </a:cubicBezTo>
                  <a:cubicBezTo>
                    <a:pt x="960" y="618"/>
                    <a:pt x="960" y="342"/>
                    <a:pt x="789" y="171"/>
                  </a:cubicBezTo>
                  <a:cubicBezTo>
                    <a:pt x="618" y="0"/>
                    <a:pt x="342" y="0"/>
                    <a:pt x="171" y="171"/>
                  </a:cubicBezTo>
                  <a:cubicBezTo>
                    <a:pt x="6" y="335"/>
                    <a:pt x="0" y="598"/>
                    <a:pt x="152" y="770"/>
                  </a:cubicBezTo>
                  <a:lnTo>
                    <a:pt x="157" y="773"/>
                  </a:lnTo>
                  <a:close/>
                  <a:moveTo>
                    <a:pt x="498" y="210"/>
                  </a:moveTo>
                  <a:cubicBezTo>
                    <a:pt x="538" y="210"/>
                    <a:pt x="569" y="242"/>
                    <a:pt x="569" y="282"/>
                  </a:cubicBezTo>
                  <a:cubicBezTo>
                    <a:pt x="568" y="322"/>
                    <a:pt x="536" y="354"/>
                    <a:pt x="498" y="354"/>
                  </a:cubicBezTo>
                  <a:cubicBezTo>
                    <a:pt x="458" y="353"/>
                    <a:pt x="426" y="321"/>
                    <a:pt x="427" y="281"/>
                  </a:cubicBezTo>
                  <a:cubicBezTo>
                    <a:pt x="427" y="241"/>
                    <a:pt x="459" y="210"/>
                    <a:pt x="498" y="210"/>
                  </a:cubicBezTo>
                  <a:close/>
                  <a:moveTo>
                    <a:pt x="360" y="401"/>
                  </a:moveTo>
                  <a:cubicBezTo>
                    <a:pt x="361" y="394"/>
                    <a:pt x="365" y="389"/>
                    <a:pt x="376" y="387"/>
                  </a:cubicBezTo>
                  <a:cubicBezTo>
                    <a:pt x="381" y="386"/>
                    <a:pt x="387" y="385"/>
                    <a:pt x="392" y="385"/>
                  </a:cubicBezTo>
                  <a:cubicBezTo>
                    <a:pt x="527" y="385"/>
                    <a:pt x="527" y="385"/>
                    <a:pt x="527" y="385"/>
                  </a:cubicBezTo>
                  <a:cubicBezTo>
                    <a:pt x="544" y="385"/>
                    <a:pt x="554" y="393"/>
                    <a:pt x="554" y="410"/>
                  </a:cubicBezTo>
                  <a:cubicBezTo>
                    <a:pt x="554" y="424"/>
                    <a:pt x="552" y="438"/>
                    <a:pt x="549" y="452"/>
                  </a:cubicBezTo>
                  <a:cubicBezTo>
                    <a:pt x="540" y="502"/>
                    <a:pt x="531" y="553"/>
                    <a:pt x="522" y="604"/>
                  </a:cubicBezTo>
                  <a:cubicBezTo>
                    <a:pt x="518" y="621"/>
                    <a:pt x="515" y="638"/>
                    <a:pt x="513" y="655"/>
                  </a:cubicBezTo>
                  <a:cubicBezTo>
                    <a:pt x="512" y="663"/>
                    <a:pt x="513" y="671"/>
                    <a:pt x="515" y="679"/>
                  </a:cubicBezTo>
                  <a:cubicBezTo>
                    <a:pt x="518" y="690"/>
                    <a:pt x="526" y="696"/>
                    <a:pt x="537" y="695"/>
                  </a:cubicBezTo>
                  <a:cubicBezTo>
                    <a:pt x="546" y="694"/>
                    <a:pt x="555" y="691"/>
                    <a:pt x="563" y="687"/>
                  </a:cubicBezTo>
                  <a:cubicBezTo>
                    <a:pt x="570" y="685"/>
                    <a:pt x="576" y="680"/>
                    <a:pt x="583" y="677"/>
                  </a:cubicBezTo>
                  <a:cubicBezTo>
                    <a:pt x="594" y="673"/>
                    <a:pt x="602" y="680"/>
                    <a:pt x="600" y="691"/>
                  </a:cubicBezTo>
                  <a:cubicBezTo>
                    <a:pt x="598" y="697"/>
                    <a:pt x="594" y="703"/>
                    <a:pt x="590" y="708"/>
                  </a:cubicBezTo>
                  <a:cubicBezTo>
                    <a:pt x="564" y="734"/>
                    <a:pt x="533" y="750"/>
                    <a:pt x="496" y="750"/>
                  </a:cubicBezTo>
                  <a:cubicBezTo>
                    <a:pt x="478" y="750"/>
                    <a:pt x="461" y="750"/>
                    <a:pt x="444" y="747"/>
                  </a:cubicBezTo>
                  <a:cubicBezTo>
                    <a:pt x="415" y="743"/>
                    <a:pt x="379" y="708"/>
                    <a:pt x="384" y="670"/>
                  </a:cubicBezTo>
                  <a:cubicBezTo>
                    <a:pt x="388" y="645"/>
                    <a:pt x="392" y="619"/>
                    <a:pt x="396" y="593"/>
                  </a:cubicBezTo>
                  <a:cubicBezTo>
                    <a:pt x="404" y="549"/>
                    <a:pt x="412" y="504"/>
                    <a:pt x="420" y="460"/>
                  </a:cubicBezTo>
                  <a:cubicBezTo>
                    <a:pt x="420" y="457"/>
                    <a:pt x="420" y="454"/>
                    <a:pt x="420" y="451"/>
                  </a:cubicBezTo>
                  <a:cubicBezTo>
                    <a:pt x="420" y="433"/>
                    <a:pt x="414" y="426"/>
                    <a:pt x="396" y="423"/>
                  </a:cubicBezTo>
                  <a:cubicBezTo>
                    <a:pt x="388" y="422"/>
                    <a:pt x="380" y="422"/>
                    <a:pt x="372" y="419"/>
                  </a:cubicBezTo>
                  <a:cubicBezTo>
                    <a:pt x="363" y="416"/>
                    <a:pt x="359" y="408"/>
                    <a:pt x="360" y="401"/>
                  </a:cubicBezTo>
                  <a:close/>
                  <a:moveTo>
                    <a:pt x="360" y="401"/>
                  </a:moveTo>
                  <a:cubicBezTo>
                    <a:pt x="360" y="401"/>
                    <a:pt x="360" y="401"/>
                    <a:pt x="360" y="40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/>
          </p:nvPr>
        </p:nvSpPr>
        <p:spPr bwMode="gray">
          <a:xfrm>
            <a:off x="1234815" y="2333338"/>
            <a:ext cx="4500000" cy="878628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 Placeholder 17 (top)"/>
          <p:cNvSpPr>
            <a:spLocks noGrp="1"/>
          </p:cNvSpPr>
          <p:nvPr>
            <p:ph type="body" sz="quarter" idx="14"/>
          </p:nvPr>
        </p:nvSpPr>
        <p:spPr bwMode="gray">
          <a:xfrm>
            <a:off x="345278" y="3533778"/>
            <a:ext cx="5389537" cy="1080000"/>
          </a:xfrm>
        </p:spPr>
        <p:txBody>
          <a:bodyPr/>
          <a:lstStyle>
            <a:lvl1pPr marL="3175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cap="all" baseline="0">
                <a:solidFill>
                  <a:schemeClr val="bg1"/>
                </a:solidFill>
              </a:defRPr>
            </a:lvl1pPr>
            <a:lvl2pPr marL="31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3175" indent="0"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17 (bottom)"/>
          <p:cNvSpPr>
            <a:spLocks noGrp="1"/>
          </p:cNvSpPr>
          <p:nvPr>
            <p:ph type="body" sz="quarter" idx="15"/>
          </p:nvPr>
        </p:nvSpPr>
        <p:spPr bwMode="gray">
          <a:xfrm>
            <a:off x="345279" y="4777211"/>
            <a:ext cx="4140000" cy="895454"/>
          </a:xfrm>
        </p:spPr>
        <p:txBody>
          <a:bodyPr/>
          <a:lstStyle>
            <a:lvl1pPr marL="0" indent="0" defTabSz="72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1"/>
                </a:solidFill>
              </a:defRPr>
            </a:lvl1pPr>
            <a:lvl2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defTabSz="72000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Freeform 6"/>
          <p:cNvSpPr>
            <a:spLocks noChangeAspect="1" noEditPoints="1"/>
          </p:cNvSpPr>
          <p:nvPr/>
        </p:nvSpPr>
        <p:spPr bwMode="gray">
          <a:xfrm>
            <a:off x="371475" y="465599"/>
            <a:ext cx="1735200" cy="153386"/>
          </a:xfrm>
          <a:custGeom>
            <a:avLst/>
            <a:gdLst>
              <a:gd name="T0" fmla="*/ 946 w 26146"/>
              <a:gd name="T1" fmla="*/ 922 h 2648"/>
              <a:gd name="T2" fmla="*/ 376 w 26146"/>
              <a:gd name="T3" fmla="*/ 464 h 2648"/>
              <a:gd name="T4" fmla="*/ 220 w 26146"/>
              <a:gd name="T5" fmla="*/ 337 h 2648"/>
              <a:gd name="T6" fmla="*/ 2805 w 26146"/>
              <a:gd name="T7" fmla="*/ 1253 h 2648"/>
              <a:gd name="T8" fmla="*/ 2932 w 26146"/>
              <a:gd name="T9" fmla="*/ 1266 h 2648"/>
              <a:gd name="T10" fmla="*/ 3851 w 26146"/>
              <a:gd name="T11" fmla="*/ 1025 h 2648"/>
              <a:gd name="T12" fmla="*/ 3725 w 26146"/>
              <a:gd name="T13" fmla="*/ 1299 h 2648"/>
              <a:gd name="T14" fmla="*/ 2863 w 26146"/>
              <a:gd name="T15" fmla="*/ 2581 h 2648"/>
              <a:gd name="T16" fmla="*/ 3732 w 26146"/>
              <a:gd name="T17" fmla="*/ 1611 h 2648"/>
              <a:gd name="T18" fmla="*/ 3998 w 26146"/>
              <a:gd name="T19" fmla="*/ 1053 h 2648"/>
              <a:gd name="T20" fmla="*/ 4826 w 26146"/>
              <a:gd name="T21" fmla="*/ 1660 h 2648"/>
              <a:gd name="T22" fmla="*/ 4639 w 26146"/>
              <a:gd name="T23" fmla="*/ 1358 h 2648"/>
              <a:gd name="T24" fmla="*/ 6094 w 26146"/>
              <a:gd name="T25" fmla="*/ 639 h 2648"/>
              <a:gd name="T26" fmla="*/ 5658 w 26146"/>
              <a:gd name="T27" fmla="*/ 1632 h 2648"/>
              <a:gd name="T28" fmla="*/ 5667 w 26146"/>
              <a:gd name="T29" fmla="*/ 834 h 2648"/>
              <a:gd name="T30" fmla="*/ 5840 w 26146"/>
              <a:gd name="T31" fmla="*/ 692 h 2648"/>
              <a:gd name="T32" fmla="*/ 7554 w 26146"/>
              <a:gd name="T33" fmla="*/ 1825 h 2648"/>
              <a:gd name="T34" fmla="*/ 6494 w 26146"/>
              <a:gd name="T35" fmla="*/ 1735 h 2648"/>
              <a:gd name="T36" fmla="*/ 7405 w 26146"/>
              <a:gd name="T37" fmla="*/ 241 h 2648"/>
              <a:gd name="T38" fmla="*/ 8398 w 26146"/>
              <a:gd name="T39" fmla="*/ 1060 h 2648"/>
              <a:gd name="T40" fmla="*/ 8250 w 26146"/>
              <a:gd name="T41" fmla="*/ 995 h 2648"/>
              <a:gd name="T42" fmla="*/ 8280 w 26146"/>
              <a:gd name="T43" fmla="*/ 1591 h 2648"/>
              <a:gd name="T44" fmla="*/ 9105 w 26146"/>
              <a:gd name="T45" fmla="*/ 1499 h 2648"/>
              <a:gd name="T46" fmla="*/ 9650 w 26146"/>
              <a:gd name="T47" fmla="*/ 968 h 2648"/>
              <a:gd name="T48" fmla="*/ 11818 w 26146"/>
              <a:gd name="T49" fmla="*/ 1526 h 2648"/>
              <a:gd name="T50" fmla="*/ 11402 w 26146"/>
              <a:gd name="T51" fmla="*/ 1356 h 2648"/>
              <a:gd name="T52" fmla="*/ 12066 w 26146"/>
              <a:gd name="T53" fmla="*/ 1227 h 2648"/>
              <a:gd name="T54" fmla="*/ 12797 w 26146"/>
              <a:gd name="T55" fmla="*/ 906 h 2648"/>
              <a:gd name="T56" fmla="*/ 13451 w 26146"/>
              <a:gd name="T57" fmla="*/ 287 h 2648"/>
              <a:gd name="T58" fmla="*/ 13171 w 26146"/>
              <a:gd name="T59" fmla="*/ 1600 h 2648"/>
              <a:gd name="T60" fmla="*/ 13420 w 26146"/>
              <a:gd name="T61" fmla="*/ 1034 h 2648"/>
              <a:gd name="T62" fmla="*/ 14516 w 26146"/>
              <a:gd name="T63" fmla="*/ 807 h 2648"/>
              <a:gd name="T64" fmla="*/ 13748 w 26146"/>
              <a:gd name="T65" fmla="*/ 1499 h 2648"/>
              <a:gd name="T66" fmla="*/ 13891 w 26146"/>
              <a:gd name="T67" fmla="*/ 747 h 2648"/>
              <a:gd name="T68" fmla="*/ 16249 w 26146"/>
              <a:gd name="T69" fmla="*/ 986 h 2648"/>
              <a:gd name="T70" fmla="*/ 16063 w 26146"/>
              <a:gd name="T71" fmla="*/ 991 h 2648"/>
              <a:gd name="T72" fmla="*/ 15610 w 26146"/>
              <a:gd name="T73" fmla="*/ 437 h 2648"/>
              <a:gd name="T74" fmla="*/ 16249 w 26146"/>
              <a:gd name="T75" fmla="*/ 986 h 2648"/>
              <a:gd name="T76" fmla="*/ 17897 w 26146"/>
              <a:gd name="T77" fmla="*/ 1126 h 2648"/>
              <a:gd name="T78" fmla="*/ 17718 w 26146"/>
              <a:gd name="T79" fmla="*/ 1402 h 2648"/>
              <a:gd name="T80" fmla="*/ 17789 w 26146"/>
              <a:gd name="T81" fmla="*/ 1080 h 2648"/>
              <a:gd name="T82" fmla="*/ 18658 w 26146"/>
              <a:gd name="T83" fmla="*/ 200 h 2648"/>
              <a:gd name="T84" fmla="*/ 19984 w 26146"/>
              <a:gd name="T85" fmla="*/ 1733 h 2648"/>
              <a:gd name="T86" fmla="*/ 19908 w 26146"/>
              <a:gd name="T87" fmla="*/ 938 h 2648"/>
              <a:gd name="T88" fmla="*/ 19687 w 26146"/>
              <a:gd name="T89" fmla="*/ 1202 h 2648"/>
              <a:gd name="T90" fmla="*/ 19044 w 26146"/>
              <a:gd name="T91" fmla="*/ 1708 h 2648"/>
              <a:gd name="T92" fmla="*/ 19745 w 26146"/>
              <a:gd name="T93" fmla="*/ 1496 h 2648"/>
              <a:gd name="T94" fmla="*/ 21193 w 26146"/>
              <a:gd name="T95" fmla="*/ 1287 h 2648"/>
              <a:gd name="T96" fmla="*/ 20770 w 26146"/>
              <a:gd name="T97" fmla="*/ 1554 h 2648"/>
              <a:gd name="T98" fmla="*/ 21358 w 26146"/>
              <a:gd name="T99" fmla="*/ 595 h 2648"/>
              <a:gd name="T100" fmla="*/ 21869 w 26146"/>
              <a:gd name="T101" fmla="*/ 1758 h 2648"/>
              <a:gd name="T102" fmla="*/ 22324 w 26146"/>
              <a:gd name="T103" fmla="*/ 1172 h 2648"/>
              <a:gd name="T104" fmla="*/ 23333 w 26146"/>
              <a:gd name="T105" fmla="*/ 485 h 2648"/>
              <a:gd name="T106" fmla="*/ 23098 w 26146"/>
              <a:gd name="T107" fmla="*/ 1400 h 2648"/>
              <a:gd name="T108" fmla="*/ 23034 w 26146"/>
              <a:gd name="T109" fmla="*/ 1099 h 2648"/>
              <a:gd name="T110" fmla="*/ 24043 w 26146"/>
              <a:gd name="T111" fmla="*/ 1597 h 2648"/>
              <a:gd name="T112" fmla="*/ 24427 w 26146"/>
              <a:gd name="T113" fmla="*/ 890 h 2648"/>
              <a:gd name="T114" fmla="*/ 25859 w 26146"/>
              <a:gd name="T115" fmla="*/ 1726 h 2648"/>
              <a:gd name="T116" fmla="*/ 24976 w 26146"/>
              <a:gd name="T117" fmla="*/ 1696 h 2648"/>
              <a:gd name="T118" fmla="*/ 25560 w 26146"/>
              <a:gd name="T119" fmla="*/ 903 h 2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146" h="2648">
                <a:moveTo>
                  <a:pt x="2265" y="67"/>
                </a:moveTo>
                <a:cubicBezTo>
                  <a:pt x="2221" y="185"/>
                  <a:pt x="2124" y="244"/>
                  <a:pt x="1976" y="244"/>
                </a:cubicBezTo>
                <a:lnTo>
                  <a:pt x="2019" y="156"/>
                </a:lnTo>
                <a:cubicBezTo>
                  <a:pt x="1981" y="146"/>
                  <a:pt x="1937" y="140"/>
                  <a:pt x="1888" y="140"/>
                </a:cubicBezTo>
                <a:cubicBezTo>
                  <a:pt x="1813" y="140"/>
                  <a:pt x="1691" y="157"/>
                  <a:pt x="1523" y="191"/>
                </a:cubicBezTo>
                <a:cubicBezTo>
                  <a:pt x="1345" y="226"/>
                  <a:pt x="1229" y="258"/>
                  <a:pt x="1176" y="287"/>
                </a:cubicBezTo>
                <a:lnTo>
                  <a:pt x="1063" y="650"/>
                </a:lnTo>
                <a:cubicBezTo>
                  <a:pt x="1028" y="762"/>
                  <a:pt x="989" y="853"/>
                  <a:pt x="946" y="922"/>
                </a:cubicBezTo>
                <a:cubicBezTo>
                  <a:pt x="903" y="991"/>
                  <a:pt x="825" y="1118"/>
                  <a:pt x="711" y="1303"/>
                </a:cubicBezTo>
                <a:cubicBezTo>
                  <a:pt x="626" y="1443"/>
                  <a:pt x="564" y="1580"/>
                  <a:pt x="528" y="1715"/>
                </a:cubicBezTo>
                <a:lnTo>
                  <a:pt x="353" y="1676"/>
                </a:lnTo>
                <a:cubicBezTo>
                  <a:pt x="365" y="1604"/>
                  <a:pt x="424" y="1487"/>
                  <a:pt x="530" y="1326"/>
                </a:cubicBezTo>
                <a:cubicBezTo>
                  <a:pt x="675" y="1103"/>
                  <a:pt x="770" y="949"/>
                  <a:pt x="813" y="867"/>
                </a:cubicBezTo>
                <a:cubicBezTo>
                  <a:pt x="911" y="672"/>
                  <a:pt x="960" y="493"/>
                  <a:pt x="960" y="331"/>
                </a:cubicBezTo>
                <a:lnTo>
                  <a:pt x="948" y="340"/>
                </a:lnTo>
                <a:lnTo>
                  <a:pt x="376" y="464"/>
                </a:lnTo>
                <a:cubicBezTo>
                  <a:pt x="285" y="503"/>
                  <a:pt x="196" y="540"/>
                  <a:pt x="107" y="577"/>
                </a:cubicBezTo>
                <a:cubicBezTo>
                  <a:pt x="73" y="577"/>
                  <a:pt x="46" y="562"/>
                  <a:pt x="25" y="533"/>
                </a:cubicBezTo>
                <a:cubicBezTo>
                  <a:pt x="9" y="510"/>
                  <a:pt x="0" y="485"/>
                  <a:pt x="0" y="459"/>
                </a:cubicBezTo>
                <a:lnTo>
                  <a:pt x="0" y="455"/>
                </a:lnTo>
                <a:cubicBezTo>
                  <a:pt x="0" y="450"/>
                  <a:pt x="0" y="445"/>
                  <a:pt x="1" y="439"/>
                </a:cubicBezTo>
                <a:lnTo>
                  <a:pt x="43" y="359"/>
                </a:lnTo>
                <a:cubicBezTo>
                  <a:pt x="87" y="342"/>
                  <a:pt x="125" y="333"/>
                  <a:pt x="158" y="333"/>
                </a:cubicBezTo>
                <a:cubicBezTo>
                  <a:pt x="171" y="333"/>
                  <a:pt x="192" y="334"/>
                  <a:pt x="220" y="337"/>
                </a:cubicBezTo>
                <a:cubicBezTo>
                  <a:pt x="247" y="339"/>
                  <a:pt x="268" y="340"/>
                  <a:pt x="282" y="340"/>
                </a:cubicBezTo>
                <a:cubicBezTo>
                  <a:pt x="467" y="340"/>
                  <a:pt x="676" y="311"/>
                  <a:pt x="909" y="253"/>
                </a:cubicBezTo>
                <a:cubicBezTo>
                  <a:pt x="1047" y="216"/>
                  <a:pt x="1253" y="162"/>
                  <a:pt x="1527" y="90"/>
                </a:cubicBezTo>
                <a:cubicBezTo>
                  <a:pt x="1760" y="30"/>
                  <a:pt x="1960" y="0"/>
                  <a:pt x="2127" y="0"/>
                </a:cubicBezTo>
                <a:lnTo>
                  <a:pt x="2129" y="0"/>
                </a:lnTo>
                <a:cubicBezTo>
                  <a:pt x="2168" y="0"/>
                  <a:pt x="2194" y="3"/>
                  <a:pt x="2208" y="9"/>
                </a:cubicBezTo>
                <a:cubicBezTo>
                  <a:pt x="2222" y="15"/>
                  <a:pt x="2241" y="34"/>
                  <a:pt x="2265" y="67"/>
                </a:cubicBezTo>
                <a:close/>
                <a:moveTo>
                  <a:pt x="2805" y="1253"/>
                </a:moveTo>
                <a:cubicBezTo>
                  <a:pt x="2805" y="1178"/>
                  <a:pt x="2767" y="1121"/>
                  <a:pt x="2690" y="1083"/>
                </a:cubicBezTo>
                <a:cubicBezTo>
                  <a:pt x="2629" y="1052"/>
                  <a:pt x="2557" y="1037"/>
                  <a:pt x="2474" y="1037"/>
                </a:cubicBezTo>
                <a:cubicBezTo>
                  <a:pt x="2336" y="1037"/>
                  <a:pt x="2193" y="1075"/>
                  <a:pt x="2045" y="1152"/>
                </a:cubicBezTo>
                <a:cubicBezTo>
                  <a:pt x="1888" y="1230"/>
                  <a:pt x="1776" y="1325"/>
                  <a:pt x="1709" y="1439"/>
                </a:cubicBezTo>
                <a:cubicBezTo>
                  <a:pt x="1813" y="1545"/>
                  <a:pt x="1938" y="1597"/>
                  <a:pt x="2084" y="1597"/>
                </a:cubicBezTo>
                <a:cubicBezTo>
                  <a:pt x="2223" y="1597"/>
                  <a:pt x="2366" y="1572"/>
                  <a:pt x="2513" y="1522"/>
                </a:cubicBezTo>
                <a:cubicBezTo>
                  <a:pt x="2708" y="1454"/>
                  <a:pt x="2805" y="1365"/>
                  <a:pt x="2805" y="1253"/>
                </a:cubicBezTo>
                <a:close/>
                <a:moveTo>
                  <a:pt x="2932" y="1266"/>
                </a:moveTo>
                <a:cubicBezTo>
                  <a:pt x="2932" y="1411"/>
                  <a:pt x="2828" y="1523"/>
                  <a:pt x="2619" y="1604"/>
                </a:cubicBezTo>
                <a:cubicBezTo>
                  <a:pt x="2461" y="1666"/>
                  <a:pt x="2295" y="1696"/>
                  <a:pt x="2120" y="1696"/>
                </a:cubicBezTo>
                <a:cubicBezTo>
                  <a:pt x="1754" y="1696"/>
                  <a:pt x="1571" y="1606"/>
                  <a:pt x="1571" y="1425"/>
                </a:cubicBezTo>
                <a:cubicBezTo>
                  <a:pt x="1571" y="1296"/>
                  <a:pt x="1691" y="1171"/>
                  <a:pt x="1930" y="1050"/>
                </a:cubicBezTo>
                <a:cubicBezTo>
                  <a:pt x="2143" y="943"/>
                  <a:pt x="2322" y="890"/>
                  <a:pt x="2467" y="890"/>
                </a:cubicBezTo>
                <a:cubicBezTo>
                  <a:pt x="2596" y="890"/>
                  <a:pt x="2703" y="919"/>
                  <a:pt x="2787" y="979"/>
                </a:cubicBezTo>
                <a:cubicBezTo>
                  <a:pt x="2884" y="1047"/>
                  <a:pt x="2932" y="1142"/>
                  <a:pt x="2932" y="1266"/>
                </a:cubicBezTo>
                <a:close/>
                <a:moveTo>
                  <a:pt x="3851" y="1025"/>
                </a:moveTo>
                <a:cubicBezTo>
                  <a:pt x="3851" y="975"/>
                  <a:pt x="3804" y="949"/>
                  <a:pt x="3711" y="949"/>
                </a:cubicBezTo>
                <a:cubicBezTo>
                  <a:pt x="3613" y="949"/>
                  <a:pt x="3503" y="991"/>
                  <a:pt x="3382" y="1073"/>
                </a:cubicBezTo>
                <a:cubicBezTo>
                  <a:pt x="3249" y="1164"/>
                  <a:pt x="3182" y="1256"/>
                  <a:pt x="3182" y="1349"/>
                </a:cubicBezTo>
                <a:cubicBezTo>
                  <a:pt x="3182" y="1452"/>
                  <a:pt x="3283" y="1503"/>
                  <a:pt x="3483" y="1503"/>
                </a:cubicBezTo>
                <a:cubicBezTo>
                  <a:pt x="3535" y="1503"/>
                  <a:pt x="3587" y="1496"/>
                  <a:pt x="3637" y="1480"/>
                </a:cubicBezTo>
                <a:cubicBezTo>
                  <a:pt x="3709" y="1459"/>
                  <a:pt x="3745" y="1428"/>
                  <a:pt x="3745" y="1388"/>
                </a:cubicBezTo>
                <a:cubicBezTo>
                  <a:pt x="3745" y="1378"/>
                  <a:pt x="3742" y="1362"/>
                  <a:pt x="3735" y="1342"/>
                </a:cubicBezTo>
                <a:cubicBezTo>
                  <a:pt x="3728" y="1322"/>
                  <a:pt x="3725" y="1308"/>
                  <a:pt x="3725" y="1299"/>
                </a:cubicBezTo>
                <a:cubicBezTo>
                  <a:pt x="3725" y="1280"/>
                  <a:pt x="3753" y="1224"/>
                  <a:pt x="3810" y="1131"/>
                </a:cubicBezTo>
                <a:cubicBezTo>
                  <a:pt x="3837" y="1086"/>
                  <a:pt x="3851" y="1051"/>
                  <a:pt x="3851" y="1025"/>
                </a:cubicBezTo>
                <a:close/>
                <a:moveTo>
                  <a:pt x="3998" y="1053"/>
                </a:moveTo>
                <a:cubicBezTo>
                  <a:pt x="3998" y="1086"/>
                  <a:pt x="3982" y="1145"/>
                  <a:pt x="3950" y="1227"/>
                </a:cubicBezTo>
                <a:cubicBezTo>
                  <a:pt x="3935" y="1267"/>
                  <a:pt x="3927" y="1299"/>
                  <a:pt x="3927" y="1322"/>
                </a:cubicBezTo>
                <a:cubicBezTo>
                  <a:pt x="3927" y="1555"/>
                  <a:pt x="3912" y="1748"/>
                  <a:pt x="3883" y="1903"/>
                </a:cubicBezTo>
                <a:cubicBezTo>
                  <a:pt x="3791" y="2400"/>
                  <a:pt x="3545" y="2648"/>
                  <a:pt x="3143" y="2648"/>
                </a:cubicBezTo>
                <a:cubicBezTo>
                  <a:pt x="3071" y="2648"/>
                  <a:pt x="2978" y="2626"/>
                  <a:pt x="2863" y="2581"/>
                </a:cubicBezTo>
                <a:cubicBezTo>
                  <a:pt x="2725" y="2529"/>
                  <a:pt x="2656" y="2473"/>
                  <a:pt x="2656" y="2413"/>
                </a:cubicBezTo>
                <a:cubicBezTo>
                  <a:pt x="2656" y="2400"/>
                  <a:pt x="2663" y="2372"/>
                  <a:pt x="2677" y="2331"/>
                </a:cubicBezTo>
                <a:lnTo>
                  <a:pt x="2700" y="2331"/>
                </a:lnTo>
                <a:cubicBezTo>
                  <a:pt x="2739" y="2375"/>
                  <a:pt x="2807" y="2420"/>
                  <a:pt x="2902" y="2464"/>
                </a:cubicBezTo>
                <a:cubicBezTo>
                  <a:pt x="2997" y="2508"/>
                  <a:pt x="3073" y="2531"/>
                  <a:pt x="3129" y="2531"/>
                </a:cubicBezTo>
                <a:cubicBezTo>
                  <a:pt x="3315" y="2531"/>
                  <a:pt x="3470" y="2442"/>
                  <a:pt x="3594" y="2264"/>
                </a:cubicBezTo>
                <a:cubicBezTo>
                  <a:pt x="3704" y="2105"/>
                  <a:pt x="3759" y="1927"/>
                  <a:pt x="3759" y="1731"/>
                </a:cubicBezTo>
                <a:cubicBezTo>
                  <a:pt x="3759" y="1683"/>
                  <a:pt x="3750" y="1643"/>
                  <a:pt x="3732" y="1611"/>
                </a:cubicBezTo>
                <a:cubicBezTo>
                  <a:pt x="3701" y="1599"/>
                  <a:pt x="3677" y="1593"/>
                  <a:pt x="3660" y="1593"/>
                </a:cubicBezTo>
                <a:cubicBezTo>
                  <a:pt x="3651" y="1593"/>
                  <a:pt x="3635" y="1596"/>
                  <a:pt x="3612" y="1602"/>
                </a:cubicBezTo>
                <a:cubicBezTo>
                  <a:pt x="3589" y="1608"/>
                  <a:pt x="3571" y="1611"/>
                  <a:pt x="3559" y="1611"/>
                </a:cubicBezTo>
                <a:cubicBezTo>
                  <a:pt x="3411" y="1611"/>
                  <a:pt x="3302" y="1603"/>
                  <a:pt x="3233" y="1586"/>
                </a:cubicBezTo>
                <a:cubicBezTo>
                  <a:pt x="3095" y="1552"/>
                  <a:pt x="3026" y="1483"/>
                  <a:pt x="3026" y="1379"/>
                </a:cubicBezTo>
                <a:cubicBezTo>
                  <a:pt x="3026" y="1232"/>
                  <a:pt x="3110" y="1101"/>
                  <a:pt x="3279" y="986"/>
                </a:cubicBezTo>
                <a:cubicBezTo>
                  <a:pt x="3434" y="880"/>
                  <a:pt x="3587" y="827"/>
                  <a:pt x="3739" y="827"/>
                </a:cubicBezTo>
                <a:cubicBezTo>
                  <a:pt x="3912" y="827"/>
                  <a:pt x="3998" y="903"/>
                  <a:pt x="3998" y="1053"/>
                </a:cubicBezTo>
                <a:close/>
                <a:moveTo>
                  <a:pt x="4915" y="1103"/>
                </a:moveTo>
                <a:cubicBezTo>
                  <a:pt x="4869" y="1054"/>
                  <a:pt x="4813" y="1030"/>
                  <a:pt x="4748" y="1030"/>
                </a:cubicBezTo>
                <a:cubicBezTo>
                  <a:pt x="4700" y="1030"/>
                  <a:pt x="4657" y="1040"/>
                  <a:pt x="4619" y="1060"/>
                </a:cubicBezTo>
                <a:cubicBezTo>
                  <a:pt x="4617" y="1061"/>
                  <a:pt x="4578" y="1083"/>
                  <a:pt x="4502" y="1124"/>
                </a:cubicBezTo>
                <a:cubicBezTo>
                  <a:pt x="4548" y="1198"/>
                  <a:pt x="4610" y="1234"/>
                  <a:pt x="4690" y="1234"/>
                </a:cubicBezTo>
                <a:cubicBezTo>
                  <a:pt x="4780" y="1234"/>
                  <a:pt x="4856" y="1191"/>
                  <a:pt x="4915" y="1103"/>
                </a:cubicBezTo>
                <a:close/>
                <a:moveTo>
                  <a:pt x="5152" y="1545"/>
                </a:moveTo>
                <a:cubicBezTo>
                  <a:pt x="5106" y="1595"/>
                  <a:pt x="4997" y="1633"/>
                  <a:pt x="4826" y="1660"/>
                </a:cubicBezTo>
                <a:cubicBezTo>
                  <a:pt x="4705" y="1678"/>
                  <a:pt x="4581" y="1687"/>
                  <a:pt x="4456" y="1687"/>
                </a:cubicBezTo>
                <a:cubicBezTo>
                  <a:pt x="4197" y="1687"/>
                  <a:pt x="4067" y="1613"/>
                  <a:pt x="4067" y="1464"/>
                </a:cubicBezTo>
                <a:cubicBezTo>
                  <a:pt x="4067" y="1282"/>
                  <a:pt x="4202" y="1126"/>
                  <a:pt x="4472" y="995"/>
                </a:cubicBezTo>
                <a:cubicBezTo>
                  <a:pt x="4565" y="949"/>
                  <a:pt x="4662" y="912"/>
                  <a:pt x="4764" y="883"/>
                </a:cubicBezTo>
                <a:cubicBezTo>
                  <a:pt x="4862" y="906"/>
                  <a:pt x="4927" y="922"/>
                  <a:pt x="4959" y="933"/>
                </a:cubicBezTo>
                <a:cubicBezTo>
                  <a:pt x="5028" y="956"/>
                  <a:pt x="5062" y="1014"/>
                  <a:pt x="5062" y="1106"/>
                </a:cubicBezTo>
                <a:cubicBezTo>
                  <a:pt x="5062" y="1187"/>
                  <a:pt x="5010" y="1251"/>
                  <a:pt x="4906" y="1299"/>
                </a:cubicBezTo>
                <a:cubicBezTo>
                  <a:pt x="4819" y="1339"/>
                  <a:pt x="4730" y="1358"/>
                  <a:pt x="4639" y="1358"/>
                </a:cubicBezTo>
                <a:cubicBezTo>
                  <a:pt x="4499" y="1358"/>
                  <a:pt x="4397" y="1337"/>
                  <a:pt x="4336" y="1294"/>
                </a:cubicBezTo>
                <a:cubicBezTo>
                  <a:pt x="4259" y="1331"/>
                  <a:pt x="4221" y="1378"/>
                  <a:pt x="4221" y="1437"/>
                </a:cubicBezTo>
                <a:cubicBezTo>
                  <a:pt x="4221" y="1539"/>
                  <a:pt x="4315" y="1591"/>
                  <a:pt x="4502" y="1591"/>
                </a:cubicBezTo>
                <a:cubicBezTo>
                  <a:pt x="4571" y="1591"/>
                  <a:pt x="4651" y="1586"/>
                  <a:pt x="4743" y="1577"/>
                </a:cubicBezTo>
                <a:cubicBezTo>
                  <a:pt x="4959" y="1555"/>
                  <a:pt x="5095" y="1545"/>
                  <a:pt x="5152" y="1545"/>
                </a:cubicBezTo>
                <a:close/>
                <a:moveTo>
                  <a:pt x="6274" y="315"/>
                </a:moveTo>
                <a:cubicBezTo>
                  <a:pt x="6274" y="353"/>
                  <a:pt x="6261" y="396"/>
                  <a:pt x="6235" y="444"/>
                </a:cubicBezTo>
                <a:cubicBezTo>
                  <a:pt x="6224" y="464"/>
                  <a:pt x="6177" y="529"/>
                  <a:pt x="6094" y="639"/>
                </a:cubicBezTo>
                <a:cubicBezTo>
                  <a:pt x="6133" y="665"/>
                  <a:pt x="6172" y="690"/>
                  <a:pt x="6212" y="715"/>
                </a:cubicBezTo>
                <a:cubicBezTo>
                  <a:pt x="6255" y="750"/>
                  <a:pt x="6274" y="790"/>
                  <a:pt x="6269" y="834"/>
                </a:cubicBezTo>
                <a:lnTo>
                  <a:pt x="6267" y="860"/>
                </a:lnTo>
                <a:cubicBezTo>
                  <a:pt x="6265" y="860"/>
                  <a:pt x="6230" y="849"/>
                  <a:pt x="6161" y="827"/>
                </a:cubicBezTo>
                <a:cubicBezTo>
                  <a:pt x="6117" y="814"/>
                  <a:pt x="6082" y="807"/>
                  <a:pt x="6058" y="807"/>
                </a:cubicBezTo>
                <a:cubicBezTo>
                  <a:pt x="5973" y="807"/>
                  <a:pt x="5852" y="895"/>
                  <a:pt x="5693" y="1072"/>
                </a:cubicBezTo>
                <a:cubicBezTo>
                  <a:pt x="5535" y="1249"/>
                  <a:pt x="5455" y="1381"/>
                  <a:pt x="5455" y="1469"/>
                </a:cubicBezTo>
                <a:cubicBezTo>
                  <a:pt x="5455" y="1544"/>
                  <a:pt x="5523" y="1598"/>
                  <a:pt x="5658" y="1632"/>
                </a:cubicBezTo>
                <a:cubicBezTo>
                  <a:pt x="5744" y="1653"/>
                  <a:pt x="5840" y="1664"/>
                  <a:pt x="5947" y="1664"/>
                </a:cubicBezTo>
                <a:cubicBezTo>
                  <a:pt x="5989" y="1664"/>
                  <a:pt x="6031" y="1661"/>
                  <a:pt x="6074" y="1655"/>
                </a:cubicBezTo>
                <a:cubicBezTo>
                  <a:pt x="6072" y="1663"/>
                  <a:pt x="6079" y="1676"/>
                  <a:pt x="6094" y="1696"/>
                </a:cubicBezTo>
                <a:cubicBezTo>
                  <a:pt x="5998" y="1733"/>
                  <a:pt x="5902" y="1751"/>
                  <a:pt x="5807" y="1751"/>
                </a:cubicBezTo>
                <a:cubicBezTo>
                  <a:pt x="5462" y="1751"/>
                  <a:pt x="5290" y="1667"/>
                  <a:pt x="5290" y="1499"/>
                </a:cubicBezTo>
                <a:cubicBezTo>
                  <a:pt x="5290" y="1399"/>
                  <a:pt x="5377" y="1253"/>
                  <a:pt x="5550" y="1060"/>
                </a:cubicBezTo>
                <a:lnTo>
                  <a:pt x="5747" y="839"/>
                </a:lnTo>
                <a:lnTo>
                  <a:pt x="5667" y="834"/>
                </a:lnTo>
                <a:cubicBezTo>
                  <a:pt x="5633" y="833"/>
                  <a:pt x="5588" y="842"/>
                  <a:pt x="5531" y="862"/>
                </a:cubicBezTo>
                <a:cubicBezTo>
                  <a:pt x="5419" y="902"/>
                  <a:pt x="5354" y="922"/>
                  <a:pt x="5334" y="922"/>
                </a:cubicBezTo>
                <a:cubicBezTo>
                  <a:pt x="5308" y="922"/>
                  <a:pt x="5283" y="914"/>
                  <a:pt x="5261" y="898"/>
                </a:cubicBezTo>
                <a:cubicBezTo>
                  <a:pt x="5239" y="881"/>
                  <a:pt x="5228" y="861"/>
                  <a:pt x="5228" y="837"/>
                </a:cubicBezTo>
                <a:cubicBezTo>
                  <a:pt x="5228" y="777"/>
                  <a:pt x="5296" y="747"/>
                  <a:pt x="5432" y="747"/>
                </a:cubicBezTo>
                <a:cubicBezTo>
                  <a:pt x="5446" y="747"/>
                  <a:pt x="5466" y="748"/>
                  <a:pt x="5492" y="749"/>
                </a:cubicBezTo>
                <a:cubicBezTo>
                  <a:pt x="5518" y="751"/>
                  <a:pt x="5538" y="752"/>
                  <a:pt x="5552" y="752"/>
                </a:cubicBezTo>
                <a:cubicBezTo>
                  <a:pt x="5668" y="752"/>
                  <a:pt x="5765" y="732"/>
                  <a:pt x="5840" y="692"/>
                </a:cubicBezTo>
                <a:cubicBezTo>
                  <a:pt x="5916" y="652"/>
                  <a:pt x="5983" y="583"/>
                  <a:pt x="6042" y="485"/>
                </a:cubicBezTo>
                <a:cubicBezTo>
                  <a:pt x="6061" y="451"/>
                  <a:pt x="6108" y="356"/>
                  <a:pt x="6182" y="200"/>
                </a:cubicBezTo>
                <a:cubicBezTo>
                  <a:pt x="6202" y="200"/>
                  <a:pt x="6222" y="214"/>
                  <a:pt x="6243" y="241"/>
                </a:cubicBezTo>
                <a:cubicBezTo>
                  <a:pt x="6263" y="269"/>
                  <a:pt x="6274" y="293"/>
                  <a:pt x="6274" y="315"/>
                </a:cubicBezTo>
                <a:close/>
                <a:moveTo>
                  <a:pt x="7791" y="986"/>
                </a:moveTo>
                <a:cubicBezTo>
                  <a:pt x="7791" y="1057"/>
                  <a:pt x="7745" y="1179"/>
                  <a:pt x="7654" y="1354"/>
                </a:cubicBezTo>
                <a:cubicBezTo>
                  <a:pt x="7563" y="1528"/>
                  <a:pt x="7517" y="1643"/>
                  <a:pt x="7517" y="1696"/>
                </a:cubicBezTo>
                <a:cubicBezTo>
                  <a:pt x="7517" y="1741"/>
                  <a:pt x="7529" y="1784"/>
                  <a:pt x="7554" y="1825"/>
                </a:cubicBezTo>
                <a:cubicBezTo>
                  <a:pt x="7499" y="1854"/>
                  <a:pt x="7456" y="1869"/>
                  <a:pt x="7425" y="1869"/>
                </a:cubicBezTo>
                <a:cubicBezTo>
                  <a:pt x="7369" y="1869"/>
                  <a:pt x="7340" y="1840"/>
                  <a:pt x="7340" y="1781"/>
                </a:cubicBezTo>
                <a:cubicBezTo>
                  <a:pt x="7340" y="1720"/>
                  <a:pt x="7385" y="1598"/>
                  <a:pt x="7475" y="1415"/>
                </a:cubicBezTo>
                <a:cubicBezTo>
                  <a:pt x="7564" y="1232"/>
                  <a:pt x="7609" y="1105"/>
                  <a:pt x="7609" y="1034"/>
                </a:cubicBezTo>
                <a:cubicBezTo>
                  <a:pt x="7609" y="1025"/>
                  <a:pt x="7608" y="1011"/>
                  <a:pt x="7605" y="991"/>
                </a:cubicBezTo>
                <a:cubicBezTo>
                  <a:pt x="7601" y="971"/>
                  <a:pt x="7600" y="956"/>
                  <a:pt x="7600" y="947"/>
                </a:cubicBezTo>
                <a:cubicBezTo>
                  <a:pt x="7375" y="973"/>
                  <a:pt x="7157" y="1059"/>
                  <a:pt x="6947" y="1204"/>
                </a:cubicBezTo>
                <a:cubicBezTo>
                  <a:pt x="6730" y="1356"/>
                  <a:pt x="6579" y="1533"/>
                  <a:pt x="6494" y="1735"/>
                </a:cubicBezTo>
                <a:cubicBezTo>
                  <a:pt x="6461" y="1723"/>
                  <a:pt x="6410" y="1710"/>
                  <a:pt x="6343" y="1696"/>
                </a:cubicBezTo>
                <a:cubicBezTo>
                  <a:pt x="6350" y="1663"/>
                  <a:pt x="6403" y="1581"/>
                  <a:pt x="6501" y="1450"/>
                </a:cubicBezTo>
                <a:cubicBezTo>
                  <a:pt x="6536" y="1406"/>
                  <a:pt x="6634" y="1278"/>
                  <a:pt x="6793" y="1067"/>
                </a:cubicBezTo>
                <a:cubicBezTo>
                  <a:pt x="6910" y="912"/>
                  <a:pt x="6983" y="808"/>
                  <a:pt x="7014" y="756"/>
                </a:cubicBezTo>
                <a:cubicBezTo>
                  <a:pt x="7023" y="741"/>
                  <a:pt x="7069" y="634"/>
                  <a:pt x="7152" y="437"/>
                </a:cubicBezTo>
                <a:cubicBezTo>
                  <a:pt x="7212" y="296"/>
                  <a:pt x="7267" y="202"/>
                  <a:pt x="7317" y="156"/>
                </a:cubicBezTo>
                <a:cubicBezTo>
                  <a:pt x="7336" y="167"/>
                  <a:pt x="7355" y="179"/>
                  <a:pt x="7375" y="191"/>
                </a:cubicBezTo>
                <a:cubicBezTo>
                  <a:pt x="7395" y="203"/>
                  <a:pt x="7405" y="220"/>
                  <a:pt x="7405" y="241"/>
                </a:cubicBezTo>
                <a:cubicBezTo>
                  <a:pt x="7405" y="264"/>
                  <a:pt x="7275" y="536"/>
                  <a:pt x="7016" y="1057"/>
                </a:cubicBezTo>
                <a:cubicBezTo>
                  <a:pt x="7145" y="1001"/>
                  <a:pt x="7257" y="952"/>
                  <a:pt x="7354" y="912"/>
                </a:cubicBezTo>
                <a:cubicBezTo>
                  <a:pt x="7538" y="836"/>
                  <a:pt x="7642" y="798"/>
                  <a:pt x="7667" y="798"/>
                </a:cubicBezTo>
                <a:cubicBezTo>
                  <a:pt x="7694" y="798"/>
                  <a:pt x="7715" y="804"/>
                  <a:pt x="7729" y="818"/>
                </a:cubicBezTo>
                <a:cubicBezTo>
                  <a:pt x="7770" y="860"/>
                  <a:pt x="7791" y="916"/>
                  <a:pt x="7791" y="986"/>
                </a:cubicBezTo>
                <a:close/>
                <a:moveTo>
                  <a:pt x="8694" y="1103"/>
                </a:moveTo>
                <a:cubicBezTo>
                  <a:pt x="8648" y="1054"/>
                  <a:pt x="8592" y="1030"/>
                  <a:pt x="8526" y="1030"/>
                </a:cubicBezTo>
                <a:cubicBezTo>
                  <a:pt x="8479" y="1030"/>
                  <a:pt x="8436" y="1040"/>
                  <a:pt x="8398" y="1060"/>
                </a:cubicBezTo>
                <a:cubicBezTo>
                  <a:pt x="8396" y="1061"/>
                  <a:pt x="8357" y="1083"/>
                  <a:pt x="8280" y="1124"/>
                </a:cubicBezTo>
                <a:cubicBezTo>
                  <a:pt x="8326" y="1198"/>
                  <a:pt x="8389" y="1234"/>
                  <a:pt x="8469" y="1234"/>
                </a:cubicBezTo>
                <a:cubicBezTo>
                  <a:pt x="8559" y="1234"/>
                  <a:pt x="8634" y="1191"/>
                  <a:pt x="8694" y="1103"/>
                </a:cubicBezTo>
                <a:close/>
                <a:moveTo>
                  <a:pt x="8931" y="1545"/>
                </a:moveTo>
                <a:cubicBezTo>
                  <a:pt x="8885" y="1595"/>
                  <a:pt x="8776" y="1633"/>
                  <a:pt x="8604" y="1660"/>
                </a:cubicBezTo>
                <a:cubicBezTo>
                  <a:pt x="8483" y="1678"/>
                  <a:pt x="8360" y="1687"/>
                  <a:pt x="8234" y="1687"/>
                </a:cubicBezTo>
                <a:cubicBezTo>
                  <a:pt x="7975" y="1687"/>
                  <a:pt x="7846" y="1613"/>
                  <a:pt x="7846" y="1464"/>
                </a:cubicBezTo>
                <a:cubicBezTo>
                  <a:pt x="7846" y="1282"/>
                  <a:pt x="7981" y="1126"/>
                  <a:pt x="8250" y="995"/>
                </a:cubicBezTo>
                <a:cubicBezTo>
                  <a:pt x="8344" y="949"/>
                  <a:pt x="8441" y="912"/>
                  <a:pt x="8542" y="883"/>
                </a:cubicBezTo>
                <a:cubicBezTo>
                  <a:pt x="8640" y="906"/>
                  <a:pt x="8705" y="922"/>
                  <a:pt x="8738" y="933"/>
                </a:cubicBezTo>
                <a:cubicBezTo>
                  <a:pt x="8807" y="956"/>
                  <a:pt x="8841" y="1014"/>
                  <a:pt x="8841" y="1106"/>
                </a:cubicBezTo>
                <a:cubicBezTo>
                  <a:pt x="8841" y="1187"/>
                  <a:pt x="8789" y="1251"/>
                  <a:pt x="8685" y="1299"/>
                </a:cubicBezTo>
                <a:cubicBezTo>
                  <a:pt x="8597" y="1339"/>
                  <a:pt x="8509" y="1358"/>
                  <a:pt x="8418" y="1358"/>
                </a:cubicBezTo>
                <a:cubicBezTo>
                  <a:pt x="8277" y="1358"/>
                  <a:pt x="8176" y="1337"/>
                  <a:pt x="8115" y="1294"/>
                </a:cubicBezTo>
                <a:cubicBezTo>
                  <a:pt x="8038" y="1331"/>
                  <a:pt x="8000" y="1378"/>
                  <a:pt x="8000" y="1437"/>
                </a:cubicBezTo>
                <a:cubicBezTo>
                  <a:pt x="8000" y="1539"/>
                  <a:pt x="8093" y="1591"/>
                  <a:pt x="8280" y="1591"/>
                </a:cubicBezTo>
                <a:cubicBezTo>
                  <a:pt x="8349" y="1591"/>
                  <a:pt x="8430" y="1586"/>
                  <a:pt x="8522" y="1577"/>
                </a:cubicBezTo>
                <a:cubicBezTo>
                  <a:pt x="8738" y="1555"/>
                  <a:pt x="8874" y="1545"/>
                  <a:pt x="8931" y="1545"/>
                </a:cubicBezTo>
                <a:close/>
                <a:moveTo>
                  <a:pt x="9981" y="1170"/>
                </a:moveTo>
                <a:lnTo>
                  <a:pt x="9620" y="1053"/>
                </a:lnTo>
                <a:cubicBezTo>
                  <a:pt x="9531" y="1053"/>
                  <a:pt x="9453" y="1113"/>
                  <a:pt x="9386" y="1234"/>
                </a:cubicBezTo>
                <a:cubicBezTo>
                  <a:pt x="9361" y="1276"/>
                  <a:pt x="9320" y="1373"/>
                  <a:pt x="9263" y="1527"/>
                </a:cubicBezTo>
                <a:cubicBezTo>
                  <a:pt x="9205" y="1681"/>
                  <a:pt x="9113" y="1758"/>
                  <a:pt x="8986" y="1758"/>
                </a:cubicBezTo>
                <a:cubicBezTo>
                  <a:pt x="8994" y="1696"/>
                  <a:pt x="9033" y="1609"/>
                  <a:pt x="9105" y="1499"/>
                </a:cubicBezTo>
                <a:cubicBezTo>
                  <a:pt x="9184" y="1379"/>
                  <a:pt x="9230" y="1291"/>
                  <a:pt x="9246" y="1234"/>
                </a:cubicBezTo>
                <a:cubicBezTo>
                  <a:pt x="9258" y="1187"/>
                  <a:pt x="9266" y="1109"/>
                  <a:pt x="9271" y="1000"/>
                </a:cubicBezTo>
                <a:cubicBezTo>
                  <a:pt x="9272" y="954"/>
                  <a:pt x="9283" y="906"/>
                  <a:pt x="9303" y="857"/>
                </a:cubicBezTo>
                <a:cubicBezTo>
                  <a:pt x="9331" y="788"/>
                  <a:pt x="9362" y="752"/>
                  <a:pt x="9397" y="749"/>
                </a:cubicBezTo>
                <a:lnTo>
                  <a:pt x="9441" y="752"/>
                </a:lnTo>
                <a:lnTo>
                  <a:pt x="9464" y="908"/>
                </a:lnTo>
                <a:cubicBezTo>
                  <a:pt x="9475" y="948"/>
                  <a:pt x="9511" y="968"/>
                  <a:pt x="9572" y="968"/>
                </a:cubicBezTo>
                <a:lnTo>
                  <a:pt x="9650" y="968"/>
                </a:lnTo>
                <a:cubicBezTo>
                  <a:pt x="9664" y="966"/>
                  <a:pt x="9675" y="965"/>
                  <a:pt x="9682" y="965"/>
                </a:cubicBezTo>
                <a:cubicBezTo>
                  <a:pt x="9859" y="962"/>
                  <a:pt x="9958" y="1031"/>
                  <a:pt x="9981" y="1170"/>
                </a:cubicBezTo>
                <a:close/>
                <a:moveTo>
                  <a:pt x="12983" y="1207"/>
                </a:moveTo>
                <a:cubicBezTo>
                  <a:pt x="12983" y="1368"/>
                  <a:pt x="12887" y="1499"/>
                  <a:pt x="12696" y="1602"/>
                </a:cubicBezTo>
                <a:cubicBezTo>
                  <a:pt x="12536" y="1686"/>
                  <a:pt x="12367" y="1728"/>
                  <a:pt x="12188" y="1728"/>
                </a:cubicBezTo>
                <a:cubicBezTo>
                  <a:pt x="12051" y="1728"/>
                  <a:pt x="11944" y="1682"/>
                  <a:pt x="11866" y="1588"/>
                </a:cubicBezTo>
                <a:lnTo>
                  <a:pt x="11866" y="1545"/>
                </a:lnTo>
                <a:lnTo>
                  <a:pt x="11818" y="1526"/>
                </a:lnTo>
                <a:cubicBezTo>
                  <a:pt x="11796" y="1529"/>
                  <a:pt x="11696" y="1570"/>
                  <a:pt x="11516" y="1648"/>
                </a:cubicBezTo>
                <a:cubicBezTo>
                  <a:pt x="11443" y="1680"/>
                  <a:pt x="11379" y="1696"/>
                  <a:pt x="11323" y="1696"/>
                </a:cubicBezTo>
                <a:cubicBezTo>
                  <a:pt x="11164" y="1696"/>
                  <a:pt x="11084" y="1648"/>
                  <a:pt x="11084" y="1551"/>
                </a:cubicBezTo>
                <a:cubicBezTo>
                  <a:pt x="11084" y="1509"/>
                  <a:pt x="11155" y="1394"/>
                  <a:pt x="11297" y="1208"/>
                </a:cubicBezTo>
                <a:cubicBezTo>
                  <a:pt x="11439" y="1022"/>
                  <a:pt x="11526" y="929"/>
                  <a:pt x="11558" y="929"/>
                </a:cubicBezTo>
                <a:cubicBezTo>
                  <a:pt x="11581" y="929"/>
                  <a:pt x="11601" y="939"/>
                  <a:pt x="11618" y="958"/>
                </a:cubicBezTo>
                <a:cubicBezTo>
                  <a:pt x="11634" y="978"/>
                  <a:pt x="11643" y="1000"/>
                  <a:pt x="11643" y="1023"/>
                </a:cubicBezTo>
                <a:cubicBezTo>
                  <a:pt x="11643" y="1078"/>
                  <a:pt x="11562" y="1189"/>
                  <a:pt x="11402" y="1356"/>
                </a:cubicBezTo>
                <a:cubicBezTo>
                  <a:pt x="11314" y="1447"/>
                  <a:pt x="11260" y="1509"/>
                  <a:pt x="11238" y="1545"/>
                </a:cubicBezTo>
                <a:cubicBezTo>
                  <a:pt x="11294" y="1577"/>
                  <a:pt x="11333" y="1593"/>
                  <a:pt x="11358" y="1593"/>
                </a:cubicBezTo>
                <a:cubicBezTo>
                  <a:pt x="11505" y="1593"/>
                  <a:pt x="11631" y="1547"/>
                  <a:pt x="11735" y="1455"/>
                </a:cubicBezTo>
                <a:cubicBezTo>
                  <a:pt x="11808" y="1391"/>
                  <a:pt x="11889" y="1280"/>
                  <a:pt x="11976" y="1124"/>
                </a:cubicBezTo>
                <a:cubicBezTo>
                  <a:pt x="11982" y="1132"/>
                  <a:pt x="11988" y="1139"/>
                  <a:pt x="11995" y="1145"/>
                </a:cubicBezTo>
                <a:cubicBezTo>
                  <a:pt x="11996" y="1146"/>
                  <a:pt x="12004" y="1147"/>
                  <a:pt x="12018" y="1147"/>
                </a:cubicBezTo>
                <a:cubicBezTo>
                  <a:pt x="12039" y="1165"/>
                  <a:pt x="12051" y="1177"/>
                  <a:pt x="12054" y="1181"/>
                </a:cubicBezTo>
                <a:cubicBezTo>
                  <a:pt x="12062" y="1192"/>
                  <a:pt x="12066" y="1208"/>
                  <a:pt x="12066" y="1227"/>
                </a:cubicBezTo>
                <a:cubicBezTo>
                  <a:pt x="12066" y="1257"/>
                  <a:pt x="12055" y="1299"/>
                  <a:pt x="12034" y="1355"/>
                </a:cubicBezTo>
                <a:cubicBezTo>
                  <a:pt x="12012" y="1411"/>
                  <a:pt x="12001" y="1453"/>
                  <a:pt x="12001" y="1480"/>
                </a:cubicBezTo>
                <a:cubicBezTo>
                  <a:pt x="12001" y="1526"/>
                  <a:pt x="12029" y="1562"/>
                  <a:pt x="12084" y="1588"/>
                </a:cubicBezTo>
                <a:cubicBezTo>
                  <a:pt x="12127" y="1608"/>
                  <a:pt x="12175" y="1618"/>
                  <a:pt x="12227" y="1618"/>
                </a:cubicBezTo>
                <a:cubicBezTo>
                  <a:pt x="12406" y="1618"/>
                  <a:pt x="12556" y="1574"/>
                  <a:pt x="12677" y="1487"/>
                </a:cubicBezTo>
                <a:cubicBezTo>
                  <a:pt x="12815" y="1389"/>
                  <a:pt x="12884" y="1254"/>
                  <a:pt x="12884" y="1083"/>
                </a:cubicBezTo>
                <a:cubicBezTo>
                  <a:pt x="12884" y="1038"/>
                  <a:pt x="12878" y="1004"/>
                  <a:pt x="12866" y="981"/>
                </a:cubicBezTo>
                <a:cubicBezTo>
                  <a:pt x="12856" y="965"/>
                  <a:pt x="12833" y="939"/>
                  <a:pt x="12797" y="906"/>
                </a:cubicBezTo>
                <a:cubicBezTo>
                  <a:pt x="12769" y="906"/>
                  <a:pt x="12740" y="890"/>
                  <a:pt x="12709" y="860"/>
                </a:cubicBezTo>
                <a:lnTo>
                  <a:pt x="12742" y="823"/>
                </a:lnTo>
                <a:cubicBezTo>
                  <a:pt x="12820" y="823"/>
                  <a:pt x="12882" y="869"/>
                  <a:pt x="12928" y="961"/>
                </a:cubicBezTo>
                <a:cubicBezTo>
                  <a:pt x="12965" y="1034"/>
                  <a:pt x="12983" y="1116"/>
                  <a:pt x="12983" y="1207"/>
                </a:cubicBezTo>
                <a:close/>
                <a:moveTo>
                  <a:pt x="13636" y="402"/>
                </a:moveTo>
                <a:cubicBezTo>
                  <a:pt x="13636" y="457"/>
                  <a:pt x="13599" y="485"/>
                  <a:pt x="13525" y="485"/>
                </a:cubicBezTo>
                <a:cubicBezTo>
                  <a:pt x="13458" y="485"/>
                  <a:pt x="13424" y="457"/>
                  <a:pt x="13424" y="402"/>
                </a:cubicBezTo>
                <a:cubicBezTo>
                  <a:pt x="13424" y="375"/>
                  <a:pt x="13433" y="336"/>
                  <a:pt x="13451" y="287"/>
                </a:cubicBezTo>
                <a:cubicBezTo>
                  <a:pt x="13468" y="238"/>
                  <a:pt x="13478" y="202"/>
                  <a:pt x="13479" y="177"/>
                </a:cubicBezTo>
                <a:cubicBezTo>
                  <a:pt x="13495" y="186"/>
                  <a:pt x="13524" y="230"/>
                  <a:pt x="13567" y="308"/>
                </a:cubicBezTo>
                <a:cubicBezTo>
                  <a:pt x="13570" y="313"/>
                  <a:pt x="13584" y="326"/>
                  <a:pt x="13608" y="349"/>
                </a:cubicBezTo>
                <a:cubicBezTo>
                  <a:pt x="13626" y="366"/>
                  <a:pt x="13636" y="384"/>
                  <a:pt x="13636" y="402"/>
                </a:cubicBezTo>
                <a:close/>
                <a:moveTo>
                  <a:pt x="13420" y="1034"/>
                </a:moveTo>
                <a:cubicBezTo>
                  <a:pt x="13420" y="1059"/>
                  <a:pt x="13377" y="1181"/>
                  <a:pt x="13291" y="1400"/>
                </a:cubicBezTo>
                <a:cubicBezTo>
                  <a:pt x="13280" y="1427"/>
                  <a:pt x="13264" y="1468"/>
                  <a:pt x="13243" y="1522"/>
                </a:cubicBezTo>
                <a:cubicBezTo>
                  <a:pt x="13224" y="1563"/>
                  <a:pt x="13200" y="1589"/>
                  <a:pt x="13171" y="1600"/>
                </a:cubicBezTo>
                <a:cubicBezTo>
                  <a:pt x="13154" y="1606"/>
                  <a:pt x="13120" y="1609"/>
                  <a:pt x="13068" y="1609"/>
                </a:cubicBezTo>
                <a:cubicBezTo>
                  <a:pt x="13068" y="1598"/>
                  <a:pt x="13066" y="1583"/>
                  <a:pt x="13062" y="1563"/>
                </a:cubicBezTo>
                <a:cubicBezTo>
                  <a:pt x="13058" y="1543"/>
                  <a:pt x="13056" y="1528"/>
                  <a:pt x="13056" y="1517"/>
                </a:cubicBezTo>
                <a:cubicBezTo>
                  <a:pt x="13056" y="1483"/>
                  <a:pt x="13069" y="1446"/>
                  <a:pt x="13095" y="1404"/>
                </a:cubicBezTo>
                <a:cubicBezTo>
                  <a:pt x="13131" y="1348"/>
                  <a:pt x="13151" y="1313"/>
                  <a:pt x="13155" y="1301"/>
                </a:cubicBezTo>
                <a:cubicBezTo>
                  <a:pt x="13168" y="1263"/>
                  <a:pt x="13191" y="1195"/>
                  <a:pt x="13227" y="1099"/>
                </a:cubicBezTo>
                <a:cubicBezTo>
                  <a:pt x="13253" y="1031"/>
                  <a:pt x="13294" y="975"/>
                  <a:pt x="13351" y="929"/>
                </a:cubicBezTo>
                <a:cubicBezTo>
                  <a:pt x="13397" y="975"/>
                  <a:pt x="13420" y="1010"/>
                  <a:pt x="13420" y="1034"/>
                </a:cubicBezTo>
                <a:close/>
                <a:moveTo>
                  <a:pt x="14732" y="315"/>
                </a:moveTo>
                <a:cubicBezTo>
                  <a:pt x="14732" y="353"/>
                  <a:pt x="14719" y="396"/>
                  <a:pt x="14693" y="444"/>
                </a:cubicBezTo>
                <a:cubicBezTo>
                  <a:pt x="14682" y="464"/>
                  <a:pt x="14635" y="529"/>
                  <a:pt x="14553" y="639"/>
                </a:cubicBezTo>
                <a:cubicBezTo>
                  <a:pt x="14591" y="665"/>
                  <a:pt x="14630" y="690"/>
                  <a:pt x="14670" y="715"/>
                </a:cubicBezTo>
                <a:cubicBezTo>
                  <a:pt x="14713" y="750"/>
                  <a:pt x="14732" y="790"/>
                  <a:pt x="14727" y="834"/>
                </a:cubicBezTo>
                <a:lnTo>
                  <a:pt x="14725" y="860"/>
                </a:lnTo>
                <a:cubicBezTo>
                  <a:pt x="14724" y="860"/>
                  <a:pt x="14688" y="849"/>
                  <a:pt x="14619" y="827"/>
                </a:cubicBezTo>
                <a:cubicBezTo>
                  <a:pt x="14575" y="814"/>
                  <a:pt x="14540" y="807"/>
                  <a:pt x="14516" y="807"/>
                </a:cubicBezTo>
                <a:cubicBezTo>
                  <a:pt x="14432" y="807"/>
                  <a:pt x="14310" y="895"/>
                  <a:pt x="14152" y="1072"/>
                </a:cubicBezTo>
                <a:cubicBezTo>
                  <a:pt x="13993" y="1249"/>
                  <a:pt x="13914" y="1381"/>
                  <a:pt x="13914" y="1469"/>
                </a:cubicBezTo>
                <a:cubicBezTo>
                  <a:pt x="13914" y="1544"/>
                  <a:pt x="13981" y="1598"/>
                  <a:pt x="14116" y="1632"/>
                </a:cubicBezTo>
                <a:cubicBezTo>
                  <a:pt x="14202" y="1653"/>
                  <a:pt x="14298" y="1664"/>
                  <a:pt x="14406" y="1664"/>
                </a:cubicBezTo>
                <a:cubicBezTo>
                  <a:pt x="14447" y="1664"/>
                  <a:pt x="14489" y="1661"/>
                  <a:pt x="14532" y="1655"/>
                </a:cubicBezTo>
                <a:cubicBezTo>
                  <a:pt x="14530" y="1663"/>
                  <a:pt x="14537" y="1676"/>
                  <a:pt x="14553" y="1696"/>
                </a:cubicBezTo>
                <a:cubicBezTo>
                  <a:pt x="14456" y="1733"/>
                  <a:pt x="14360" y="1751"/>
                  <a:pt x="14265" y="1751"/>
                </a:cubicBezTo>
                <a:cubicBezTo>
                  <a:pt x="13921" y="1751"/>
                  <a:pt x="13748" y="1667"/>
                  <a:pt x="13748" y="1499"/>
                </a:cubicBezTo>
                <a:cubicBezTo>
                  <a:pt x="13748" y="1399"/>
                  <a:pt x="13835" y="1253"/>
                  <a:pt x="14008" y="1060"/>
                </a:cubicBezTo>
                <a:lnTo>
                  <a:pt x="14206" y="839"/>
                </a:lnTo>
                <a:lnTo>
                  <a:pt x="14125" y="834"/>
                </a:lnTo>
                <a:cubicBezTo>
                  <a:pt x="14091" y="833"/>
                  <a:pt x="14046" y="842"/>
                  <a:pt x="13990" y="862"/>
                </a:cubicBezTo>
                <a:cubicBezTo>
                  <a:pt x="13878" y="902"/>
                  <a:pt x="13812" y="922"/>
                  <a:pt x="13792" y="922"/>
                </a:cubicBezTo>
                <a:cubicBezTo>
                  <a:pt x="13766" y="922"/>
                  <a:pt x="13742" y="914"/>
                  <a:pt x="13719" y="898"/>
                </a:cubicBezTo>
                <a:cubicBezTo>
                  <a:pt x="13697" y="881"/>
                  <a:pt x="13686" y="861"/>
                  <a:pt x="13686" y="837"/>
                </a:cubicBezTo>
                <a:cubicBezTo>
                  <a:pt x="13686" y="777"/>
                  <a:pt x="13754" y="747"/>
                  <a:pt x="13891" y="747"/>
                </a:cubicBezTo>
                <a:cubicBezTo>
                  <a:pt x="13905" y="747"/>
                  <a:pt x="13924" y="748"/>
                  <a:pt x="13950" y="749"/>
                </a:cubicBezTo>
                <a:cubicBezTo>
                  <a:pt x="13977" y="751"/>
                  <a:pt x="13996" y="752"/>
                  <a:pt x="14010" y="752"/>
                </a:cubicBezTo>
                <a:cubicBezTo>
                  <a:pt x="14127" y="752"/>
                  <a:pt x="14223" y="732"/>
                  <a:pt x="14299" y="692"/>
                </a:cubicBezTo>
                <a:cubicBezTo>
                  <a:pt x="14375" y="652"/>
                  <a:pt x="14442" y="583"/>
                  <a:pt x="14500" y="485"/>
                </a:cubicBezTo>
                <a:cubicBezTo>
                  <a:pt x="14520" y="451"/>
                  <a:pt x="14566" y="356"/>
                  <a:pt x="14640" y="200"/>
                </a:cubicBezTo>
                <a:cubicBezTo>
                  <a:pt x="14660" y="200"/>
                  <a:pt x="14680" y="214"/>
                  <a:pt x="14701" y="241"/>
                </a:cubicBezTo>
                <a:cubicBezTo>
                  <a:pt x="14722" y="269"/>
                  <a:pt x="14732" y="293"/>
                  <a:pt x="14732" y="315"/>
                </a:cubicBezTo>
                <a:close/>
                <a:moveTo>
                  <a:pt x="16249" y="986"/>
                </a:moveTo>
                <a:cubicBezTo>
                  <a:pt x="16249" y="1057"/>
                  <a:pt x="16203" y="1179"/>
                  <a:pt x="16112" y="1354"/>
                </a:cubicBezTo>
                <a:cubicBezTo>
                  <a:pt x="16021" y="1528"/>
                  <a:pt x="15975" y="1643"/>
                  <a:pt x="15975" y="1696"/>
                </a:cubicBezTo>
                <a:cubicBezTo>
                  <a:pt x="15975" y="1741"/>
                  <a:pt x="15988" y="1784"/>
                  <a:pt x="16012" y="1825"/>
                </a:cubicBezTo>
                <a:cubicBezTo>
                  <a:pt x="15957" y="1854"/>
                  <a:pt x="15914" y="1869"/>
                  <a:pt x="15883" y="1869"/>
                </a:cubicBezTo>
                <a:cubicBezTo>
                  <a:pt x="15827" y="1869"/>
                  <a:pt x="15798" y="1840"/>
                  <a:pt x="15798" y="1781"/>
                </a:cubicBezTo>
                <a:cubicBezTo>
                  <a:pt x="15798" y="1720"/>
                  <a:pt x="15843" y="1598"/>
                  <a:pt x="15933" y="1415"/>
                </a:cubicBezTo>
                <a:cubicBezTo>
                  <a:pt x="16023" y="1232"/>
                  <a:pt x="16067" y="1105"/>
                  <a:pt x="16067" y="1034"/>
                </a:cubicBezTo>
                <a:cubicBezTo>
                  <a:pt x="16067" y="1025"/>
                  <a:pt x="16066" y="1011"/>
                  <a:pt x="16063" y="991"/>
                </a:cubicBezTo>
                <a:cubicBezTo>
                  <a:pt x="16060" y="971"/>
                  <a:pt x="16058" y="956"/>
                  <a:pt x="16058" y="947"/>
                </a:cubicBezTo>
                <a:cubicBezTo>
                  <a:pt x="15833" y="973"/>
                  <a:pt x="15615" y="1059"/>
                  <a:pt x="15405" y="1204"/>
                </a:cubicBezTo>
                <a:cubicBezTo>
                  <a:pt x="15188" y="1356"/>
                  <a:pt x="15037" y="1533"/>
                  <a:pt x="14953" y="1735"/>
                </a:cubicBezTo>
                <a:cubicBezTo>
                  <a:pt x="14919" y="1723"/>
                  <a:pt x="14868" y="1710"/>
                  <a:pt x="14801" y="1696"/>
                </a:cubicBezTo>
                <a:cubicBezTo>
                  <a:pt x="14809" y="1663"/>
                  <a:pt x="14861" y="1581"/>
                  <a:pt x="14959" y="1450"/>
                </a:cubicBezTo>
                <a:cubicBezTo>
                  <a:pt x="14995" y="1406"/>
                  <a:pt x="15092" y="1278"/>
                  <a:pt x="15251" y="1067"/>
                </a:cubicBezTo>
                <a:cubicBezTo>
                  <a:pt x="15368" y="912"/>
                  <a:pt x="15441" y="808"/>
                  <a:pt x="15472" y="756"/>
                </a:cubicBezTo>
                <a:cubicBezTo>
                  <a:pt x="15481" y="741"/>
                  <a:pt x="15527" y="634"/>
                  <a:pt x="15610" y="437"/>
                </a:cubicBezTo>
                <a:cubicBezTo>
                  <a:pt x="15670" y="296"/>
                  <a:pt x="15725" y="202"/>
                  <a:pt x="15775" y="156"/>
                </a:cubicBezTo>
                <a:cubicBezTo>
                  <a:pt x="15794" y="167"/>
                  <a:pt x="15813" y="179"/>
                  <a:pt x="15833" y="191"/>
                </a:cubicBezTo>
                <a:cubicBezTo>
                  <a:pt x="15853" y="203"/>
                  <a:pt x="15863" y="220"/>
                  <a:pt x="15863" y="241"/>
                </a:cubicBezTo>
                <a:cubicBezTo>
                  <a:pt x="15863" y="264"/>
                  <a:pt x="15733" y="536"/>
                  <a:pt x="15474" y="1057"/>
                </a:cubicBezTo>
                <a:cubicBezTo>
                  <a:pt x="15603" y="1001"/>
                  <a:pt x="15716" y="952"/>
                  <a:pt x="15812" y="912"/>
                </a:cubicBezTo>
                <a:cubicBezTo>
                  <a:pt x="15996" y="836"/>
                  <a:pt x="16100" y="798"/>
                  <a:pt x="16125" y="798"/>
                </a:cubicBezTo>
                <a:cubicBezTo>
                  <a:pt x="16152" y="798"/>
                  <a:pt x="16173" y="804"/>
                  <a:pt x="16187" y="818"/>
                </a:cubicBezTo>
                <a:cubicBezTo>
                  <a:pt x="16228" y="860"/>
                  <a:pt x="16249" y="916"/>
                  <a:pt x="16249" y="986"/>
                </a:cubicBezTo>
                <a:close/>
                <a:moveTo>
                  <a:pt x="18851" y="536"/>
                </a:moveTo>
                <a:cubicBezTo>
                  <a:pt x="18851" y="465"/>
                  <a:pt x="18826" y="411"/>
                  <a:pt x="18777" y="372"/>
                </a:cubicBezTo>
                <a:cubicBezTo>
                  <a:pt x="18734" y="339"/>
                  <a:pt x="18676" y="322"/>
                  <a:pt x="18603" y="322"/>
                </a:cubicBezTo>
                <a:cubicBezTo>
                  <a:pt x="18541" y="322"/>
                  <a:pt x="18481" y="333"/>
                  <a:pt x="18423" y="356"/>
                </a:cubicBezTo>
                <a:cubicBezTo>
                  <a:pt x="18356" y="384"/>
                  <a:pt x="18310" y="421"/>
                  <a:pt x="18285" y="467"/>
                </a:cubicBezTo>
                <a:cubicBezTo>
                  <a:pt x="18264" y="519"/>
                  <a:pt x="18242" y="570"/>
                  <a:pt x="18221" y="621"/>
                </a:cubicBezTo>
                <a:lnTo>
                  <a:pt x="18044" y="864"/>
                </a:lnTo>
                <a:cubicBezTo>
                  <a:pt x="17980" y="958"/>
                  <a:pt x="17931" y="1045"/>
                  <a:pt x="17897" y="1126"/>
                </a:cubicBezTo>
                <a:lnTo>
                  <a:pt x="17918" y="1149"/>
                </a:lnTo>
                <a:lnTo>
                  <a:pt x="17938" y="1149"/>
                </a:lnTo>
                <a:cubicBezTo>
                  <a:pt x="18076" y="1149"/>
                  <a:pt x="18258" y="1082"/>
                  <a:pt x="18483" y="947"/>
                </a:cubicBezTo>
                <a:cubicBezTo>
                  <a:pt x="18728" y="800"/>
                  <a:pt x="18851" y="663"/>
                  <a:pt x="18851" y="536"/>
                </a:cubicBezTo>
                <a:close/>
                <a:moveTo>
                  <a:pt x="18968" y="501"/>
                </a:moveTo>
                <a:cubicBezTo>
                  <a:pt x="18968" y="780"/>
                  <a:pt x="18756" y="995"/>
                  <a:pt x="18331" y="1147"/>
                </a:cubicBezTo>
                <a:cubicBezTo>
                  <a:pt x="18245" y="1178"/>
                  <a:pt x="18094" y="1222"/>
                  <a:pt x="17876" y="1280"/>
                </a:cubicBezTo>
                <a:cubicBezTo>
                  <a:pt x="17813" y="1297"/>
                  <a:pt x="17761" y="1338"/>
                  <a:pt x="17718" y="1402"/>
                </a:cubicBezTo>
                <a:cubicBezTo>
                  <a:pt x="17708" y="1416"/>
                  <a:pt x="17679" y="1474"/>
                  <a:pt x="17628" y="1577"/>
                </a:cubicBezTo>
                <a:cubicBezTo>
                  <a:pt x="17597" y="1640"/>
                  <a:pt x="17564" y="1678"/>
                  <a:pt x="17529" y="1692"/>
                </a:cubicBezTo>
                <a:cubicBezTo>
                  <a:pt x="17482" y="1670"/>
                  <a:pt x="17458" y="1640"/>
                  <a:pt x="17458" y="1602"/>
                </a:cubicBezTo>
                <a:cubicBezTo>
                  <a:pt x="17458" y="1568"/>
                  <a:pt x="17482" y="1521"/>
                  <a:pt x="17531" y="1460"/>
                </a:cubicBezTo>
                <a:cubicBezTo>
                  <a:pt x="17551" y="1435"/>
                  <a:pt x="17587" y="1390"/>
                  <a:pt x="17637" y="1324"/>
                </a:cubicBezTo>
                <a:cubicBezTo>
                  <a:pt x="17649" y="1307"/>
                  <a:pt x="17665" y="1246"/>
                  <a:pt x="17683" y="1140"/>
                </a:cubicBezTo>
                <a:cubicBezTo>
                  <a:pt x="17691" y="1094"/>
                  <a:pt x="17705" y="1060"/>
                  <a:pt x="17725" y="1037"/>
                </a:cubicBezTo>
                <a:lnTo>
                  <a:pt x="17789" y="1080"/>
                </a:lnTo>
                <a:cubicBezTo>
                  <a:pt x="17914" y="901"/>
                  <a:pt x="17982" y="805"/>
                  <a:pt x="17991" y="793"/>
                </a:cubicBezTo>
                <a:cubicBezTo>
                  <a:pt x="18075" y="660"/>
                  <a:pt x="18118" y="557"/>
                  <a:pt x="18118" y="485"/>
                </a:cubicBezTo>
                <a:cubicBezTo>
                  <a:pt x="18026" y="534"/>
                  <a:pt x="17945" y="564"/>
                  <a:pt x="17876" y="575"/>
                </a:cubicBezTo>
                <a:lnTo>
                  <a:pt x="17876" y="552"/>
                </a:lnTo>
                <a:lnTo>
                  <a:pt x="17856" y="529"/>
                </a:lnTo>
                <a:lnTo>
                  <a:pt x="17876" y="444"/>
                </a:lnTo>
                <a:cubicBezTo>
                  <a:pt x="17945" y="390"/>
                  <a:pt x="18070" y="336"/>
                  <a:pt x="18251" y="280"/>
                </a:cubicBezTo>
                <a:cubicBezTo>
                  <a:pt x="18427" y="227"/>
                  <a:pt x="18563" y="200"/>
                  <a:pt x="18658" y="200"/>
                </a:cubicBezTo>
                <a:cubicBezTo>
                  <a:pt x="18754" y="200"/>
                  <a:pt x="18830" y="226"/>
                  <a:pt x="18885" y="278"/>
                </a:cubicBezTo>
                <a:cubicBezTo>
                  <a:pt x="18940" y="330"/>
                  <a:pt x="18968" y="405"/>
                  <a:pt x="18968" y="501"/>
                </a:cubicBezTo>
                <a:close/>
                <a:moveTo>
                  <a:pt x="19984" y="1761"/>
                </a:moveTo>
                <a:lnTo>
                  <a:pt x="19984" y="1754"/>
                </a:lnTo>
                <a:lnTo>
                  <a:pt x="19989" y="1754"/>
                </a:lnTo>
                <a:lnTo>
                  <a:pt x="19989" y="1747"/>
                </a:lnTo>
                <a:lnTo>
                  <a:pt x="19984" y="1747"/>
                </a:lnTo>
                <a:lnTo>
                  <a:pt x="19984" y="1733"/>
                </a:lnTo>
                <a:lnTo>
                  <a:pt x="19993" y="1733"/>
                </a:lnTo>
                <a:lnTo>
                  <a:pt x="19993" y="1738"/>
                </a:lnTo>
                <a:lnTo>
                  <a:pt x="19989" y="1738"/>
                </a:lnTo>
                <a:lnTo>
                  <a:pt x="19989" y="1742"/>
                </a:lnTo>
                <a:lnTo>
                  <a:pt x="19993" y="1742"/>
                </a:lnTo>
                <a:lnTo>
                  <a:pt x="19993" y="1761"/>
                </a:lnTo>
                <a:lnTo>
                  <a:pt x="19984" y="1761"/>
                </a:lnTo>
                <a:close/>
                <a:moveTo>
                  <a:pt x="19908" y="938"/>
                </a:moveTo>
                <a:cubicBezTo>
                  <a:pt x="19908" y="883"/>
                  <a:pt x="19861" y="855"/>
                  <a:pt x="19766" y="855"/>
                </a:cubicBezTo>
                <a:cubicBezTo>
                  <a:pt x="19626" y="855"/>
                  <a:pt x="19510" y="886"/>
                  <a:pt x="19418" y="949"/>
                </a:cubicBezTo>
                <a:cubicBezTo>
                  <a:pt x="19333" y="1008"/>
                  <a:pt x="19244" y="1086"/>
                  <a:pt x="19152" y="1184"/>
                </a:cubicBezTo>
                <a:cubicBezTo>
                  <a:pt x="19035" y="1308"/>
                  <a:pt x="18977" y="1406"/>
                  <a:pt x="18977" y="1478"/>
                </a:cubicBezTo>
                <a:cubicBezTo>
                  <a:pt x="18977" y="1521"/>
                  <a:pt x="18996" y="1554"/>
                  <a:pt x="19032" y="1577"/>
                </a:cubicBezTo>
                <a:cubicBezTo>
                  <a:pt x="19065" y="1597"/>
                  <a:pt x="19104" y="1607"/>
                  <a:pt x="19150" y="1607"/>
                </a:cubicBezTo>
                <a:cubicBezTo>
                  <a:pt x="19283" y="1607"/>
                  <a:pt x="19397" y="1560"/>
                  <a:pt x="19492" y="1466"/>
                </a:cubicBezTo>
                <a:cubicBezTo>
                  <a:pt x="19515" y="1443"/>
                  <a:pt x="19580" y="1355"/>
                  <a:pt x="19687" y="1202"/>
                </a:cubicBezTo>
                <a:cubicBezTo>
                  <a:pt x="19753" y="1107"/>
                  <a:pt x="19817" y="1060"/>
                  <a:pt x="19878" y="1060"/>
                </a:cubicBezTo>
                <a:cubicBezTo>
                  <a:pt x="19898" y="1017"/>
                  <a:pt x="19908" y="976"/>
                  <a:pt x="19908" y="938"/>
                </a:cubicBezTo>
                <a:close/>
                <a:moveTo>
                  <a:pt x="19991" y="1715"/>
                </a:moveTo>
                <a:cubicBezTo>
                  <a:pt x="19957" y="1788"/>
                  <a:pt x="19917" y="1825"/>
                  <a:pt x="19871" y="1825"/>
                </a:cubicBezTo>
                <a:cubicBezTo>
                  <a:pt x="19819" y="1825"/>
                  <a:pt x="19762" y="1787"/>
                  <a:pt x="19699" y="1710"/>
                </a:cubicBezTo>
                <a:cubicBezTo>
                  <a:pt x="19650" y="1652"/>
                  <a:pt x="19610" y="1589"/>
                  <a:pt x="19579" y="1522"/>
                </a:cubicBezTo>
                <a:cubicBezTo>
                  <a:pt x="19451" y="1583"/>
                  <a:pt x="19363" y="1623"/>
                  <a:pt x="19317" y="1641"/>
                </a:cubicBezTo>
                <a:cubicBezTo>
                  <a:pt x="19204" y="1686"/>
                  <a:pt x="19113" y="1708"/>
                  <a:pt x="19044" y="1708"/>
                </a:cubicBezTo>
                <a:cubicBezTo>
                  <a:pt x="18923" y="1708"/>
                  <a:pt x="18862" y="1647"/>
                  <a:pt x="18862" y="1524"/>
                </a:cubicBezTo>
                <a:cubicBezTo>
                  <a:pt x="18862" y="1326"/>
                  <a:pt x="18970" y="1150"/>
                  <a:pt x="19184" y="995"/>
                </a:cubicBezTo>
                <a:cubicBezTo>
                  <a:pt x="19255" y="945"/>
                  <a:pt x="19350" y="890"/>
                  <a:pt x="19469" y="832"/>
                </a:cubicBezTo>
                <a:cubicBezTo>
                  <a:pt x="19612" y="763"/>
                  <a:pt x="19713" y="729"/>
                  <a:pt x="19772" y="729"/>
                </a:cubicBezTo>
                <a:cubicBezTo>
                  <a:pt x="19814" y="729"/>
                  <a:pt x="19853" y="751"/>
                  <a:pt x="19890" y="795"/>
                </a:cubicBezTo>
                <a:cubicBezTo>
                  <a:pt x="19926" y="840"/>
                  <a:pt x="19945" y="883"/>
                  <a:pt x="19945" y="926"/>
                </a:cubicBezTo>
                <a:cubicBezTo>
                  <a:pt x="19945" y="1011"/>
                  <a:pt x="19912" y="1121"/>
                  <a:pt x="19845" y="1258"/>
                </a:cubicBezTo>
                <a:cubicBezTo>
                  <a:pt x="19778" y="1396"/>
                  <a:pt x="19745" y="1475"/>
                  <a:pt x="19745" y="1496"/>
                </a:cubicBezTo>
                <a:cubicBezTo>
                  <a:pt x="19745" y="1570"/>
                  <a:pt x="19756" y="1620"/>
                  <a:pt x="19779" y="1648"/>
                </a:cubicBezTo>
                <a:cubicBezTo>
                  <a:pt x="19798" y="1671"/>
                  <a:pt x="19868" y="1693"/>
                  <a:pt x="19991" y="1715"/>
                </a:cubicBezTo>
                <a:close/>
                <a:moveTo>
                  <a:pt x="21358" y="595"/>
                </a:moveTo>
                <a:cubicBezTo>
                  <a:pt x="21345" y="667"/>
                  <a:pt x="21287" y="718"/>
                  <a:pt x="21186" y="747"/>
                </a:cubicBezTo>
                <a:cubicBezTo>
                  <a:pt x="21126" y="762"/>
                  <a:pt x="21020" y="789"/>
                  <a:pt x="20867" y="827"/>
                </a:cubicBezTo>
                <a:cubicBezTo>
                  <a:pt x="20735" y="861"/>
                  <a:pt x="20639" y="909"/>
                  <a:pt x="20579" y="970"/>
                </a:cubicBezTo>
                <a:cubicBezTo>
                  <a:pt x="20772" y="1017"/>
                  <a:pt x="20893" y="1050"/>
                  <a:pt x="20940" y="1069"/>
                </a:cubicBezTo>
                <a:cubicBezTo>
                  <a:pt x="21109" y="1132"/>
                  <a:pt x="21193" y="1204"/>
                  <a:pt x="21193" y="1287"/>
                </a:cubicBezTo>
                <a:cubicBezTo>
                  <a:pt x="21193" y="1407"/>
                  <a:pt x="21093" y="1519"/>
                  <a:pt x="20892" y="1623"/>
                </a:cubicBezTo>
                <a:cubicBezTo>
                  <a:pt x="20714" y="1713"/>
                  <a:pt x="20559" y="1758"/>
                  <a:pt x="20428" y="1758"/>
                </a:cubicBezTo>
                <a:cubicBezTo>
                  <a:pt x="20319" y="1758"/>
                  <a:pt x="20219" y="1716"/>
                  <a:pt x="20129" y="1632"/>
                </a:cubicBezTo>
                <a:cubicBezTo>
                  <a:pt x="20031" y="1540"/>
                  <a:pt x="19985" y="1442"/>
                  <a:pt x="19993" y="1338"/>
                </a:cubicBezTo>
                <a:lnTo>
                  <a:pt x="19995" y="1303"/>
                </a:lnTo>
                <a:cubicBezTo>
                  <a:pt x="20038" y="1319"/>
                  <a:pt x="20100" y="1383"/>
                  <a:pt x="20182" y="1496"/>
                </a:cubicBezTo>
                <a:cubicBezTo>
                  <a:pt x="20258" y="1602"/>
                  <a:pt x="20326" y="1655"/>
                  <a:pt x="20384" y="1655"/>
                </a:cubicBezTo>
                <a:cubicBezTo>
                  <a:pt x="20483" y="1655"/>
                  <a:pt x="20612" y="1621"/>
                  <a:pt x="20770" y="1554"/>
                </a:cubicBezTo>
                <a:cubicBezTo>
                  <a:pt x="20952" y="1476"/>
                  <a:pt x="21043" y="1394"/>
                  <a:pt x="21043" y="1310"/>
                </a:cubicBezTo>
                <a:cubicBezTo>
                  <a:pt x="21044" y="1250"/>
                  <a:pt x="20990" y="1204"/>
                  <a:pt x="20883" y="1172"/>
                </a:cubicBezTo>
                <a:cubicBezTo>
                  <a:pt x="20878" y="1172"/>
                  <a:pt x="20764" y="1143"/>
                  <a:pt x="20540" y="1085"/>
                </a:cubicBezTo>
                <a:cubicBezTo>
                  <a:pt x="20416" y="1053"/>
                  <a:pt x="20335" y="1015"/>
                  <a:pt x="20297" y="972"/>
                </a:cubicBezTo>
                <a:cubicBezTo>
                  <a:pt x="20342" y="922"/>
                  <a:pt x="20434" y="868"/>
                  <a:pt x="20570" y="811"/>
                </a:cubicBezTo>
                <a:cubicBezTo>
                  <a:pt x="20657" y="775"/>
                  <a:pt x="20788" y="730"/>
                  <a:pt x="20961" y="678"/>
                </a:cubicBezTo>
                <a:cubicBezTo>
                  <a:pt x="21148" y="621"/>
                  <a:pt x="21258" y="587"/>
                  <a:pt x="21292" y="575"/>
                </a:cubicBezTo>
                <a:cubicBezTo>
                  <a:pt x="21312" y="585"/>
                  <a:pt x="21334" y="592"/>
                  <a:pt x="21358" y="595"/>
                </a:cubicBezTo>
                <a:close/>
                <a:moveTo>
                  <a:pt x="22800" y="595"/>
                </a:moveTo>
                <a:cubicBezTo>
                  <a:pt x="22786" y="667"/>
                  <a:pt x="22728" y="718"/>
                  <a:pt x="22627" y="747"/>
                </a:cubicBezTo>
                <a:cubicBezTo>
                  <a:pt x="22567" y="762"/>
                  <a:pt x="22461" y="789"/>
                  <a:pt x="22308" y="827"/>
                </a:cubicBezTo>
                <a:cubicBezTo>
                  <a:pt x="22176" y="861"/>
                  <a:pt x="22080" y="909"/>
                  <a:pt x="22020" y="970"/>
                </a:cubicBezTo>
                <a:cubicBezTo>
                  <a:pt x="22213" y="1017"/>
                  <a:pt x="22334" y="1050"/>
                  <a:pt x="22381" y="1069"/>
                </a:cubicBezTo>
                <a:cubicBezTo>
                  <a:pt x="22550" y="1132"/>
                  <a:pt x="22634" y="1204"/>
                  <a:pt x="22634" y="1287"/>
                </a:cubicBezTo>
                <a:cubicBezTo>
                  <a:pt x="22634" y="1407"/>
                  <a:pt x="22534" y="1519"/>
                  <a:pt x="22333" y="1623"/>
                </a:cubicBezTo>
                <a:cubicBezTo>
                  <a:pt x="22155" y="1713"/>
                  <a:pt x="22000" y="1758"/>
                  <a:pt x="21869" y="1758"/>
                </a:cubicBezTo>
                <a:cubicBezTo>
                  <a:pt x="21760" y="1758"/>
                  <a:pt x="21660" y="1716"/>
                  <a:pt x="21570" y="1632"/>
                </a:cubicBezTo>
                <a:cubicBezTo>
                  <a:pt x="21472" y="1540"/>
                  <a:pt x="21427" y="1442"/>
                  <a:pt x="21434" y="1338"/>
                </a:cubicBezTo>
                <a:lnTo>
                  <a:pt x="21437" y="1303"/>
                </a:lnTo>
                <a:cubicBezTo>
                  <a:pt x="21479" y="1319"/>
                  <a:pt x="21541" y="1383"/>
                  <a:pt x="21623" y="1496"/>
                </a:cubicBezTo>
                <a:cubicBezTo>
                  <a:pt x="21699" y="1602"/>
                  <a:pt x="21767" y="1655"/>
                  <a:pt x="21825" y="1655"/>
                </a:cubicBezTo>
                <a:cubicBezTo>
                  <a:pt x="21925" y="1655"/>
                  <a:pt x="22053" y="1621"/>
                  <a:pt x="22211" y="1554"/>
                </a:cubicBezTo>
                <a:cubicBezTo>
                  <a:pt x="22393" y="1476"/>
                  <a:pt x="22485" y="1394"/>
                  <a:pt x="22485" y="1310"/>
                </a:cubicBezTo>
                <a:cubicBezTo>
                  <a:pt x="22485" y="1250"/>
                  <a:pt x="22431" y="1204"/>
                  <a:pt x="22324" y="1172"/>
                </a:cubicBezTo>
                <a:cubicBezTo>
                  <a:pt x="22319" y="1172"/>
                  <a:pt x="22205" y="1143"/>
                  <a:pt x="21981" y="1085"/>
                </a:cubicBezTo>
                <a:cubicBezTo>
                  <a:pt x="21857" y="1053"/>
                  <a:pt x="21776" y="1015"/>
                  <a:pt x="21738" y="972"/>
                </a:cubicBezTo>
                <a:cubicBezTo>
                  <a:pt x="21784" y="922"/>
                  <a:pt x="21875" y="868"/>
                  <a:pt x="22011" y="811"/>
                </a:cubicBezTo>
                <a:cubicBezTo>
                  <a:pt x="22099" y="775"/>
                  <a:pt x="22229" y="730"/>
                  <a:pt x="22402" y="678"/>
                </a:cubicBezTo>
                <a:cubicBezTo>
                  <a:pt x="22589" y="621"/>
                  <a:pt x="22699" y="587"/>
                  <a:pt x="22733" y="575"/>
                </a:cubicBezTo>
                <a:cubicBezTo>
                  <a:pt x="22753" y="585"/>
                  <a:pt x="22775" y="592"/>
                  <a:pt x="22800" y="595"/>
                </a:cubicBezTo>
                <a:close/>
                <a:moveTo>
                  <a:pt x="23443" y="402"/>
                </a:moveTo>
                <a:cubicBezTo>
                  <a:pt x="23443" y="457"/>
                  <a:pt x="23406" y="485"/>
                  <a:pt x="23333" y="485"/>
                </a:cubicBezTo>
                <a:cubicBezTo>
                  <a:pt x="23265" y="485"/>
                  <a:pt x="23232" y="457"/>
                  <a:pt x="23232" y="402"/>
                </a:cubicBezTo>
                <a:cubicBezTo>
                  <a:pt x="23232" y="375"/>
                  <a:pt x="23240" y="336"/>
                  <a:pt x="23258" y="287"/>
                </a:cubicBezTo>
                <a:cubicBezTo>
                  <a:pt x="23276" y="238"/>
                  <a:pt x="23285" y="202"/>
                  <a:pt x="23287" y="177"/>
                </a:cubicBezTo>
                <a:cubicBezTo>
                  <a:pt x="23302" y="186"/>
                  <a:pt x="23331" y="230"/>
                  <a:pt x="23374" y="308"/>
                </a:cubicBezTo>
                <a:cubicBezTo>
                  <a:pt x="23377" y="313"/>
                  <a:pt x="23391" y="326"/>
                  <a:pt x="23416" y="349"/>
                </a:cubicBezTo>
                <a:cubicBezTo>
                  <a:pt x="23434" y="366"/>
                  <a:pt x="23443" y="384"/>
                  <a:pt x="23443" y="402"/>
                </a:cubicBezTo>
                <a:close/>
                <a:moveTo>
                  <a:pt x="23227" y="1034"/>
                </a:moveTo>
                <a:cubicBezTo>
                  <a:pt x="23227" y="1059"/>
                  <a:pt x="23184" y="1181"/>
                  <a:pt x="23098" y="1400"/>
                </a:cubicBezTo>
                <a:cubicBezTo>
                  <a:pt x="23088" y="1427"/>
                  <a:pt x="23072" y="1468"/>
                  <a:pt x="23050" y="1522"/>
                </a:cubicBezTo>
                <a:cubicBezTo>
                  <a:pt x="23032" y="1563"/>
                  <a:pt x="23008" y="1589"/>
                  <a:pt x="22979" y="1600"/>
                </a:cubicBezTo>
                <a:cubicBezTo>
                  <a:pt x="22962" y="1606"/>
                  <a:pt x="22927" y="1609"/>
                  <a:pt x="22875" y="1609"/>
                </a:cubicBezTo>
                <a:cubicBezTo>
                  <a:pt x="22875" y="1598"/>
                  <a:pt x="22873" y="1583"/>
                  <a:pt x="22870" y="1563"/>
                </a:cubicBezTo>
                <a:cubicBezTo>
                  <a:pt x="22866" y="1543"/>
                  <a:pt x="22864" y="1528"/>
                  <a:pt x="22864" y="1517"/>
                </a:cubicBezTo>
                <a:cubicBezTo>
                  <a:pt x="22864" y="1483"/>
                  <a:pt x="22877" y="1446"/>
                  <a:pt x="22903" y="1404"/>
                </a:cubicBezTo>
                <a:cubicBezTo>
                  <a:pt x="22938" y="1348"/>
                  <a:pt x="22958" y="1313"/>
                  <a:pt x="22963" y="1301"/>
                </a:cubicBezTo>
                <a:cubicBezTo>
                  <a:pt x="22975" y="1263"/>
                  <a:pt x="22999" y="1195"/>
                  <a:pt x="23034" y="1099"/>
                </a:cubicBezTo>
                <a:cubicBezTo>
                  <a:pt x="23060" y="1031"/>
                  <a:pt x="23101" y="975"/>
                  <a:pt x="23158" y="929"/>
                </a:cubicBezTo>
                <a:cubicBezTo>
                  <a:pt x="23204" y="975"/>
                  <a:pt x="23227" y="1010"/>
                  <a:pt x="23227" y="1034"/>
                </a:cubicBezTo>
                <a:close/>
                <a:moveTo>
                  <a:pt x="24765" y="1253"/>
                </a:moveTo>
                <a:cubicBezTo>
                  <a:pt x="24765" y="1178"/>
                  <a:pt x="24726" y="1121"/>
                  <a:pt x="24650" y="1083"/>
                </a:cubicBezTo>
                <a:cubicBezTo>
                  <a:pt x="24588" y="1052"/>
                  <a:pt x="24516" y="1037"/>
                  <a:pt x="24434" y="1037"/>
                </a:cubicBezTo>
                <a:cubicBezTo>
                  <a:pt x="24296" y="1037"/>
                  <a:pt x="24153" y="1075"/>
                  <a:pt x="24004" y="1152"/>
                </a:cubicBezTo>
                <a:cubicBezTo>
                  <a:pt x="23848" y="1230"/>
                  <a:pt x="23736" y="1325"/>
                  <a:pt x="23668" y="1439"/>
                </a:cubicBezTo>
                <a:cubicBezTo>
                  <a:pt x="23773" y="1545"/>
                  <a:pt x="23897" y="1597"/>
                  <a:pt x="24043" y="1597"/>
                </a:cubicBezTo>
                <a:cubicBezTo>
                  <a:pt x="24182" y="1597"/>
                  <a:pt x="24326" y="1572"/>
                  <a:pt x="24473" y="1522"/>
                </a:cubicBezTo>
                <a:cubicBezTo>
                  <a:pt x="24667" y="1454"/>
                  <a:pt x="24765" y="1365"/>
                  <a:pt x="24765" y="1253"/>
                </a:cubicBezTo>
                <a:close/>
                <a:moveTo>
                  <a:pt x="24891" y="1266"/>
                </a:moveTo>
                <a:cubicBezTo>
                  <a:pt x="24891" y="1411"/>
                  <a:pt x="24787" y="1523"/>
                  <a:pt x="24579" y="1604"/>
                </a:cubicBezTo>
                <a:cubicBezTo>
                  <a:pt x="24421" y="1666"/>
                  <a:pt x="24254" y="1696"/>
                  <a:pt x="24080" y="1696"/>
                </a:cubicBezTo>
                <a:cubicBezTo>
                  <a:pt x="23714" y="1696"/>
                  <a:pt x="23530" y="1606"/>
                  <a:pt x="23530" y="1425"/>
                </a:cubicBezTo>
                <a:cubicBezTo>
                  <a:pt x="23530" y="1296"/>
                  <a:pt x="23650" y="1171"/>
                  <a:pt x="23889" y="1050"/>
                </a:cubicBezTo>
                <a:cubicBezTo>
                  <a:pt x="24102" y="943"/>
                  <a:pt x="24281" y="890"/>
                  <a:pt x="24427" y="890"/>
                </a:cubicBezTo>
                <a:cubicBezTo>
                  <a:pt x="24556" y="890"/>
                  <a:pt x="24662" y="919"/>
                  <a:pt x="24746" y="979"/>
                </a:cubicBezTo>
                <a:cubicBezTo>
                  <a:pt x="24843" y="1047"/>
                  <a:pt x="24891" y="1142"/>
                  <a:pt x="24891" y="1266"/>
                </a:cubicBezTo>
                <a:close/>
                <a:moveTo>
                  <a:pt x="26146" y="1142"/>
                </a:moveTo>
                <a:cubicBezTo>
                  <a:pt x="26146" y="1196"/>
                  <a:pt x="26121" y="1273"/>
                  <a:pt x="26070" y="1375"/>
                </a:cubicBezTo>
                <a:cubicBezTo>
                  <a:pt x="26020" y="1476"/>
                  <a:pt x="25973" y="1546"/>
                  <a:pt x="25930" y="1586"/>
                </a:cubicBezTo>
                <a:cubicBezTo>
                  <a:pt x="25932" y="1606"/>
                  <a:pt x="25933" y="1618"/>
                  <a:pt x="25935" y="1623"/>
                </a:cubicBezTo>
                <a:cubicBezTo>
                  <a:pt x="25938" y="1633"/>
                  <a:pt x="25943" y="1645"/>
                  <a:pt x="25951" y="1657"/>
                </a:cubicBezTo>
                <a:cubicBezTo>
                  <a:pt x="25938" y="1703"/>
                  <a:pt x="25908" y="1726"/>
                  <a:pt x="25859" y="1726"/>
                </a:cubicBezTo>
                <a:cubicBezTo>
                  <a:pt x="25833" y="1726"/>
                  <a:pt x="25809" y="1718"/>
                  <a:pt x="25789" y="1703"/>
                </a:cubicBezTo>
                <a:cubicBezTo>
                  <a:pt x="25768" y="1688"/>
                  <a:pt x="25758" y="1668"/>
                  <a:pt x="25758" y="1643"/>
                </a:cubicBezTo>
                <a:cubicBezTo>
                  <a:pt x="25758" y="1599"/>
                  <a:pt x="25797" y="1523"/>
                  <a:pt x="25875" y="1416"/>
                </a:cubicBezTo>
                <a:cubicBezTo>
                  <a:pt x="25953" y="1309"/>
                  <a:pt x="25992" y="1234"/>
                  <a:pt x="25992" y="1193"/>
                </a:cubicBezTo>
                <a:cubicBezTo>
                  <a:pt x="25992" y="1115"/>
                  <a:pt x="25952" y="1076"/>
                  <a:pt x="25873" y="1076"/>
                </a:cubicBezTo>
                <a:cubicBezTo>
                  <a:pt x="25767" y="1076"/>
                  <a:pt x="25664" y="1125"/>
                  <a:pt x="25565" y="1223"/>
                </a:cubicBezTo>
                <a:cubicBezTo>
                  <a:pt x="25514" y="1276"/>
                  <a:pt x="25421" y="1371"/>
                  <a:pt x="25286" y="1508"/>
                </a:cubicBezTo>
                <a:cubicBezTo>
                  <a:pt x="25179" y="1617"/>
                  <a:pt x="25076" y="1679"/>
                  <a:pt x="24976" y="1696"/>
                </a:cubicBezTo>
                <a:lnTo>
                  <a:pt x="24976" y="1676"/>
                </a:lnTo>
                <a:lnTo>
                  <a:pt x="24955" y="1653"/>
                </a:lnTo>
                <a:cubicBezTo>
                  <a:pt x="24955" y="1571"/>
                  <a:pt x="25030" y="1441"/>
                  <a:pt x="25181" y="1262"/>
                </a:cubicBezTo>
                <a:cubicBezTo>
                  <a:pt x="25267" y="1159"/>
                  <a:pt x="25322" y="1085"/>
                  <a:pt x="25346" y="1039"/>
                </a:cubicBezTo>
                <a:cubicBezTo>
                  <a:pt x="25360" y="999"/>
                  <a:pt x="25375" y="959"/>
                  <a:pt x="25392" y="919"/>
                </a:cubicBezTo>
                <a:cubicBezTo>
                  <a:pt x="25406" y="889"/>
                  <a:pt x="25419" y="867"/>
                  <a:pt x="25432" y="855"/>
                </a:cubicBezTo>
                <a:cubicBezTo>
                  <a:pt x="25445" y="843"/>
                  <a:pt x="25466" y="837"/>
                  <a:pt x="25496" y="837"/>
                </a:cubicBezTo>
                <a:cubicBezTo>
                  <a:pt x="25538" y="837"/>
                  <a:pt x="25560" y="859"/>
                  <a:pt x="25560" y="903"/>
                </a:cubicBezTo>
                <a:cubicBezTo>
                  <a:pt x="25560" y="934"/>
                  <a:pt x="25556" y="958"/>
                  <a:pt x="25548" y="977"/>
                </a:cubicBezTo>
                <a:cubicBezTo>
                  <a:pt x="25547" y="983"/>
                  <a:pt x="25530" y="1024"/>
                  <a:pt x="25498" y="1101"/>
                </a:cubicBezTo>
                <a:cubicBezTo>
                  <a:pt x="25630" y="1031"/>
                  <a:pt x="25705" y="991"/>
                  <a:pt x="25723" y="984"/>
                </a:cubicBezTo>
                <a:cubicBezTo>
                  <a:pt x="25827" y="933"/>
                  <a:pt x="25904" y="908"/>
                  <a:pt x="25953" y="908"/>
                </a:cubicBezTo>
                <a:cubicBezTo>
                  <a:pt x="26011" y="908"/>
                  <a:pt x="26058" y="932"/>
                  <a:pt x="26093" y="980"/>
                </a:cubicBezTo>
                <a:cubicBezTo>
                  <a:pt x="26128" y="1029"/>
                  <a:pt x="26146" y="1083"/>
                  <a:pt x="26146" y="1142"/>
                </a:cubicBezTo>
                <a:close/>
              </a:path>
            </a:pathLst>
          </a:custGeom>
          <a:solidFill>
            <a:srgbClr val="00469B"/>
          </a:solidFill>
          <a:ln>
            <a:noFill/>
          </a:ln>
        </p:spPr>
        <p:txBody>
          <a:bodyPr vert="horz" wrap="square" lIns="89309" tIns="44655" rIns="89309" bIns="44655" numCol="1" anchor="t" anchorCtr="0" compatLnSpc="1">
            <a:prstTxWarp prst="textNoShape">
              <a:avLst/>
            </a:prstTxWarp>
          </a:bodyPr>
          <a:lstStyle/>
          <a:p>
            <a:pPr defTabSz="914350"/>
            <a:endParaRPr lang="en-US" noProof="0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7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E1E517-E4A2-4B1F-AC48-10CF41B63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905D72-8CE2-4D17-986A-FF6DD4F889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FB61573-094B-40D4-847D-A766A218EC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7188" y="6356351"/>
            <a:ext cx="2742843" cy="365125"/>
          </a:xfrm>
        </p:spPr>
        <p:txBody>
          <a:bodyPr/>
          <a:lstStyle>
            <a:lvl1pPr>
              <a:defRPr sz="1050">
                <a:solidFill>
                  <a:srgbClr val="CFCFD1"/>
                </a:solidFill>
              </a:defRPr>
            </a:lvl1pPr>
          </a:lstStyle>
          <a:p>
            <a:fld id="{1F070689-C3A1-453D-99BB-83C5DC23BC43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B361942-4515-4DD5-AAE0-FBBCC643E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D1C732-DC4A-4C20-9639-C47A86473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1360" y="6356351"/>
            <a:ext cx="2742843" cy="365125"/>
          </a:xfrm>
        </p:spPr>
        <p:txBody>
          <a:bodyPr/>
          <a:lstStyle>
            <a:lvl1pPr>
              <a:defRPr>
                <a:solidFill>
                  <a:srgbClr val="CFCFD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D101707-6D35-4872-89D4-575331FDCCD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398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platzhalter 100"/>
          <p:cNvSpPr>
            <a:spLocks noGrp="1"/>
          </p:cNvSpPr>
          <p:nvPr>
            <p:ph type="body" sz="quarter" idx="47"/>
          </p:nvPr>
        </p:nvSpPr>
        <p:spPr bwMode="gray">
          <a:xfrm>
            <a:off x="-2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6676 h 4536676"/>
              <a:gd name="connsiteX3" fmla="*/ 11110413 w 12190413"/>
              <a:gd name="connsiteY3" fmla="*/ 4536676 h 4536676"/>
              <a:gd name="connsiteX4" fmla="*/ 0 w 12190413"/>
              <a:gd name="connsiteY4" fmla="*/ 4536676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6676"/>
                </a:lnTo>
                <a:lnTo>
                  <a:pt x="11110413" y="4536676"/>
                </a:lnTo>
                <a:lnTo>
                  <a:pt x="0" y="4536676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4"/>
          </p:nvPr>
        </p:nvSpPr>
        <p:spPr bwMode="gray">
          <a:xfrm>
            <a:off x="-1" y="1697832"/>
            <a:ext cx="12190413" cy="4536676"/>
          </a:xfrm>
          <a:custGeom>
            <a:avLst/>
            <a:gdLst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1012981 w 12190413"/>
              <a:gd name="connsiteY6" fmla="*/ 4536676 h 4536676"/>
              <a:gd name="connsiteX7" fmla="*/ 10611779 w 12190413"/>
              <a:gd name="connsiteY7" fmla="*/ 4536676 h 4536676"/>
              <a:gd name="connsiteX8" fmla="*/ 0 w 12190413"/>
              <a:gd name="connsiteY8" fmla="*/ 4536676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10611779 w 12190413"/>
              <a:gd name="connsiteY6" fmla="*/ 4536676 h 4536676"/>
              <a:gd name="connsiteX7" fmla="*/ 0 w 12190413"/>
              <a:gd name="connsiteY7" fmla="*/ 4536676 h 4536676"/>
              <a:gd name="connsiteX8" fmla="*/ 0 w 12190413"/>
              <a:gd name="connsiteY8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370812 h 4536676"/>
              <a:gd name="connsiteX4" fmla="*/ 12190413 w 12190413"/>
              <a:gd name="connsiteY4" fmla="*/ 3458269 h 4536676"/>
              <a:gd name="connsiteX5" fmla="*/ 11112006 w 12190413"/>
              <a:gd name="connsiteY5" fmla="*/ 4536676 h 4536676"/>
              <a:gd name="connsiteX6" fmla="*/ 0 w 12190413"/>
              <a:gd name="connsiteY6" fmla="*/ 4536676 h 4536676"/>
              <a:gd name="connsiteX7" fmla="*/ 0 w 12190413"/>
              <a:gd name="connsiteY7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2796530 h 4536676"/>
              <a:gd name="connsiteX3" fmla="*/ 12190413 w 12190413"/>
              <a:gd name="connsiteY3" fmla="*/ 3458269 h 4536676"/>
              <a:gd name="connsiteX4" fmla="*/ 11112006 w 12190413"/>
              <a:gd name="connsiteY4" fmla="*/ 4536676 h 4536676"/>
              <a:gd name="connsiteX5" fmla="*/ 0 w 12190413"/>
              <a:gd name="connsiteY5" fmla="*/ 4536676 h 4536676"/>
              <a:gd name="connsiteX6" fmla="*/ 0 w 12190413"/>
              <a:gd name="connsiteY6" fmla="*/ 0 h 4536676"/>
              <a:gd name="connsiteX0" fmla="*/ 0 w 12190413"/>
              <a:gd name="connsiteY0" fmla="*/ 0 h 4536676"/>
              <a:gd name="connsiteX1" fmla="*/ 12190413 w 12190413"/>
              <a:gd name="connsiteY1" fmla="*/ 0 h 4536676"/>
              <a:gd name="connsiteX2" fmla="*/ 12190413 w 12190413"/>
              <a:gd name="connsiteY2" fmla="*/ 3458269 h 4536676"/>
              <a:gd name="connsiteX3" fmla="*/ 11112006 w 12190413"/>
              <a:gd name="connsiteY3" fmla="*/ 4536676 h 4536676"/>
              <a:gd name="connsiteX4" fmla="*/ 0 w 12190413"/>
              <a:gd name="connsiteY4" fmla="*/ 4536676 h 4536676"/>
              <a:gd name="connsiteX5" fmla="*/ 0 w 12190413"/>
              <a:gd name="connsiteY5" fmla="*/ 0 h 45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0413" h="4536676">
                <a:moveTo>
                  <a:pt x="0" y="0"/>
                </a:moveTo>
                <a:lnTo>
                  <a:pt x="12190413" y="0"/>
                </a:lnTo>
                <a:lnTo>
                  <a:pt x="12190413" y="3458269"/>
                </a:lnTo>
                <a:lnTo>
                  <a:pt x="11112006" y="4536676"/>
                </a:lnTo>
                <a:lnTo>
                  <a:pt x="0" y="453667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979214" y="1860961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979214" y="2401854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17"/>
          </p:nvPr>
        </p:nvSpPr>
        <p:spPr bwMode="gray">
          <a:xfrm>
            <a:off x="979214" y="2942747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9"/>
          <p:cNvSpPr>
            <a:spLocks noGrp="1"/>
          </p:cNvSpPr>
          <p:nvPr>
            <p:ph type="body" sz="quarter" idx="18"/>
          </p:nvPr>
        </p:nvSpPr>
        <p:spPr bwMode="gray">
          <a:xfrm>
            <a:off x="979214" y="3483640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0" name="Textplatzhalter 9"/>
          <p:cNvSpPr>
            <a:spLocks noGrp="1"/>
          </p:cNvSpPr>
          <p:nvPr>
            <p:ph type="body" sz="quarter" idx="19"/>
          </p:nvPr>
        </p:nvSpPr>
        <p:spPr bwMode="gray">
          <a:xfrm>
            <a:off x="979214" y="4024533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2" name="Textplatzhalter 9"/>
          <p:cNvSpPr>
            <a:spLocks noGrp="1"/>
          </p:cNvSpPr>
          <p:nvPr>
            <p:ph type="body" sz="quarter" idx="20"/>
          </p:nvPr>
        </p:nvSpPr>
        <p:spPr bwMode="gray">
          <a:xfrm>
            <a:off x="979214" y="4565426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4" name="Textplatzhalter 9"/>
          <p:cNvSpPr>
            <a:spLocks noGrp="1"/>
          </p:cNvSpPr>
          <p:nvPr>
            <p:ph type="body" sz="quarter" idx="21"/>
          </p:nvPr>
        </p:nvSpPr>
        <p:spPr bwMode="gray">
          <a:xfrm>
            <a:off x="979214" y="5106319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3" name="Textplatzhalter 9"/>
          <p:cNvSpPr>
            <a:spLocks noGrp="1"/>
          </p:cNvSpPr>
          <p:nvPr>
            <p:ph type="body" sz="quarter" idx="22"/>
          </p:nvPr>
        </p:nvSpPr>
        <p:spPr bwMode="gray">
          <a:xfrm>
            <a:off x="979214" y="5647214"/>
            <a:ext cx="4932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9"/>
          <p:cNvSpPr>
            <a:spLocks noGrp="1"/>
          </p:cNvSpPr>
          <p:nvPr>
            <p:ph type="body" sz="quarter" idx="23"/>
          </p:nvPr>
        </p:nvSpPr>
        <p:spPr bwMode="gray">
          <a:xfrm>
            <a:off x="6271419" y="1860961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extplatzhalter 9"/>
          <p:cNvSpPr>
            <a:spLocks noGrp="1"/>
          </p:cNvSpPr>
          <p:nvPr>
            <p:ph type="body" sz="quarter" idx="24"/>
          </p:nvPr>
        </p:nvSpPr>
        <p:spPr bwMode="gray">
          <a:xfrm>
            <a:off x="6271419" y="2401854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9"/>
          <p:cNvSpPr>
            <a:spLocks noGrp="1"/>
          </p:cNvSpPr>
          <p:nvPr>
            <p:ph type="body" sz="quarter" idx="25"/>
          </p:nvPr>
        </p:nvSpPr>
        <p:spPr bwMode="gray">
          <a:xfrm>
            <a:off x="6271419" y="2942747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9"/>
          <p:cNvSpPr>
            <a:spLocks noGrp="1"/>
          </p:cNvSpPr>
          <p:nvPr>
            <p:ph type="body" sz="quarter" idx="26"/>
          </p:nvPr>
        </p:nvSpPr>
        <p:spPr bwMode="gray">
          <a:xfrm>
            <a:off x="6271419" y="3483640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27"/>
          </p:nvPr>
        </p:nvSpPr>
        <p:spPr bwMode="gray">
          <a:xfrm>
            <a:off x="6271419" y="4024533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Textplatzhalter 9"/>
          <p:cNvSpPr>
            <a:spLocks noGrp="1"/>
          </p:cNvSpPr>
          <p:nvPr>
            <p:ph type="body" sz="quarter" idx="28"/>
          </p:nvPr>
        </p:nvSpPr>
        <p:spPr bwMode="gray">
          <a:xfrm>
            <a:off x="6271419" y="4565426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6271419" y="5106319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1" name="Textplatzhalter 9"/>
          <p:cNvSpPr>
            <a:spLocks noGrp="1"/>
          </p:cNvSpPr>
          <p:nvPr>
            <p:ph type="body" sz="quarter" idx="30"/>
          </p:nvPr>
        </p:nvSpPr>
        <p:spPr bwMode="gray">
          <a:xfrm>
            <a:off x="6271419" y="5647214"/>
            <a:ext cx="1800000" cy="43200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2" name="Textplatzhalter 9"/>
          <p:cNvSpPr>
            <a:spLocks noGrp="1"/>
          </p:cNvSpPr>
          <p:nvPr>
            <p:ph type="body" sz="quarter" idx="31"/>
          </p:nvPr>
        </p:nvSpPr>
        <p:spPr bwMode="gray">
          <a:xfrm>
            <a:off x="8431419" y="1860961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4" name="Textplatzhalter 9"/>
          <p:cNvSpPr>
            <a:spLocks noGrp="1"/>
          </p:cNvSpPr>
          <p:nvPr>
            <p:ph type="body" sz="quarter" idx="32"/>
          </p:nvPr>
        </p:nvSpPr>
        <p:spPr bwMode="gray">
          <a:xfrm>
            <a:off x="8431419" y="2401854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platzhalter 9"/>
          <p:cNvSpPr>
            <a:spLocks noGrp="1"/>
          </p:cNvSpPr>
          <p:nvPr>
            <p:ph type="body" sz="quarter" idx="33"/>
          </p:nvPr>
        </p:nvSpPr>
        <p:spPr bwMode="gray">
          <a:xfrm>
            <a:off x="8431419" y="2942747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7" name="Textplatzhalter 9"/>
          <p:cNvSpPr>
            <a:spLocks noGrp="1"/>
          </p:cNvSpPr>
          <p:nvPr>
            <p:ph type="body" sz="quarter" idx="34"/>
          </p:nvPr>
        </p:nvSpPr>
        <p:spPr bwMode="gray">
          <a:xfrm>
            <a:off x="8431419" y="3483640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8" name="Textplatzhalter 9"/>
          <p:cNvSpPr>
            <a:spLocks noGrp="1"/>
          </p:cNvSpPr>
          <p:nvPr>
            <p:ph type="body" sz="quarter" idx="35"/>
          </p:nvPr>
        </p:nvSpPr>
        <p:spPr bwMode="gray">
          <a:xfrm>
            <a:off x="8431419" y="4024533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platzhalter 9"/>
          <p:cNvSpPr>
            <a:spLocks noGrp="1"/>
          </p:cNvSpPr>
          <p:nvPr>
            <p:ph type="body" sz="quarter" idx="36"/>
          </p:nvPr>
        </p:nvSpPr>
        <p:spPr bwMode="gray">
          <a:xfrm>
            <a:off x="8431419" y="4565426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0" name="Textplatzhalter 9"/>
          <p:cNvSpPr>
            <a:spLocks noGrp="1"/>
          </p:cNvSpPr>
          <p:nvPr>
            <p:ph type="body" sz="quarter" idx="37"/>
          </p:nvPr>
        </p:nvSpPr>
        <p:spPr bwMode="gray">
          <a:xfrm>
            <a:off x="8431419" y="5106319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1" name="Textplatzhalter 9"/>
          <p:cNvSpPr>
            <a:spLocks noGrp="1"/>
          </p:cNvSpPr>
          <p:nvPr>
            <p:ph type="body" sz="quarter" idx="38"/>
          </p:nvPr>
        </p:nvSpPr>
        <p:spPr bwMode="gray">
          <a:xfrm>
            <a:off x="8431419" y="5647214"/>
            <a:ext cx="1080000" cy="432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85"/>
          <p:cNvSpPr>
            <a:spLocks noGrp="1"/>
          </p:cNvSpPr>
          <p:nvPr>
            <p:ph type="body" sz="quarter" idx="39"/>
          </p:nvPr>
        </p:nvSpPr>
        <p:spPr bwMode="gray">
          <a:xfrm>
            <a:off x="371475" y="1877628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9588" y="90406"/>
                </a:moveTo>
                <a:cubicBezTo>
                  <a:pt x="175570" y="101624"/>
                  <a:pt x="168161" y="111439"/>
                  <a:pt x="157362" y="119853"/>
                </a:cubicBezTo>
                <a:cubicBezTo>
                  <a:pt x="146562" y="128266"/>
                  <a:pt x="136558" y="133980"/>
                  <a:pt x="127350" y="136993"/>
                </a:cubicBezTo>
                <a:lnTo>
                  <a:pt x="127350" y="169015"/>
                </a:lnTo>
                <a:cubicBezTo>
                  <a:pt x="144846" y="163238"/>
                  <a:pt x="160041" y="154323"/>
                  <a:pt x="172933" y="142268"/>
                </a:cubicBezTo>
                <a:lnTo>
                  <a:pt x="172933" y="275250"/>
                </a:lnTo>
                <a:lnTo>
                  <a:pt x="208219" y="275250"/>
                </a:lnTo>
                <a:lnTo>
                  <a:pt x="208219" y="90406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86"/>
          <p:cNvSpPr>
            <a:spLocks noGrp="1"/>
          </p:cNvSpPr>
          <p:nvPr>
            <p:ph type="body" sz="quarter" idx="40"/>
          </p:nvPr>
        </p:nvSpPr>
        <p:spPr bwMode="gray">
          <a:xfrm>
            <a:off x="371475" y="2418521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8709" y="90406"/>
                </a:moveTo>
                <a:cubicBezTo>
                  <a:pt x="162133" y="90406"/>
                  <a:pt x="148320" y="94633"/>
                  <a:pt x="137270" y="103088"/>
                </a:cubicBezTo>
                <a:cubicBezTo>
                  <a:pt x="126219" y="111544"/>
                  <a:pt x="119648" y="125482"/>
                  <a:pt x="117555" y="144905"/>
                </a:cubicBezTo>
                <a:lnTo>
                  <a:pt x="152715" y="148421"/>
                </a:lnTo>
                <a:cubicBezTo>
                  <a:pt x="153385" y="138124"/>
                  <a:pt x="155897" y="130757"/>
                  <a:pt x="160250" y="126320"/>
                </a:cubicBezTo>
                <a:cubicBezTo>
                  <a:pt x="164603" y="121883"/>
                  <a:pt x="170463" y="119664"/>
                  <a:pt x="177830" y="119664"/>
                </a:cubicBezTo>
                <a:cubicBezTo>
                  <a:pt x="185281" y="119664"/>
                  <a:pt x="191120" y="121778"/>
                  <a:pt x="195348" y="126006"/>
                </a:cubicBezTo>
                <a:cubicBezTo>
                  <a:pt x="199575" y="130233"/>
                  <a:pt x="201689" y="136282"/>
                  <a:pt x="201689" y="144151"/>
                </a:cubicBezTo>
                <a:cubicBezTo>
                  <a:pt x="201689" y="151267"/>
                  <a:pt x="199261" y="158466"/>
                  <a:pt x="194406" y="165750"/>
                </a:cubicBezTo>
                <a:cubicBezTo>
                  <a:pt x="190806" y="171024"/>
                  <a:pt x="181053" y="181070"/>
                  <a:pt x="165147" y="195887"/>
                </a:cubicBezTo>
                <a:cubicBezTo>
                  <a:pt x="145390" y="214221"/>
                  <a:pt x="132163" y="228934"/>
                  <a:pt x="125466" y="240027"/>
                </a:cubicBezTo>
                <a:cubicBezTo>
                  <a:pt x="118769" y="251119"/>
                  <a:pt x="114750" y="262860"/>
                  <a:pt x="113411" y="275250"/>
                </a:cubicBezTo>
                <a:lnTo>
                  <a:pt x="237101" y="275250"/>
                </a:lnTo>
                <a:lnTo>
                  <a:pt x="237101" y="242475"/>
                </a:lnTo>
                <a:lnTo>
                  <a:pt x="167031" y="242475"/>
                </a:lnTo>
                <a:cubicBezTo>
                  <a:pt x="168873" y="239294"/>
                  <a:pt x="171279" y="236029"/>
                  <a:pt x="174251" y="232681"/>
                </a:cubicBezTo>
                <a:cubicBezTo>
                  <a:pt x="177223" y="229332"/>
                  <a:pt x="184276" y="222551"/>
                  <a:pt x="195411" y="212338"/>
                </a:cubicBezTo>
                <a:cubicBezTo>
                  <a:pt x="206545" y="202124"/>
                  <a:pt x="214247" y="194297"/>
                  <a:pt x="218516" y="188855"/>
                </a:cubicBezTo>
                <a:cubicBezTo>
                  <a:pt x="224962" y="180651"/>
                  <a:pt x="229671" y="172803"/>
                  <a:pt x="232643" y="165310"/>
                </a:cubicBezTo>
                <a:cubicBezTo>
                  <a:pt x="235615" y="157818"/>
                  <a:pt x="237101" y="149927"/>
                  <a:pt x="237101" y="141640"/>
                </a:cubicBezTo>
                <a:cubicBezTo>
                  <a:pt x="237101" y="127073"/>
                  <a:pt x="231911" y="114892"/>
                  <a:pt x="221530" y="105098"/>
                </a:cubicBezTo>
                <a:cubicBezTo>
                  <a:pt x="211149" y="95303"/>
                  <a:pt x="196876" y="90406"/>
                  <a:pt x="178709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87"/>
          <p:cNvSpPr>
            <a:spLocks noGrp="1"/>
          </p:cNvSpPr>
          <p:nvPr>
            <p:ph type="body" sz="quarter" idx="41"/>
          </p:nvPr>
        </p:nvSpPr>
        <p:spPr bwMode="gray">
          <a:xfrm>
            <a:off x="371475" y="2959414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072" y="90406"/>
                </a:moveTo>
                <a:cubicBezTo>
                  <a:pt x="165943" y="90406"/>
                  <a:pt x="156797" y="92310"/>
                  <a:pt x="148634" y="96119"/>
                </a:cubicBezTo>
                <a:cubicBezTo>
                  <a:pt x="140472" y="99928"/>
                  <a:pt x="134110" y="105160"/>
                  <a:pt x="129547" y="111816"/>
                </a:cubicBezTo>
                <a:cubicBezTo>
                  <a:pt x="124985" y="118471"/>
                  <a:pt x="121573" y="127366"/>
                  <a:pt x="119313" y="138500"/>
                </a:cubicBezTo>
                <a:lnTo>
                  <a:pt x="151836" y="144026"/>
                </a:lnTo>
                <a:cubicBezTo>
                  <a:pt x="152757" y="135989"/>
                  <a:pt x="155353" y="129878"/>
                  <a:pt x="159622" y="125692"/>
                </a:cubicBezTo>
                <a:cubicBezTo>
                  <a:pt x="163892" y="121506"/>
                  <a:pt x="169040" y="119413"/>
                  <a:pt x="175068" y="119413"/>
                </a:cubicBezTo>
                <a:cubicBezTo>
                  <a:pt x="181179" y="119413"/>
                  <a:pt x="186076" y="121255"/>
                  <a:pt x="189760" y="124938"/>
                </a:cubicBezTo>
                <a:cubicBezTo>
                  <a:pt x="193443" y="128622"/>
                  <a:pt x="195285" y="133561"/>
                  <a:pt x="195285" y="139756"/>
                </a:cubicBezTo>
                <a:cubicBezTo>
                  <a:pt x="195285" y="147039"/>
                  <a:pt x="192773" y="152878"/>
                  <a:pt x="187751" y="157274"/>
                </a:cubicBezTo>
                <a:cubicBezTo>
                  <a:pt x="182728" y="161669"/>
                  <a:pt x="175444" y="163741"/>
                  <a:pt x="165901" y="163489"/>
                </a:cubicBezTo>
                <a:lnTo>
                  <a:pt x="162008" y="192246"/>
                </a:lnTo>
                <a:cubicBezTo>
                  <a:pt x="168287" y="190488"/>
                  <a:pt x="173686" y="189609"/>
                  <a:pt x="178207" y="189609"/>
                </a:cubicBezTo>
                <a:cubicBezTo>
                  <a:pt x="185072" y="189609"/>
                  <a:pt x="190890" y="192204"/>
                  <a:pt x="195662" y="197394"/>
                </a:cubicBezTo>
                <a:cubicBezTo>
                  <a:pt x="200433" y="202585"/>
                  <a:pt x="202819" y="209617"/>
                  <a:pt x="202819" y="218491"/>
                </a:cubicBezTo>
                <a:cubicBezTo>
                  <a:pt x="202819" y="227867"/>
                  <a:pt x="200329" y="235318"/>
                  <a:pt x="195348" y="240843"/>
                </a:cubicBezTo>
                <a:cubicBezTo>
                  <a:pt x="190367" y="246368"/>
                  <a:pt x="184234" y="249131"/>
                  <a:pt x="176951" y="249131"/>
                </a:cubicBezTo>
                <a:cubicBezTo>
                  <a:pt x="170170" y="249131"/>
                  <a:pt x="164394" y="246829"/>
                  <a:pt x="159622" y="242224"/>
                </a:cubicBezTo>
                <a:cubicBezTo>
                  <a:pt x="154850" y="237620"/>
                  <a:pt x="151920" y="230964"/>
                  <a:pt x="150832" y="222258"/>
                </a:cubicBezTo>
                <a:lnTo>
                  <a:pt x="116676" y="226402"/>
                </a:lnTo>
                <a:cubicBezTo>
                  <a:pt x="118434" y="241889"/>
                  <a:pt x="124796" y="254426"/>
                  <a:pt x="135763" y="264011"/>
                </a:cubicBezTo>
                <a:cubicBezTo>
                  <a:pt x="146730" y="273597"/>
                  <a:pt x="160543" y="278389"/>
                  <a:pt x="177202" y="278389"/>
                </a:cubicBezTo>
                <a:cubicBezTo>
                  <a:pt x="194783" y="278389"/>
                  <a:pt x="209475" y="272697"/>
                  <a:pt x="221279" y="261311"/>
                </a:cubicBezTo>
                <a:cubicBezTo>
                  <a:pt x="233083" y="249926"/>
                  <a:pt x="238985" y="236155"/>
                  <a:pt x="238985" y="219998"/>
                </a:cubicBezTo>
                <a:cubicBezTo>
                  <a:pt x="238985" y="208863"/>
                  <a:pt x="235824" y="199362"/>
                  <a:pt x="229504" y="191492"/>
                </a:cubicBezTo>
                <a:cubicBezTo>
                  <a:pt x="223183" y="183623"/>
                  <a:pt x="214749" y="178558"/>
                  <a:pt x="204201" y="176298"/>
                </a:cubicBezTo>
                <a:cubicBezTo>
                  <a:pt x="221865" y="166671"/>
                  <a:pt x="230697" y="153778"/>
                  <a:pt x="230697" y="137621"/>
                </a:cubicBezTo>
                <a:cubicBezTo>
                  <a:pt x="230697" y="126236"/>
                  <a:pt x="226385" y="116023"/>
                  <a:pt x="217763" y="106981"/>
                </a:cubicBezTo>
                <a:cubicBezTo>
                  <a:pt x="207298" y="95931"/>
                  <a:pt x="193401" y="90406"/>
                  <a:pt x="176072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9" name="Textplatzhalter 88"/>
          <p:cNvSpPr>
            <a:spLocks noGrp="1"/>
          </p:cNvSpPr>
          <p:nvPr>
            <p:ph type="body" sz="quarter" idx="42"/>
          </p:nvPr>
        </p:nvSpPr>
        <p:spPr bwMode="gray">
          <a:xfrm>
            <a:off x="371475" y="3500307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123" y="144277"/>
                </a:moveTo>
                <a:lnTo>
                  <a:pt x="187123" y="207189"/>
                </a:lnTo>
                <a:lnTo>
                  <a:pt x="144804" y="207189"/>
                </a:lnTo>
                <a:close/>
                <a:moveTo>
                  <a:pt x="191643" y="90406"/>
                </a:moveTo>
                <a:lnTo>
                  <a:pt x="111778" y="207315"/>
                </a:lnTo>
                <a:lnTo>
                  <a:pt x="111778" y="238206"/>
                </a:lnTo>
                <a:lnTo>
                  <a:pt x="187123" y="238206"/>
                </a:lnTo>
                <a:lnTo>
                  <a:pt x="187123" y="275250"/>
                </a:lnTo>
                <a:lnTo>
                  <a:pt x="221279" y="275250"/>
                </a:lnTo>
                <a:lnTo>
                  <a:pt x="221279" y="238206"/>
                </a:lnTo>
                <a:lnTo>
                  <a:pt x="244133" y="238206"/>
                </a:lnTo>
                <a:lnTo>
                  <a:pt x="244133" y="207189"/>
                </a:lnTo>
                <a:lnTo>
                  <a:pt x="221279" y="207189"/>
                </a:lnTo>
                <a:lnTo>
                  <a:pt x="221279" y="90406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0" name="Textplatzhalter 89"/>
          <p:cNvSpPr>
            <a:spLocks noGrp="1"/>
          </p:cNvSpPr>
          <p:nvPr>
            <p:ph type="body" sz="quarter" idx="43"/>
          </p:nvPr>
        </p:nvSpPr>
        <p:spPr bwMode="gray">
          <a:xfrm>
            <a:off x="371475" y="4041200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40786" y="93670"/>
                </a:moveTo>
                <a:lnTo>
                  <a:pt x="122703" y="189483"/>
                </a:lnTo>
                <a:lnTo>
                  <a:pt x="151334" y="193627"/>
                </a:lnTo>
                <a:cubicBezTo>
                  <a:pt x="159371" y="184670"/>
                  <a:pt x="168454" y="180191"/>
                  <a:pt x="178584" y="180191"/>
                </a:cubicBezTo>
                <a:cubicBezTo>
                  <a:pt x="186704" y="180191"/>
                  <a:pt x="193297" y="183016"/>
                  <a:pt x="198362" y="188667"/>
                </a:cubicBezTo>
                <a:cubicBezTo>
                  <a:pt x="203426" y="194318"/>
                  <a:pt x="205959" y="202794"/>
                  <a:pt x="205959" y="214096"/>
                </a:cubicBezTo>
                <a:cubicBezTo>
                  <a:pt x="205959" y="226151"/>
                  <a:pt x="203405" y="235171"/>
                  <a:pt x="198299" y="241157"/>
                </a:cubicBezTo>
                <a:cubicBezTo>
                  <a:pt x="193192" y="247142"/>
                  <a:pt x="186955" y="250135"/>
                  <a:pt x="179588" y="250135"/>
                </a:cubicBezTo>
                <a:cubicBezTo>
                  <a:pt x="173142" y="250135"/>
                  <a:pt x="167449" y="247812"/>
                  <a:pt x="162510" y="243166"/>
                </a:cubicBezTo>
                <a:cubicBezTo>
                  <a:pt x="157571" y="238520"/>
                  <a:pt x="154599" y="232220"/>
                  <a:pt x="153594" y="224267"/>
                </a:cubicBezTo>
                <a:lnTo>
                  <a:pt x="118434" y="227909"/>
                </a:lnTo>
                <a:cubicBezTo>
                  <a:pt x="120527" y="243312"/>
                  <a:pt x="126931" y="255577"/>
                  <a:pt x="137647" y="264702"/>
                </a:cubicBezTo>
                <a:cubicBezTo>
                  <a:pt x="148362" y="273827"/>
                  <a:pt x="162217" y="278389"/>
                  <a:pt x="179212" y="278389"/>
                </a:cubicBezTo>
                <a:cubicBezTo>
                  <a:pt x="200475" y="278389"/>
                  <a:pt x="217093" y="270269"/>
                  <a:pt x="229064" y="254028"/>
                </a:cubicBezTo>
                <a:cubicBezTo>
                  <a:pt x="237854" y="242140"/>
                  <a:pt x="242250" y="228620"/>
                  <a:pt x="242250" y="213468"/>
                </a:cubicBezTo>
                <a:cubicBezTo>
                  <a:pt x="242250" y="195301"/>
                  <a:pt x="236808" y="180526"/>
                  <a:pt x="225925" y="169140"/>
                </a:cubicBezTo>
                <a:cubicBezTo>
                  <a:pt x="215042" y="157755"/>
                  <a:pt x="201773" y="152062"/>
                  <a:pt x="186118" y="152062"/>
                </a:cubicBezTo>
                <a:cubicBezTo>
                  <a:pt x="177914" y="152062"/>
                  <a:pt x="169877" y="154030"/>
                  <a:pt x="162008" y="157964"/>
                </a:cubicBezTo>
                <a:lnTo>
                  <a:pt x="167533" y="126696"/>
                </a:lnTo>
                <a:lnTo>
                  <a:pt x="234087" y="126696"/>
                </a:lnTo>
                <a:lnTo>
                  <a:pt x="234087" y="93670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1" name="Textplatzhalter 90"/>
          <p:cNvSpPr>
            <a:spLocks noGrp="1"/>
          </p:cNvSpPr>
          <p:nvPr>
            <p:ph type="body" sz="quarter" idx="44"/>
          </p:nvPr>
        </p:nvSpPr>
        <p:spPr bwMode="gray">
          <a:xfrm>
            <a:off x="371475" y="4582093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1723" y="181698"/>
                </a:moveTo>
                <a:cubicBezTo>
                  <a:pt x="188755" y="181698"/>
                  <a:pt x="194615" y="184481"/>
                  <a:pt x="199303" y="190048"/>
                </a:cubicBezTo>
                <a:cubicBezTo>
                  <a:pt x="203991" y="195615"/>
                  <a:pt x="206335" y="204385"/>
                  <a:pt x="206335" y="216356"/>
                </a:cubicBezTo>
                <a:cubicBezTo>
                  <a:pt x="206335" y="227992"/>
                  <a:pt x="204159" y="236364"/>
                  <a:pt x="199806" y="241471"/>
                </a:cubicBezTo>
                <a:cubicBezTo>
                  <a:pt x="195452" y="246577"/>
                  <a:pt x="190011" y="249131"/>
                  <a:pt x="183481" y="249131"/>
                </a:cubicBezTo>
                <a:cubicBezTo>
                  <a:pt x="176700" y="249131"/>
                  <a:pt x="170673" y="246012"/>
                  <a:pt x="165398" y="239775"/>
                </a:cubicBezTo>
                <a:cubicBezTo>
                  <a:pt x="160124" y="233539"/>
                  <a:pt x="157487" y="224686"/>
                  <a:pt x="157487" y="213217"/>
                </a:cubicBezTo>
                <a:cubicBezTo>
                  <a:pt x="157487" y="202836"/>
                  <a:pt x="159831" y="194987"/>
                  <a:pt x="164519" y="189672"/>
                </a:cubicBezTo>
                <a:cubicBezTo>
                  <a:pt x="169207" y="184356"/>
                  <a:pt x="174942" y="181698"/>
                  <a:pt x="181723" y="181698"/>
                </a:cubicBezTo>
                <a:close/>
                <a:moveTo>
                  <a:pt x="185239" y="90405"/>
                </a:moveTo>
                <a:cubicBezTo>
                  <a:pt x="165315" y="90405"/>
                  <a:pt x="149116" y="97856"/>
                  <a:pt x="136642" y="112758"/>
                </a:cubicBezTo>
                <a:cubicBezTo>
                  <a:pt x="124168" y="127659"/>
                  <a:pt x="117932" y="151978"/>
                  <a:pt x="117932" y="185716"/>
                </a:cubicBezTo>
                <a:cubicBezTo>
                  <a:pt x="117932" y="218616"/>
                  <a:pt x="123917" y="242287"/>
                  <a:pt x="135889" y="256728"/>
                </a:cubicBezTo>
                <a:cubicBezTo>
                  <a:pt x="147860" y="271169"/>
                  <a:pt x="163138" y="278389"/>
                  <a:pt x="181723" y="278389"/>
                </a:cubicBezTo>
                <a:cubicBezTo>
                  <a:pt x="199052" y="278389"/>
                  <a:pt x="213242" y="272697"/>
                  <a:pt x="224292" y="261311"/>
                </a:cubicBezTo>
                <a:cubicBezTo>
                  <a:pt x="235343" y="249926"/>
                  <a:pt x="240868" y="234815"/>
                  <a:pt x="240868" y="215979"/>
                </a:cubicBezTo>
                <a:cubicBezTo>
                  <a:pt x="240868" y="198231"/>
                  <a:pt x="235615" y="183749"/>
                  <a:pt x="225109" y="172531"/>
                </a:cubicBezTo>
                <a:cubicBezTo>
                  <a:pt x="214602" y="161313"/>
                  <a:pt x="201982" y="155704"/>
                  <a:pt x="187248" y="155704"/>
                </a:cubicBezTo>
                <a:cubicBezTo>
                  <a:pt x="174189" y="155704"/>
                  <a:pt x="163264" y="160894"/>
                  <a:pt x="154474" y="171275"/>
                </a:cubicBezTo>
                <a:cubicBezTo>
                  <a:pt x="155813" y="150095"/>
                  <a:pt x="159057" y="136156"/>
                  <a:pt x="164205" y="129459"/>
                </a:cubicBezTo>
                <a:cubicBezTo>
                  <a:pt x="169354" y="122762"/>
                  <a:pt x="175654" y="119413"/>
                  <a:pt x="183104" y="119413"/>
                </a:cubicBezTo>
                <a:cubicBezTo>
                  <a:pt x="188713" y="119413"/>
                  <a:pt x="193276" y="121087"/>
                  <a:pt x="196792" y="124436"/>
                </a:cubicBezTo>
                <a:cubicBezTo>
                  <a:pt x="200308" y="127785"/>
                  <a:pt x="202485" y="132975"/>
                  <a:pt x="203322" y="140007"/>
                </a:cubicBezTo>
                <a:lnTo>
                  <a:pt x="237478" y="136240"/>
                </a:lnTo>
                <a:cubicBezTo>
                  <a:pt x="234966" y="121338"/>
                  <a:pt x="229127" y="109974"/>
                  <a:pt x="219960" y="102147"/>
                </a:cubicBezTo>
                <a:cubicBezTo>
                  <a:pt x="210793" y="94319"/>
                  <a:pt x="199220" y="90405"/>
                  <a:pt x="185239" y="90405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45"/>
          </p:nvPr>
        </p:nvSpPr>
        <p:spPr bwMode="gray">
          <a:xfrm>
            <a:off x="371475" y="5122986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17932" y="93670"/>
                </a:moveTo>
                <a:lnTo>
                  <a:pt x="117932" y="126445"/>
                </a:lnTo>
                <a:lnTo>
                  <a:pt x="198173" y="126445"/>
                </a:lnTo>
                <a:cubicBezTo>
                  <a:pt x="181597" y="147290"/>
                  <a:pt x="168349" y="170940"/>
                  <a:pt x="158429" y="197394"/>
                </a:cubicBezTo>
                <a:cubicBezTo>
                  <a:pt x="148509" y="223849"/>
                  <a:pt x="143256" y="249800"/>
                  <a:pt x="142670" y="275250"/>
                </a:cubicBezTo>
                <a:lnTo>
                  <a:pt x="176700" y="275250"/>
                </a:lnTo>
                <a:cubicBezTo>
                  <a:pt x="176616" y="259009"/>
                  <a:pt x="179274" y="240571"/>
                  <a:pt x="184674" y="219935"/>
                </a:cubicBezTo>
                <a:cubicBezTo>
                  <a:pt x="190074" y="199299"/>
                  <a:pt x="197922" y="179814"/>
                  <a:pt x="208219" y="161480"/>
                </a:cubicBezTo>
                <a:cubicBezTo>
                  <a:pt x="218516" y="143146"/>
                  <a:pt x="228646" y="129082"/>
                  <a:pt x="238608" y="119287"/>
                </a:cubicBezTo>
                <a:lnTo>
                  <a:pt x="238608" y="93670"/>
                </a:ln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3" name="Textplatzhalter 92"/>
          <p:cNvSpPr>
            <a:spLocks noGrp="1"/>
          </p:cNvSpPr>
          <p:nvPr>
            <p:ph type="body" sz="quarter" idx="46"/>
          </p:nvPr>
        </p:nvSpPr>
        <p:spPr bwMode="gray">
          <a:xfrm>
            <a:off x="371475" y="5663881"/>
            <a:ext cx="396000" cy="39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7830" y="190990"/>
                </a:moveTo>
                <a:cubicBezTo>
                  <a:pt x="185281" y="190990"/>
                  <a:pt x="191434" y="193606"/>
                  <a:pt x="196290" y="198838"/>
                </a:cubicBezTo>
                <a:cubicBezTo>
                  <a:pt x="201145" y="204071"/>
                  <a:pt x="203573" y="210998"/>
                  <a:pt x="203573" y="219621"/>
                </a:cubicBezTo>
                <a:cubicBezTo>
                  <a:pt x="203573" y="229499"/>
                  <a:pt x="201187" y="237055"/>
                  <a:pt x="196415" y="242287"/>
                </a:cubicBezTo>
                <a:cubicBezTo>
                  <a:pt x="191643" y="247519"/>
                  <a:pt x="185616" y="250135"/>
                  <a:pt x="178333" y="250135"/>
                </a:cubicBezTo>
                <a:cubicBezTo>
                  <a:pt x="170882" y="250135"/>
                  <a:pt x="164666" y="247415"/>
                  <a:pt x="159685" y="241973"/>
                </a:cubicBezTo>
                <a:cubicBezTo>
                  <a:pt x="154704" y="236531"/>
                  <a:pt x="152213" y="228955"/>
                  <a:pt x="152213" y="219244"/>
                </a:cubicBezTo>
                <a:cubicBezTo>
                  <a:pt x="152213" y="212296"/>
                  <a:pt x="154327" y="205850"/>
                  <a:pt x="158555" y="199906"/>
                </a:cubicBezTo>
                <a:cubicBezTo>
                  <a:pt x="162782" y="193962"/>
                  <a:pt x="169207" y="190990"/>
                  <a:pt x="177830" y="190990"/>
                </a:cubicBezTo>
                <a:close/>
                <a:moveTo>
                  <a:pt x="177705" y="118408"/>
                </a:moveTo>
                <a:cubicBezTo>
                  <a:pt x="184234" y="118408"/>
                  <a:pt x="189488" y="120397"/>
                  <a:pt x="193464" y="124373"/>
                </a:cubicBezTo>
                <a:cubicBezTo>
                  <a:pt x="197441" y="128350"/>
                  <a:pt x="199429" y="133645"/>
                  <a:pt x="199429" y="140258"/>
                </a:cubicBezTo>
                <a:cubicBezTo>
                  <a:pt x="199429" y="147290"/>
                  <a:pt x="197420" y="152795"/>
                  <a:pt x="193401" y="156771"/>
                </a:cubicBezTo>
                <a:cubicBezTo>
                  <a:pt x="189383" y="160748"/>
                  <a:pt x="184025" y="162736"/>
                  <a:pt x="177328" y="162736"/>
                </a:cubicBezTo>
                <a:cubicBezTo>
                  <a:pt x="170714" y="162736"/>
                  <a:pt x="165419" y="160769"/>
                  <a:pt x="161443" y="156834"/>
                </a:cubicBezTo>
                <a:cubicBezTo>
                  <a:pt x="157466" y="152899"/>
                  <a:pt x="155478" y="147416"/>
                  <a:pt x="155478" y="140384"/>
                </a:cubicBezTo>
                <a:cubicBezTo>
                  <a:pt x="155478" y="133770"/>
                  <a:pt x="157487" y="128454"/>
                  <a:pt x="161506" y="124436"/>
                </a:cubicBezTo>
                <a:cubicBezTo>
                  <a:pt x="165524" y="120418"/>
                  <a:pt x="170924" y="118408"/>
                  <a:pt x="177705" y="118408"/>
                </a:cubicBezTo>
                <a:close/>
                <a:moveTo>
                  <a:pt x="177328" y="90406"/>
                </a:moveTo>
                <a:cubicBezTo>
                  <a:pt x="159664" y="90406"/>
                  <a:pt x="146039" y="94884"/>
                  <a:pt x="136454" y="103842"/>
                </a:cubicBezTo>
                <a:cubicBezTo>
                  <a:pt x="126868" y="112799"/>
                  <a:pt x="122075" y="124143"/>
                  <a:pt x="122075" y="137872"/>
                </a:cubicBezTo>
                <a:cubicBezTo>
                  <a:pt x="122075" y="145909"/>
                  <a:pt x="124147" y="153297"/>
                  <a:pt x="128291" y="160036"/>
                </a:cubicBezTo>
                <a:cubicBezTo>
                  <a:pt x="132435" y="166775"/>
                  <a:pt x="139070" y="172070"/>
                  <a:pt x="148195" y="175921"/>
                </a:cubicBezTo>
                <a:cubicBezTo>
                  <a:pt x="137563" y="180442"/>
                  <a:pt x="129777" y="186867"/>
                  <a:pt x="124838" y="195197"/>
                </a:cubicBezTo>
                <a:cubicBezTo>
                  <a:pt x="119899" y="203527"/>
                  <a:pt x="117429" y="212672"/>
                  <a:pt x="117429" y="222635"/>
                </a:cubicBezTo>
                <a:cubicBezTo>
                  <a:pt x="117429" y="240717"/>
                  <a:pt x="124001" y="254949"/>
                  <a:pt x="137144" y="265330"/>
                </a:cubicBezTo>
                <a:cubicBezTo>
                  <a:pt x="148279" y="274120"/>
                  <a:pt x="162217" y="278515"/>
                  <a:pt x="178960" y="278515"/>
                </a:cubicBezTo>
                <a:cubicBezTo>
                  <a:pt x="196959" y="278515"/>
                  <a:pt x="211379" y="273199"/>
                  <a:pt x="222221" y="262567"/>
                </a:cubicBezTo>
                <a:cubicBezTo>
                  <a:pt x="233062" y="251935"/>
                  <a:pt x="238482" y="238122"/>
                  <a:pt x="238482" y="221128"/>
                </a:cubicBezTo>
                <a:cubicBezTo>
                  <a:pt x="238482" y="210831"/>
                  <a:pt x="235824" y="201748"/>
                  <a:pt x="230508" y="193878"/>
                </a:cubicBezTo>
                <a:cubicBezTo>
                  <a:pt x="225192" y="186009"/>
                  <a:pt x="217428" y="180023"/>
                  <a:pt x="207214" y="175921"/>
                </a:cubicBezTo>
                <a:cubicBezTo>
                  <a:pt x="215251" y="172405"/>
                  <a:pt x="221488" y="167319"/>
                  <a:pt x="225925" y="160664"/>
                </a:cubicBezTo>
                <a:cubicBezTo>
                  <a:pt x="230362" y="154009"/>
                  <a:pt x="232580" y="146411"/>
                  <a:pt x="232580" y="137872"/>
                </a:cubicBezTo>
                <a:cubicBezTo>
                  <a:pt x="232580" y="124143"/>
                  <a:pt x="227746" y="112799"/>
                  <a:pt x="218077" y="103842"/>
                </a:cubicBezTo>
                <a:cubicBezTo>
                  <a:pt x="208407" y="94884"/>
                  <a:pt x="194825" y="90406"/>
                  <a:pt x="177328" y="90406"/>
                </a:cubicBezTo>
                <a:close/>
                <a:moveTo>
                  <a:pt x="0" y="0"/>
                </a:moveTo>
                <a:lnTo>
                  <a:pt x="360000" y="0"/>
                </a:lnTo>
                <a:lnTo>
                  <a:pt x="360000" y="265216"/>
                </a:lnTo>
                <a:lnTo>
                  <a:pt x="265216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500">
                <a:noFill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609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DCD4449-3DAA-4AB7-B1AD-1D1D441FCC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E334EF6-67F9-4AE0-9DA2-21C0A6087C9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F13732-8BAD-46FA-9D2D-2BAA27E4A290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764355E-3C76-439D-B2F8-F849DC4B72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DB5A02A-5E04-A24B-AD76-21252AD3C1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96951" y="6598676"/>
            <a:ext cx="7200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accent4"/>
                </a:solidFill>
              </a:defRPr>
            </a:lvl1pPr>
            <a:lvl2pPr marL="0" indent="0" algn="ctr">
              <a:defRPr sz="800">
                <a:solidFill>
                  <a:schemeClr val="tx1"/>
                </a:solidFill>
              </a:defRPr>
            </a:lvl2pPr>
            <a:lvl3pPr marL="0" indent="0" algn="ctr">
              <a:defRPr sz="800">
                <a:solidFill>
                  <a:schemeClr val="tx1"/>
                </a:solidFill>
              </a:defRPr>
            </a:lvl3pPr>
            <a:lvl4pPr marL="0" indent="0" algn="ctr">
              <a:defRPr sz="800">
                <a:solidFill>
                  <a:schemeClr val="tx1"/>
                </a:solidFill>
              </a:defRPr>
            </a:lvl4pPr>
            <a:lvl5pPr marL="0" indent="0" algn="ctr">
              <a:defRPr sz="800">
                <a:solidFill>
                  <a:schemeClr val="tx1"/>
                </a:solidFill>
              </a:defRPr>
            </a:lvl5pPr>
            <a:lvl6pPr marL="0" indent="0" algn="ctr">
              <a:defRPr sz="800">
                <a:solidFill>
                  <a:schemeClr val="tx1"/>
                </a:solidFill>
              </a:defRPr>
            </a:lvl6pPr>
            <a:lvl7pPr marL="0" indent="0" algn="ctr">
              <a:defRPr sz="800">
                <a:solidFill>
                  <a:schemeClr val="tx1"/>
                </a:solidFill>
              </a:defRPr>
            </a:lvl7pPr>
            <a:lvl8pPr marL="0" indent="0" algn="ctr">
              <a:defRPr sz="800">
                <a:solidFill>
                  <a:schemeClr val="tx1"/>
                </a:solidFill>
              </a:defRPr>
            </a:lvl8pPr>
            <a:lvl9pPr marL="0" indent="0" algn="ctr">
              <a:defRPr sz="800">
                <a:solidFill>
                  <a:schemeClr val="tx1"/>
                </a:solidFill>
              </a:defRPr>
            </a:lvl9pPr>
          </a:lstStyle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65FC5E7C-97BA-49CB-8B7D-DE9341D1D39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7142" y="1652589"/>
            <a:ext cx="11468194" cy="4581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953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881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11455676" cy="45822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A7807B3-A5E6-4024-B8ED-B81E6B6CA2A7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7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 (links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842FCCA-DC02-429B-8258-D71E39B2D6A2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Textplatzhalter 7 (rechts)"/>
          <p:cNvSpPr>
            <a:spLocks noGrp="1"/>
          </p:cNvSpPr>
          <p:nvPr>
            <p:ph type="body" sz="quarter" idx="14"/>
          </p:nvPr>
        </p:nvSpPr>
        <p:spPr bwMode="gray">
          <a:xfrm>
            <a:off x="6260373" y="1652274"/>
            <a:ext cx="5552419" cy="45822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58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A0107FF-A825-4394-B9EB-64FF8228D7E6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5562742" cy="6937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5"/>
          </p:nvPr>
        </p:nvSpPr>
        <p:spPr bwMode="gray">
          <a:xfrm>
            <a:off x="6273801" y="808039"/>
            <a:ext cx="5918198" cy="5429249"/>
          </a:xfrm>
          <a:custGeom>
            <a:avLst/>
            <a:gdLst/>
            <a:ahLst/>
            <a:cxnLst/>
            <a:rect l="l" t="t" r="r" b="b"/>
            <a:pathLst>
              <a:path w="5918198" h="5429249">
                <a:moveTo>
                  <a:pt x="1080000" y="0"/>
                </a:moveTo>
                <a:lnTo>
                  <a:pt x="5918197" y="0"/>
                </a:lnTo>
                <a:lnTo>
                  <a:pt x="5918198" y="4349249"/>
                </a:lnTo>
                <a:lnTo>
                  <a:pt x="4840467" y="5426980"/>
                </a:lnTo>
                <a:lnTo>
                  <a:pt x="0" y="5429249"/>
                </a:lnTo>
                <a:lnTo>
                  <a:pt x="0" y="1080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492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8 (oben)"/>
          <p:cNvSpPr>
            <a:spLocks noGrp="1"/>
          </p:cNvSpPr>
          <p:nvPr>
            <p:ph type="pic" sz="quarter" idx="14"/>
          </p:nvPr>
        </p:nvSpPr>
        <p:spPr bwMode="gray">
          <a:xfrm>
            <a:off x="6273800" y="808039"/>
            <a:ext cx="5918197" cy="2696623"/>
          </a:xfrm>
          <a:custGeom>
            <a:avLst/>
            <a:gdLst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0 w 5918198"/>
              <a:gd name="connsiteY7" fmla="*/ 2339972 h 2696623"/>
              <a:gd name="connsiteX8" fmla="*/ 1 w 5918198"/>
              <a:gd name="connsiteY8" fmla="*/ 2339972 h 2696623"/>
              <a:gd name="connsiteX9" fmla="*/ 1 w 5918198"/>
              <a:gd name="connsiteY9" fmla="*/ 1079999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0 w 5918198"/>
              <a:gd name="connsiteY7" fmla="*/ 2339972 h 2696623"/>
              <a:gd name="connsiteX8" fmla="*/ 1 w 5918198"/>
              <a:gd name="connsiteY8" fmla="*/ 1079999 h 2696623"/>
              <a:gd name="connsiteX9" fmla="*/ 1080000 w 5918198"/>
              <a:gd name="connsiteY9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0 w 5918198"/>
              <a:gd name="connsiteY6" fmla="*/ 2660625 h 2696623"/>
              <a:gd name="connsiteX7" fmla="*/ 1 w 5918198"/>
              <a:gd name="connsiteY7" fmla="*/ 1079999 h 2696623"/>
              <a:gd name="connsiteX8" fmla="*/ 1080000 w 5918198"/>
              <a:gd name="connsiteY8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60625 h 2696623"/>
              <a:gd name="connsiteX4" fmla="*/ 5916612 w 5918198"/>
              <a:gd name="connsiteY4" fmla="*/ 2696623 h 2696623"/>
              <a:gd name="connsiteX5" fmla="*/ 0 w 5918198"/>
              <a:gd name="connsiteY5" fmla="*/ 2696623 h 2696623"/>
              <a:gd name="connsiteX6" fmla="*/ 1 w 5918198"/>
              <a:gd name="connsiteY6" fmla="*/ 1079999 h 2696623"/>
              <a:gd name="connsiteX7" fmla="*/ 1080000 w 5918198"/>
              <a:gd name="connsiteY7" fmla="*/ 0 h 2696623"/>
              <a:gd name="connsiteX0" fmla="*/ 1080000 w 5918198"/>
              <a:gd name="connsiteY0" fmla="*/ 0 h 2696623"/>
              <a:gd name="connsiteX1" fmla="*/ 5918197 w 5918198"/>
              <a:gd name="connsiteY1" fmla="*/ 0 h 2696623"/>
              <a:gd name="connsiteX2" fmla="*/ 5918198 w 5918198"/>
              <a:gd name="connsiteY2" fmla="*/ 2660625 h 2696623"/>
              <a:gd name="connsiteX3" fmla="*/ 5916612 w 5918198"/>
              <a:gd name="connsiteY3" fmla="*/ 2696623 h 2696623"/>
              <a:gd name="connsiteX4" fmla="*/ 0 w 5918198"/>
              <a:gd name="connsiteY4" fmla="*/ 2696623 h 2696623"/>
              <a:gd name="connsiteX5" fmla="*/ 1 w 5918198"/>
              <a:gd name="connsiteY5" fmla="*/ 1079999 h 2696623"/>
              <a:gd name="connsiteX6" fmla="*/ 1080000 w 5918198"/>
              <a:gd name="connsiteY6" fmla="*/ 0 h 2696623"/>
              <a:gd name="connsiteX0" fmla="*/ 1080000 w 6591212"/>
              <a:gd name="connsiteY0" fmla="*/ 0 h 2696623"/>
              <a:gd name="connsiteX1" fmla="*/ 5918197 w 6591212"/>
              <a:gd name="connsiteY1" fmla="*/ 0 h 2696623"/>
              <a:gd name="connsiteX2" fmla="*/ 5916612 w 6591212"/>
              <a:gd name="connsiteY2" fmla="*/ 2696623 h 2696623"/>
              <a:gd name="connsiteX3" fmla="*/ 0 w 6591212"/>
              <a:gd name="connsiteY3" fmla="*/ 2696623 h 2696623"/>
              <a:gd name="connsiteX4" fmla="*/ 1 w 6591212"/>
              <a:gd name="connsiteY4" fmla="*/ 1079999 h 2696623"/>
              <a:gd name="connsiteX5" fmla="*/ 1080000 w 6591212"/>
              <a:gd name="connsiteY5" fmla="*/ 0 h 2696623"/>
              <a:gd name="connsiteX0" fmla="*/ 1080000 w 6355231"/>
              <a:gd name="connsiteY0" fmla="*/ 0 h 2696623"/>
              <a:gd name="connsiteX1" fmla="*/ 5918197 w 6355231"/>
              <a:gd name="connsiteY1" fmla="*/ 0 h 2696623"/>
              <a:gd name="connsiteX2" fmla="*/ 5916612 w 6355231"/>
              <a:gd name="connsiteY2" fmla="*/ 2696623 h 2696623"/>
              <a:gd name="connsiteX3" fmla="*/ 0 w 6355231"/>
              <a:gd name="connsiteY3" fmla="*/ 2696623 h 2696623"/>
              <a:gd name="connsiteX4" fmla="*/ 1 w 6355231"/>
              <a:gd name="connsiteY4" fmla="*/ 1079999 h 2696623"/>
              <a:gd name="connsiteX5" fmla="*/ 1080000 w 6355231"/>
              <a:gd name="connsiteY5" fmla="*/ 0 h 2696623"/>
              <a:gd name="connsiteX0" fmla="*/ 1080000 w 5918197"/>
              <a:gd name="connsiteY0" fmla="*/ 0 h 2696623"/>
              <a:gd name="connsiteX1" fmla="*/ 5918197 w 5918197"/>
              <a:gd name="connsiteY1" fmla="*/ 0 h 2696623"/>
              <a:gd name="connsiteX2" fmla="*/ 5916612 w 5918197"/>
              <a:gd name="connsiteY2" fmla="*/ 2696623 h 2696623"/>
              <a:gd name="connsiteX3" fmla="*/ 0 w 5918197"/>
              <a:gd name="connsiteY3" fmla="*/ 2696623 h 2696623"/>
              <a:gd name="connsiteX4" fmla="*/ 1 w 5918197"/>
              <a:gd name="connsiteY4" fmla="*/ 1079999 h 2696623"/>
              <a:gd name="connsiteX5" fmla="*/ 1080000 w 5918197"/>
              <a:gd name="connsiteY5" fmla="*/ 0 h 269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8197" h="2696623">
                <a:moveTo>
                  <a:pt x="1080000" y="0"/>
                </a:moveTo>
                <a:lnTo>
                  <a:pt x="5918197" y="0"/>
                </a:lnTo>
                <a:cubicBezTo>
                  <a:pt x="5917404" y="1348311"/>
                  <a:pt x="5917404" y="1348311"/>
                  <a:pt x="5916612" y="2696623"/>
                </a:cubicBezTo>
                <a:lnTo>
                  <a:pt x="0" y="2696623"/>
                </a:lnTo>
                <a:cubicBezTo>
                  <a:pt x="0" y="2157748"/>
                  <a:pt x="1" y="1618874"/>
                  <a:pt x="1" y="1079999"/>
                </a:cubicBezTo>
                <a:lnTo>
                  <a:pt x="108000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8 (unten)"/>
          <p:cNvSpPr>
            <a:spLocks noGrp="1"/>
          </p:cNvSpPr>
          <p:nvPr>
            <p:ph type="pic" sz="quarter" idx="15"/>
          </p:nvPr>
        </p:nvSpPr>
        <p:spPr bwMode="gray">
          <a:xfrm>
            <a:off x="6273801" y="3540664"/>
            <a:ext cx="5918198" cy="2696623"/>
          </a:xfrm>
          <a:custGeom>
            <a:avLst/>
            <a:gdLst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493174 h 2696623"/>
              <a:gd name="connsiteX8" fmla="*/ 0 w 5918198"/>
              <a:gd name="connsiteY8" fmla="*/ 35999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35999 h 2696623"/>
              <a:gd name="connsiteX8" fmla="*/ 0 w 5918198"/>
              <a:gd name="connsiteY8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35999 h 2696623"/>
              <a:gd name="connsiteX4" fmla="*/ 5918198 w 5918198"/>
              <a:gd name="connsiteY4" fmla="*/ 1616624 h 2696623"/>
              <a:gd name="connsiteX5" fmla="*/ 4840467 w 5918198"/>
              <a:gd name="connsiteY5" fmla="*/ 2694355 h 2696623"/>
              <a:gd name="connsiteX6" fmla="*/ 0 w 5918198"/>
              <a:gd name="connsiteY6" fmla="*/ 2696623 h 2696623"/>
              <a:gd name="connsiteX7" fmla="*/ 0 w 5918198"/>
              <a:gd name="connsiteY7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6612 w 5918198"/>
              <a:gd name="connsiteY2" fmla="*/ 35999 h 2696623"/>
              <a:gd name="connsiteX3" fmla="*/ 5918198 w 5918198"/>
              <a:gd name="connsiteY3" fmla="*/ 1616624 h 2696623"/>
              <a:gd name="connsiteX4" fmla="*/ 4840467 w 5918198"/>
              <a:gd name="connsiteY4" fmla="*/ 2694355 h 2696623"/>
              <a:gd name="connsiteX5" fmla="*/ 0 w 5918198"/>
              <a:gd name="connsiteY5" fmla="*/ 2696623 h 2696623"/>
              <a:gd name="connsiteX6" fmla="*/ 0 w 5918198"/>
              <a:gd name="connsiteY6" fmla="*/ 0 h 2696623"/>
              <a:gd name="connsiteX0" fmla="*/ 0 w 5918198"/>
              <a:gd name="connsiteY0" fmla="*/ 0 h 2696623"/>
              <a:gd name="connsiteX1" fmla="*/ 5916612 w 5918198"/>
              <a:gd name="connsiteY1" fmla="*/ 0 h 2696623"/>
              <a:gd name="connsiteX2" fmla="*/ 5918198 w 5918198"/>
              <a:gd name="connsiteY2" fmla="*/ 1616624 h 2696623"/>
              <a:gd name="connsiteX3" fmla="*/ 4840467 w 5918198"/>
              <a:gd name="connsiteY3" fmla="*/ 2694355 h 2696623"/>
              <a:gd name="connsiteX4" fmla="*/ 0 w 5918198"/>
              <a:gd name="connsiteY4" fmla="*/ 2696623 h 2696623"/>
              <a:gd name="connsiteX5" fmla="*/ 0 w 5918198"/>
              <a:gd name="connsiteY5" fmla="*/ 0 h 269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8198" h="2696623">
                <a:moveTo>
                  <a:pt x="0" y="0"/>
                </a:moveTo>
                <a:lnTo>
                  <a:pt x="5916612" y="0"/>
                </a:lnTo>
                <a:cubicBezTo>
                  <a:pt x="5917141" y="538875"/>
                  <a:pt x="5917669" y="1077749"/>
                  <a:pt x="5918198" y="1616624"/>
                </a:cubicBezTo>
                <a:lnTo>
                  <a:pt x="4840467" y="2694355"/>
                </a:lnTo>
                <a:lnTo>
                  <a:pt x="0" y="2696623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1652274"/>
            <a:ext cx="5552419" cy="458223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ECBF12-9938-402D-8062-5CB09FC8FD9C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5562742" cy="6937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46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&amp;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46793" y="3641587"/>
            <a:ext cx="11469600" cy="6937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AF7FD1-82A3-4604-9DE2-4623B150B110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808026"/>
            <a:ext cx="12191999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7 (links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4562804"/>
            <a:ext cx="5552419" cy="167170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 (rechts)"/>
          <p:cNvSpPr>
            <a:spLocks noGrp="1"/>
          </p:cNvSpPr>
          <p:nvPr>
            <p:ph type="body" sz="quarter" idx="15"/>
          </p:nvPr>
        </p:nvSpPr>
        <p:spPr bwMode="gray">
          <a:xfrm>
            <a:off x="6260373" y="4562804"/>
            <a:ext cx="5552419" cy="16717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311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2) &amp;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46793" y="3641587"/>
            <a:ext cx="11469600" cy="6937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051AC89-23A5-4B0D-9AF6-D5921BFE5B25}" type="datetime1">
              <a:rPr lang="de-DE" smtClean="0"/>
              <a:t>11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nfidentia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A4142D-4092-458E-BB22-308CC6995BD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Bildplatzhalter 8 (links)"/>
          <p:cNvSpPr>
            <a:spLocks noGrp="1"/>
          </p:cNvSpPr>
          <p:nvPr>
            <p:ph type="pic" sz="quarter" idx="14"/>
          </p:nvPr>
        </p:nvSpPr>
        <p:spPr bwMode="gray">
          <a:xfrm>
            <a:off x="0" y="808026"/>
            <a:ext cx="5910328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7 (links)"/>
          <p:cNvSpPr>
            <a:spLocks noGrp="1"/>
          </p:cNvSpPr>
          <p:nvPr>
            <p:ph type="body" sz="quarter" idx="13"/>
          </p:nvPr>
        </p:nvSpPr>
        <p:spPr bwMode="gray">
          <a:xfrm>
            <a:off x="357116" y="4562804"/>
            <a:ext cx="5552419" cy="167170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 (rechts)"/>
          <p:cNvSpPr>
            <a:spLocks noGrp="1"/>
          </p:cNvSpPr>
          <p:nvPr>
            <p:ph type="body" sz="quarter" idx="15"/>
          </p:nvPr>
        </p:nvSpPr>
        <p:spPr bwMode="gray">
          <a:xfrm>
            <a:off x="6260373" y="4562804"/>
            <a:ext cx="5552419" cy="16717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8 (rechts)"/>
          <p:cNvSpPr>
            <a:spLocks noGrp="1"/>
          </p:cNvSpPr>
          <p:nvPr>
            <p:ph type="pic" sz="quarter" idx="16"/>
          </p:nvPr>
        </p:nvSpPr>
        <p:spPr bwMode="gray">
          <a:xfrm>
            <a:off x="6272941" y="808026"/>
            <a:ext cx="5917471" cy="263063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72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9094" y="1697517"/>
            <a:ext cx="11446822" cy="45369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64332" y="6598676"/>
            <a:ext cx="63261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/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fld id="{7809911F-300E-414E-B299-C50A99857B5F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44939" y="6598676"/>
            <a:ext cx="28000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fld id="{5DA4142D-4092-458E-BB22-308CC6995BD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495206" y="6598676"/>
            <a:ext cx="7200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  <a:lvl2pPr marL="0" indent="0" algn="ctr">
              <a:defRPr sz="800">
                <a:solidFill>
                  <a:schemeClr val="tx1"/>
                </a:solidFill>
              </a:defRPr>
            </a:lvl2pPr>
            <a:lvl3pPr marL="0" indent="0" algn="ctr">
              <a:defRPr sz="800">
                <a:solidFill>
                  <a:schemeClr val="tx1"/>
                </a:solidFill>
              </a:defRPr>
            </a:lvl3pPr>
            <a:lvl4pPr marL="0" indent="0" algn="ctr">
              <a:defRPr sz="800">
                <a:solidFill>
                  <a:schemeClr val="tx1"/>
                </a:solidFill>
              </a:defRPr>
            </a:lvl4pPr>
            <a:lvl5pPr marL="0" indent="0" algn="ctr">
              <a:defRPr sz="800">
                <a:solidFill>
                  <a:schemeClr val="tx1"/>
                </a:solidFill>
              </a:defRPr>
            </a:lvl5pPr>
            <a:lvl6pPr marL="0" indent="0" algn="ctr">
              <a:defRPr sz="800">
                <a:solidFill>
                  <a:schemeClr val="tx1"/>
                </a:solidFill>
              </a:defRPr>
            </a:lvl6pPr>
            <a:lvl7pPr marL="0" indent="0" algn="ctr">
              <a:defRPr sz="800">
                <a:solidFill>
                  <a:schemeClr val="tx1"/>
                </a:solidFill>
              </a:defRPr>
            </a:lvl7pPr>
            <a:lvl8pPr marL="0" indent="0" algn="ctr">
              <a:defRPr sz="800">
                <a:solidFill>
                  <a:schemeClr val="tx1"/>
                </a:solidFill>
              </a:defRPr>
            </a:lvl8pPr>
            <a:lvl9pPr marL="0" indent="0" algn="ctr">
              <a:defRPr sz="800">
                <a:solidFill>
                  <a:schemeClr val="tx1"/>
                </a:solidFill>
              </a:defRPr>
            </a:lvl9pPr>
          </a:lstStyle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11469600" cy="6937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32" name="Group 20">
            <a:extLst>
              <a:ext uri="{FF2B5EF4-FFF2-40B4-BE49-F238E27FC236}">
                <a16:creationId xmlns:a16="http://schemas.microsoft.com/office/drawing/2014/main" id="{6BE67EA3-40EF-4985-834E-73B0493542E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D0372DCE-5CBB-4E48-934F-056A6776A55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9A8FF9BA-7799-4315-B920-DC70467168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54F16012-1309-4439-88B5-44B87B4D4D3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C3ED595B-D698-47A5-ADCF-F462CBD260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03593398-D513-4691-9629-9FA8A912CD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F503F265-0D69-440C-B232-7AA6C4920D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DF5ECADE-FE56-4563-A432-91ACA7AA86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88F9FFC0-BD38-44FE-9E6F-185FCD5C63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F92C4C4D-97B4-442F-8D48-D3A312BFFDB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911183DF-26AF-43D3-9536-A82402FE51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7E33E84B-8B57-48D9-8988-A7E679EEAA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32686718-1C66-40AD-9157-5A82724E43C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5" name="Rectangle 17">
              <a:extLst>
                <a:ext uri="{FF2B5EF4-FFF2-40B4-BE49-F238E27FC236}">
                  <a16:creationId xmlns:a16="http://schemas.microsoft.com/office/drawing/2014/main" id="{FECA8965-F7D7-44C0-AEE3-254E9E8CC30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2CA755E5-1200-4564-9170-D7315456C7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7" name="Rectangle 19">
              <a:extLst>
                <a:ext uri="{FF2B5EF4-FFF2-40B4-BE49-F238E27FC236}">
                  <a16:creationId xmlns:a16="http://schemas.microsoft.com/office/drawing/2014/main" id="{DC691761-E587-4532-8C4C-6B143F3DCA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DD8CA4C-EF67-46AF-A0A1-6F7C3A7C2D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924B37D-A8DE-44ED-A85C-CD4A1BACB8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DCAF3227-9D2D-416B-AA5A-19EA5710BB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 dirty="0">
                <a:solidFill>
                  <a:srgbClr val="00469B"/>
                </a:solidFill>
              </a:endParaRPr>
            </a:p>
          </p:txBody>
        </p:sp>
      </p:grpSp>
      <p:sp>
        <p:nvSpPr>
          <p:cNvPr id="7" name="empower - DO NOT DELETE!!!" hidden="1"/>
          <p:cNvSpPr/>
          <p:nvPr userDrawn="1">
            <p:custDataLst>
              <p:tags r:id="rId1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6346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28" r:id="rId14"/>
    <p:sldLayoutId id="2147483832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0">
          <p15:clr>
            <a:srgbClr val="F26B43"/>
          </p15:clr>
        </p15:guide>
        <p15:guide id="2" pos="3953">
          <p15:clr>
            <a:srgbClr val="F26B43"/>
          </p15:clr>
        </p15:guide>
        <p15:guide id="3" orient="horz" pos="1071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725">
          <p15:clr>
            <a:srgbClr val="F26B43"/>
          </p15:clr>
        </p15:guide>
        <p15:guide id="6" pos="234">
          <p15:clr>
            <a:srgbClr val="F26B43"/>
          </p15:clr>
        </p15:guide>
        <p15:guide id="7" pos="74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9094" y="1697517"/>
            <a:ext cx="11446822" cy="45369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64332" y="6598676"/>
            <a:ext cx="63261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/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fld id="{AE1BBC79-E77E-4210-8AF0-C4F538ADB5AF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544939" y="6598676"/>
            <a:ext cx="28000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fld id="{5DA4142D-4092-458E-BB22-308CC6995BD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5206" y="6598676"/>
            <a:ext cx="7200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  <a:lvl2pPr marL="0" indent="0" algn="ctr">
              <a:defRPr sz="800">
                <a:solidFill>
                  <a:schemeClr val="tx1"/>
                </a:solidFill>
              </a:defRPr>
            </a:lvl2pPr>
            <a:lvl3pPr marL="0" indent="0" algn="ctr">
              <a:defRPr sz="800">
                <a:solidFill>
                  <a:schemeClr val="tx1"/>
                </a:solidFill>
              </a:defRPr>
            </a:lvl3pPr>
            <a:lvl4pPr marL="0" indent="0" algn="ctr">
              <a:defRPr sz="800">
                <a:solidFill>
                  <a:schemeClr val="tx1"/>
                </a:solidFill>
              </a:defRPr>
            </a:lvl4pPr>
            <a:lvl5pPr marL="0" indent="0" algn="ctr">
              <a:defRPr sz="800">
                <a:solidFill>
                  <a:schemeClr val="tx1"/>
                </a:solidFill>
              </a:defRPr>
            </a:lvl5pPr>
            <a:lvl6pPr marL="0" indent="0" algn="ctr">
              <a:defRPr sz="800">
                <a:solidFill>
                  <a:schemeClr val="tx1"/>
                </a:solidFill>
              </a:defRPr>
            </a:lvl6pPr>
            <a:lvl7pPr marL="0" indent="0" algn="ctr">
              <a:defRPr sz="800">
                <a:solidFill>
                  <a:schemeClr val="tx1"/>
                </a:solidFill>
              </a:defRPr>
            </a:lvl7pPr>
            <a:lvl8pPr marL="0" indent="0" algn="ctr">
              <a:defRPr sz="800">
                <a:solidFill>
                  <a:schemeClr val="tx1"/>
                </a:solidFill>
              </a:defRPr>
            </a:lvl8pPr>
            <a:lvl9pPr marL="0" indent="0" algn="ct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noProof="0" dirty="0"/>
              <a:t>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46793" y="731056"/>
            <a:ext cx="11469600" cy="6937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2" name="Group 20">
            <a:extLst>
              <a:ext uri="{FF2B5EF4-FFF2-40B4-BE49-F238E27FC236}">
                <a16:creationId xmlns:a16="http://schemas.microsoft.com/office/drawing/2014/main" id="{6BE67EA3-40EF-4985-834E-73B0493542E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D0372DCE-5CBB-4E48-934F-056A6776A55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9A8FF9BA-7799-4315-B920-DC70467168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54F16012-1309-4439-88B5-44B87B4D4D3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C3ED595B-D698-47A5-ADCF-F462CBD260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03593398-D513-4691-9629-9FA8A912CD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F503F265-0D69-440C-B232-7AA6C4920D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DF5ECADE-FE56-4563-A432-91ACA7AA86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88F9FFC0-BD38-44FE-9E6F-185FCD5C63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F92C4C4D-97B4-442F-8D48-D3A312BFFDB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911183DF-26AF-43D3-9536-A82402FE51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7E33E84B-8B57-48D9-8988-A7E679EEAA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32686718-1C66-40AD-9157-5A82724E43C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5" name="Rectangle 17">
              <a:extLst>
                <a:ext uri="{FF2B5EF4-FFF2-40B4-BE49-F238E27FC236}">
                  <a16:creationId xmlns:a16="http://schemas.microsoft.com/office/drawing/2014/main" id="{FECA8965-F7D7-44C0-AEE3-254E9E8CC30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2CA755E5-1200-4564-9170-D7315456C7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7" name="Rectangle 19">
              <a:extLst>
                <a:ext uri="{FF2B5EF4-FFF2-40B4-BE49-F238E27FC236}">
                  <a16:creationId xmlns:a16="http://schemas.microsoft.com/office/drawing/2014/main" id="{DC691761-E587-4532-8C4C-6B143F3DCA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DD8CA4C-EF67-46AF-A0A1-6F7C3A7C2D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924B37D-A8DE-44ED-A85C-CD4A1BACB8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DCAF3227-9D2D-416B-AA5A-19EA5710BB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en-US" noProof="0" dirty="0">
                <a:solidFill>
                  <a:srgbClr val="00469B"/>
                </a:solidFill>
              </a:endParaRPr>
            </a:p>
          </p:txBody>
        </p:sp>
      </p:grpSp>
      <p:sp>
        <p:nvSpPr>
          <p:cNvPr id="7" name="empower - DO NOT DELETE!!!" hidden="1"/>
          <p:cNvSpPr/>
          <p:nvPr userDrawn="1">
            <p:custDataLst>
              <p:tags r:id="rId1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662830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9" r:id="rId14"/>
    <p:sldLayoutId id="2147483830" r:id="rId15"/>
    <p:sldLayoutId id="2147483831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00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0">
          <p15:clr>
            <a:srgbClr val="F26B43"/>
          </p15:clr>
        </p15:guide>
        <p15:guide id="2" pos="3953">
          <p15:clr>
            <a:srgbClr val="F26B43"/>
          </p15:clr>
        </p15:guide>
        <p15:guide id="3" orient="horz" pos="1071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725">
          <p15:clr>
            <a:srgbClr val="F26B43"/>
          </p15:clr>
        </p15:guide>
        <p15:guide id="6" pos="234">
          <p15:clr>
            <a:srgbClr val="F26B43"/>
          </p15:clr>
        </p15:guide>
        <p15:guide id="7" pos="74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svg"/><Relationship Id="rId12" Type="http://schemas.openxmlformats.org/officeDocument/2006/relationships/image" Target="../media/image3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sv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svg"/><Relationship Id="rId7" Type="http://schemas.openxmlformats.org/officeDocument/2006/relationships/image" Target="../media/image48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.png"/><Relationship Id="rId5" Type="http://schemas.openxmlformats.org/officeDocument/2006/relationships/image" Target="../media/image46.svg"/><Relationship Id="rId4" Type="http://schemas.openxmlformats.org/officeDocument/2006/relationships/image" Target="../media/image45.png"/><Relationship Id="rId9" Type="http://schemas.openxmlformats.org/officeDocument/2006/relationships/image" Target="../media/image5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4" Type="http://schemas.openxmlformats.org/officeDocument/2006/relationships/image" Target="../media/image5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6.png"/><Relationship Id="rId7" Type="http://schemas.openxmlformats.org/officeDocument/2006/relationships/image" Target="../media/image59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microsoft.com/office/2007/relationships/hdphoto" Target="../media/hdphoto1.wdp"/><Relationship Id="rId9" Type="http://schemas.openxmlformats.org/officeDocument/2006/relationships/image" Target="../media/image6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1.png"/><Relationship Id="rId18" Type="http://schemas.openxmlformats.org/officeDocument/2006/relationships/image" Target="../media/image76.sv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79.png"/><Relationship Id="rId7" Type="http://schemas.openxmlformats.org/officeDocument/2006/relationships/image" Target="../media/image65.png"/><Relationship Id="rId12" Type="http://schemas.openxmlformats.org/officeDocument/2006/relationships/image" Target="../media/image70.svg"/><Relationship Id="rId17" Type="http://schemas.openxmlformats.org/officeDocument/2006/relationships/image" Target="../media/image75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74.svg"/><Relationship Id="rId20" Type="http://schemas.openxmlformats.org/officeDocument/2006/relationships/image" Target="../media/image78.svg"/><Relationship Id="rId1" Type="http://schemas.openxmlformats.org/officeDocument/2006/relationships/tags" Target="../tags/tag7.xml"/><Relationship Id="rId6" Type="http://schemas.openxmlformats.org/officeDocument/2006/relationships/image" Target="../media/image64.sv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svg"/><Relationship Id="rId19" Type="http://schemas.openxmlformats.org/officeDocument/2006/relationships/image" Target="../media/image77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svg"/><Relationship Id="rId22" Type="http://schemas.openxmlformats.org/officeDocument/2006/relationships/image" Target="../media/image80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4.tif"/><Relationship Id="rId4" Type="http://schemas.openxmlformats.org/officeDocument/2006/relationships/image" Target="../media/image83.t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chart" Target="../charts/chart2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0" y="4038601"/>
            <a:ext cx="9046345" cy="1600199"/>
          </a:xfrm>
        </p:spPr>
        <p:txBody>
          <a:bodyPr lIns="331200" tIns="0" rIns="1440000" bIns="720000" anchor="b"/>
          <a:lstStyle/>
          <a:p>
            <a:r>
              <a:rPr lang="ru-RU" dirty="0"/>
              <a:t>Презентация компании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</a:rPr>
              <a:t>Rhenus intermodal systems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dirty="0"/>
              <a:t>3/2/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nfidential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5511449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ши преимуществ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6A277A7-FD1C-7DF8-C148-3247ABFD6D43}"/>
              </a:ext>
            </a:extLst>
          </p:cNvPr>
          <p:cNvSpPr txBox="1"/>
          <p:nvPr/>
        </p:nvSpPr>
        <p:spPr bwMode="gray">
          <a:xfrm>
            <a:off x="2925397" y="3338063"/>
            <a:ext cx="2151261" cy="75581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вой транспорт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вои контейнера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вои вагоны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5844BF-810C-45C5-4B40-C3E95A9DF2B5}"/>
              </a:ext>
            </a:extLst>
          </p:cNvPr>
          <p:cNvSpPr txBox="1"/>
          <p:nvPr/>
        </p:nvSpPr>
        <p:spPr bwMode="gray">
          <a:xfrm>
            <a:off x="5462564" y="1843892"/>
            <a:ext cx="3146177" cy="59175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Фокус на здоровье, безопасность и окружающую среду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7BCE77-6351-141C-C6BF-2DA3C84A8178}"/>
              </a:ext>
            </a:extLst>
          </p:cNvPr>
          <p:cNvSpPr txBox="1"/>
          <p:nvPr/>
        </p:nvSpPr>
        <p:spPr bwMode="gray">
          <a:xfrm>
            <a:off x="3131739" y="5375328"/>
            <a:ext cx="3051084" cy="69373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олный контроль за перевозку вашего груза от точки А до точки Б через единый контактный пункт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C7B276-EC2F-5C01-6859-323D6A7D5E6F}"/>
              </a:ext>
            </a:extLst>
          </p:cNvPr>
          <p:cNvSpPr txBox="1"/>
          <p:nvPr/>
        </p:nvSpPr>
        <p:spPr bwMode="gray">
          <a:xfrm>
            <a:off x="7958567" y="5346185"/>
            <a:ext cx="3146177" cy="71906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спользование собственных контейнеров – это всегда выгодные тарифы и условия для клиент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F0877C-71A0-DEB9-E684-A8BFC06BE93B}"/>
              </a:ext>
            </a:extLst>
          </p:cNvPr>
          <p:cNvSpPr txBox="1"/>
          <p:nvPr/>
        </p:nvSpPr>
        <p:spPr bwMode="gray">
          <a:xfrm>
            <a:off x="9203263" y="3446564"/>
            <a:ext cx="2408387" cy="6937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Мы найдем оптимальный маршрут для каждой вашей перевозки.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DC42D077-12D7-F4F5-D72E-581F7534BE55}"/>
              </a:ext>
            </a:extLst>
          </p:cNvPr>
          <p:cNvSpPr/>
          <p:nvPr/>
        </p:nvSpPr>
        <p:spPr bwMode="gray">
          <a:xfrm>
            <a:off x="842879" y="2894531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Собственная база активов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49968CA-D535-B4B1-49E9-9025F6C227E2}"/>
              </a:ext>
            </a:extLst>
          </p:cNvPr>
          <p:cNvSpPr/>
          <p:nvPr/>
        </p:nvSpPr>
        <p:spPr bwMode="gray">
          <a:xfrm>
            <a:off x="2171114" y="4926647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Единое окно бронирования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A21696C7-E0E3-5A61-50A0-C3EA08B13BC1}"/>
              </a:ext>
            </a:extLst>
          </p:cNvPr>
          <p:cNvSpPr/>
          <p:nvPr/>
        </p:nvSpPr>
        <p:spPr bwMode="gray">
          <a:xfrm>
            <a:off x="4594617" y="1396314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Качество и Политика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HSE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59702B8-3BE5-9398-F565-F796E73C242B}"/>
              </a:ext>
            </a:extLst>
          </p:cNvPr>
          <p:cNvSpPr/>
          <p:nvPr/>
        </p:nvSpPr>
        <p:spPr bwMode="gray">
          <a:xfrm>
            <a:off x="6752357" y="4918180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Выгод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ные условия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E17E04E7-CE0A-10A5-BEDB-017A5D53C1F8}"/>
              </a:ext>
            </a:extLst>
          </p:cNvPr>
          <p:cNvSpPr/>
          <p:nvPr/>
        </p:nvSpPr>
        <p:spPr bwMode="gray">
          <a:xfrm>
            <a:off x="7972806" y="2891251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Индивидуальные маршруты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24" name="Picture 23" descr="A blue container on a black background&#10;&#10;Description automatically generated">
            <a:extLst>
              <a:ext uri="{FF2B5EF4-FFF2-40B4-BE49-F238E27FC236}">
                <a16:creationId xmlns:a16="http://schemas.microsoft.com/office/drawing/2014/main" id="{57430A38-FD6B-267B-EE6E-8E47887527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876" y="3448373"/>
            <a:ext cx="1710267" cy="437175"/>
          </a:xfrm>
          <a:prstGeom prst="rect">
            <a:avLst/>
          </a:prstGeom>
        </p:spPr>
      </p:pic>
      <p:sp>
        <p:nvSpPr>
          <p:cNvPr id="43" name="Star: 5 Points 42">
            <a:extLst>
              <a:ext uri="{FF2B5EF4-FFF2-40B4-BE49-F238E27FC236}">
                <a16:creationId xmlns:a16="http://schemas.microsoft.com/office/drawing/2014/main" id="{0DA7EB07-27B6-3302-01A7-FFF3E210E336}"/>
              </a:ext>
            </a:extLst>
          </p:cNvPr>
          <p:cNvSpPr/>
          <p:nvPr/>
        </p:nvSpPr>
        <p:spPr bwMode="gray">
          <a:xfrm>
            <a:off x="4614187" y="3130364"/>
            <a:ext cx="2421466" cy="2348707"/>
          </a:xfrm>
          <a:prstGeom prst="star5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9DA1D58-EDBF-7AF8-9A0D-023712A7DF1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14622" y="1829101"/>
            <a:ext cx="708660" cy="59150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6DC8689-C0B0-A78C-5FC1-C4D63FA9ACB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14656" y="5325670"/>
            <a:ext cx="1385888" cy="760095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2E90D4F1-A979-7740-AEEC-FBB783415DE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32194" y="3337516"/>
            <a:ext cx="697230" cy="788670"/>
          </a:xfrm>
          <a:prstGeom prst="rect">
            <a:avLst/>
          </a:prstGeom>
        </p:spPr>
      </p:pic>
      <p:pic>
        <p:nvPicPr>
          <p:cNvPr id="34" name="Picture 33" descr="A yellow check mark in a circle&#10;&#10;Description automatically generated">
            <a:extLst>
              <a:ext uri="{FF2B5EF4-FFF2-40B4-BE49-F238E27FC236}">
                <a16:creationId xmlns:a16="http://schemas.microsoft.com/office/drawing/2014/main" id="{47429030-F1EA-16A3-ED91-0D76CB37FD2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938" y="2879438"/>
            <a:ext cx="1510775" cy="1425279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A1DE4D81-B28A-06D5-A21D-5906B783085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02750" y="5312286"/>
            <a:ext cx="594360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86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BEB01B9F-7420-A16D-D59F-9ED603E811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термодальные перевозки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A23C5-9A62-3757-9061-84673C95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>
                <a:solidFill>
                  <a:schemeClr val="tx2"/>
                </a:solidFill>
              </a:rPr>
              <a:pPr/>
              <a:t>11.09.2023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D6EFB-B9E8-0298-EA2F-6477A136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tx2"/>
                </a:solidFill>
              </a:rPr>
              <a:t>Confidentia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D3EEE-0059-0BDB-7716-EC8FD88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de-DE" smtClean="0">
                <a:solidFill>
                  <a:schemeClr val="tx2"/>
                </a:solidFill>
              </a:rPr>
              <a:pPr/>
              <a:t>11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27C66C7-CAEF-C082-2E36-A8BDE9CBF8FF}"/>
              </a:ext>
            </a:extLst>
          </p:cNvPr>
          <p:cNvSpPr txBox="1"/>
          <p:nvPr/>
        </p:nvSpPr>
        <p:spPr bwMode="gray">
          <a:xfrm>
            <a:off x="996950" y="3507450"/>
            <a:ext cx="9302339" cy="30013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Оптимальное сочетание ставки за грузоперевозку и времени в пути</a:t>
            </a:r>
            <a:endParaRPr lang="nl-BE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спользование собственных контейнеров по необходимости</a:t>
            </a:r>
            <a:endParaRPr lang="nl-BE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олная и прозрачная информация о перевозке</a:t>
            </a:r>
            <a:endParaRPr lang="nl-BE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Транспортировка от двери до двери, включая дополнительные услуги</a:t>
            </a:r>
            <a:endParaRPr lang="en-GB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спользование разных перевозчиков</a:t>
            </a:r>
            <a:endParaRPr lang="en-GB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одход оператора-перевозчика</a:t>
            </a:r>
            <a:endParaRPr lang="en-GB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очетание автомобильных, железнодорожных, коротких и дальних морских, а также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     внутренних водных перевозок</a:t>
            </a:r>
            <a:endParaRPr lang="nl-BE" sz="16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9" name="Picture 58" descr="A screenshot of a video game&#10;&#10;Description automatically generated">
            <a:extLst>
              <a:ext uri="{FF2B5EF4-FFF2-40B4-BE49-F238E27FC236}">
                <a16:creationId xmlns:a16="http://schemas.microsoft.com/office/drawing/2014/main" id="{D9D8A89D-6020-A95B-E4CF-21FFB4955F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730" y="1558368"/>
            <a:ext cx="10544578" cy="1595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2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7">
            <a:extLst>
              <a:ext uri="{FF2B5EF4-FFF2-40B4-BE49-F238E27FC236}">
                <a16:creationId xmlns:a16="http://schemas.microsoft.com/office/drawing/2014/main" id="{0D80E013-C11C-9B05-4200-DFB4B516F267}"/>
              </a:ext>
            </a:extLst>
          </p:cNvPr>
          <p:cNvGrpSpPr/>
          <p:nvPr/>
        </p:nvGrpSpPr>
        <p:grpSpPr>
          <a:xfrm>
            <a:off x="947869" y="1823653"/>
            <a:ext cx="3011982" cy="3924849"/>
            <a:chOff x="1210799" y="1700213"/>
            <a:chExt cx="1294883" cy="317868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D754A32-3C73-C0A6-30D7-77961C0A16D0}"/>
                </a:ext>
              </a:extLst>
            </p:cNvPr>
            <p:cNvSpPr/>
            <p:nvPr/>
          </p:nvSpPr>
          <p:spPr>
            <a:xfrm>
              <a:off x="1210799" y="1700213"/>
              <a:ext cx="1294883" cy="3178682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360D45-3057-782F-46A5-12421325DBDC}"/>
                </a:ext>
              </a:extLst>
            </p:cNvPr>
            <p:cNvSpPr txBox="1"/>
            <p:nvPr/>
          </p:nvSpPr>
          <p:spPr>
            <a:xfrm>
              <a:off x="1253567" y="2633382"/>
              <a:ext cx="1102362" cy="2991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ea typeface="League Spartan" charset="0"/>
                  <a:cs typeface="Poppins" pitchFamily="2" charset="77"/>
                </a:rPr>
                <a:t>Own containers</a:t>
              </a:r>
            </a:p>
          </p:txBody>
        </p:sp>
        <p:sp>
          <p:nvSpPr>
            <p:cNvPr id="22" name="Subtitle 2">
              <a:extLst>
                <a:ext uri="{FF2B5EF4-FFF2-40B4-BE49-F238E27FC236}">
                  <a16:creationId xmlns:a16="http://schemas.microsoft.com/office/drawing/2014/main" id="{D0FE095B-E3BD-87FA-1723-1AD787054245}"/>
                </a:ext>
              </a:extLst>
            </p:cNvPr>
            <p:cNvSpPr txBox="1">
              <a:spLocks/>
            </p:cNvSpPr>
            <p:nvPr/>
          </p:nvSpPr>
          <p:spPr>
            <a:xfrm>
              <a:off x="1317728" y="3069832"/>
              <a:ext cx="1132302" cy="1763548"/>
            </a:xfrm>
            <a:prstGeom prst="rect">
              <a:avLst/>
            </a:prstGeom>
            <a:ln>
              <a:noFill/>
            </a:ln>
          </p:spPr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&gt;</a:t>
              </a:r>
              <a: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20 000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собственных</a:t>
              </a: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     контейнеров</a:t>
              </a: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Возможность предоставить подходящее оборудование в зависимости от</a:t>
              </a: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:</a:t>
              </a: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Маршрута</a:t>
              </a: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Вида транспортировки</a:t>
              </a: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Особенностей груза</a:t>
              </a: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Местных нормативов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BEB01B9F-7420-A16D-D59F-9ED603E81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ейнеры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A23C5-9A62-3757-9061-84673C95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D6EFB-B9E8-0298-EA2F-6477A136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D3EEE-0059-0BDB-7716-EC8FD88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12</a:t>
            </a:fld>
            <a:endParaRPr lang="de-DE" dirty="0"/>
          </a:p>
        </p:txBody>
      </p:sp>
      <p:grpSp>
        <p:nvGrpSpPr>
          <p:cNvPr id="23" name="Gruppieren 8">
            <a:extLst>
              <a:ext uri="{FF2B5EF4-FFF2-40B4-BE49-F238E27FC236}">
                <a16:creationId xmlns:a16="http://schemas.microsoft.com/office/drawing/2014/main" id="{AFBE01C6-60A0-4BBC-1573-99D211A05594}"/>
              </a:ext>
            </a:extLst>
          </p:cNvPr>
          <p:cNvGrpSpPr/>
          <p:nvPr/>
        </p:nvGrpSpPr>
        <p:grpSpPr>
          <a:xfrm>
            <a:off x="4608158" y="1831805"/>
            <a:ext cx="3011982" cy="3924849"/>
            <a:chOff x="2535613" y="2018922"/>
            <a:chExt cx="1294883" cy="3178680"/>
          </a:xfrm>
          <a:solidFill>
            <a:srgbClr val="CCE0EE"/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B58E05-0829-9400-BF9D-59B1FCD9C4CA}"/>
                </a:ext>
              </a:extLst>
            </p:cNvPr>
            <p:cNvSpPr/>
            <p:nvPr/>
          </p:nvSpPr>
          <p:spPr>
            <a:xfrm>
              <a:off x="2535613" y="2018922"/>
              <a:ext cx="1294883" cy="3178680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7" name="Subtitle 2">
              <a:extLst>
                <a:ext uri="{FF2B5EF4-FFF2-40B4-BE49-F238E27FC236}">
                  <a16:creationId xmlns:a16="http://schemas.microsoft.com/office/drawing/2014/main" id="{75957008-8592-900A-F9B0-AE789B61526C}"/>
                </a:ext>
              </a:extLst>
            </p:cNvPr>
            <p:cNvSpPr txBox="1">
              <a:spLocks/>
            </p:cNvSpPr>
            <p:nvPr/>
          </p:nvSpPr>
          <p:spPr>
            <a:xfrm>
              <a:off x="2674027" y="3406400"/>
              <a:ext cx="1154210" cy="158906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Покупка и продажа новых</a:t>
              </a:r>
              <a: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/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подержанных</a:t>
              </a:r>
              <a:b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</a:b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контейнеров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Контейнерные склады в стратегических районах	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Готовы в нужное время </a:t>
              </a: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и место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grpSp>
        <p:nvGrpSpPr>
          <p:cNvPr id="28" name="Gruppieren 9">
            <a:extLst>
              <a:ext uri="{FF2B5EF4-FFF2-40B4-BE49-F238E27FC236}">
                <a16:creationId xmlns:a16="http://schemas.microsoft.com/office/drawing/2014/main" id="{6772DBF8-F21B-1A15-83B7-0B3B6C8E2306}"/>
              </a:ext>
            </a:extLst>
          </p:cNvPr>
          <p:cNvGrpSpPr/>
          <p:nvPr/>
        </p:nvGrpSpPr>
        <p:grpSpPr>
          <a:xfrm>
            <a:off x="8256407" y="1829089"/>
            <a:ext cx="3011981" cy="3919414"/>
            <a:chOff x="3860427" y="2337634"/>
            <a:chExt cx="1294883" cy="317427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9383B5-FA88-AA89-AFE7-9AC72FDE2E6A}"/>
                </a:ext>
              </a:extLst>
            </p:cNvPr>
            <p:cNvSpPr/>
            <p:nvPr/>
          </p:nvSpPr>
          <p:spPr>
            <a:xfrm>
              <a:off x="3860427" y="2337634"/>
              <a:ext cx="1294883" cy="3174279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E73FF6FE-8605-9CAD-4ED6-1392B62511D9}"/>
                </a:ext>
              </a:extLst>
            </p:cNvPr>
            <p:cNvSpPr txBox="1">
              <a:spLocks/>
            </p:cNvSpPr>
            <p:nvPr/>
          </p:nvSpPr>
          <p:spPr>
            <a:xfrm>
              <a:off x="4013017" y="3731690"/>
              <a:ext cx="1088414" cy="158906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Каботаж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Бесплатный период для завершения перемещения</a:t>
              </a:r>
            </a:p>
            <a:p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Конкурентоспособная арендная плата после истечения бесплатного периода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5D3A8D7E-5698-B310-47E9-6E953C859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4249" y="2105362"/>
            <a:ext cx="1257300" cy="538163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C2514E-1E6A-8A65-3254-7201F3AA5F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53177" y="1915448"/>
            <a:ext cx="1148715" cy="80295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79136C7-6D95-CED6-CD2E-352A18F4D6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65149" y="2300524"/>
            <a:ext cx="1847850" cy="39243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BDCB9AA-6723-63A7-A4C1-D1771BA8D7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297" y="1964929"/>
            <a:ext cx="628650" cy="269081"/>
          </a:xfrm>
          <a:prstGeom prst="rect">
            <a:avLst/>
          </a:prstGeom>
        </p:spPr>
      </p:pic>
      <p:sp>
        <p:nvSpPr>
          <p:cNvPr id="14" name="Graphic 19">
            <a:extLst>
              <a:ext uri="{FF2B5EF4-FFF2-40B4-BE49-F238E27FC236}">
                <a16:creationId xmlns:a16="http://schemas.microsoft.com/office/drawing/2014/main" id="{610A1960-A0A8-3943-9B43-4C41DDFF6E49}"/>
              </a:ext>
            </a:extLst>
          </p:cNvPr>
          <p:cNvSpPr/>
          <p:nvPr/>
        </p:nvSpPr>
        <p:spPr>
          <a:xfrm>
            <a:off x="1040206" y="3574328"/>
            <a:ext cx="107918" cy="133350"/>
          </a:xfrm>
          <a:custGeom>
            <a:avLst/>
            <a:gdLst>
              <a:gd name="connsiteX0" fmla="*/ 0 w 107918"/>
              <a:gd name="connsiteY0" fmla="*/ 0 h 133350"/>
              <a:gd name="connsiteX1" fmla="*/ 107918 w 107918"/>
              <a:gd name="connsiteY1" fmla="*/ 0 h 133350"/>
              <a:gd name="connsiteX2" fmla="*/ 107918 w 107918"/>
              <a:gd name="connsiteY2" fmla="*/ 133350 h 133350"/>
              <a:gd name="connsiteX3" fmla="*/ 0 w 107918"/>
              <a:gd name="connsiteY3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918" h="133350">
                <a:moveTo>
                  <a:pt x="0" y="0"/>
                </a:moveTo>
                <a:lnTo>
                  <a:pt x="107918" y="0"/>
                </a:lnTo>
                <a:lnTo>
                  <a:pt x="107918" y="133350"/>
                </a:lnTo>
                <a:lnTo>
                  <a:pt x="0" y="133350"/>
                </a:lnTo>
                <a:close/>
              </a:path>
            </a:pathLst>
          </a:custGeom>
          <a:solidFill>
            <a:srgbClr val="FABB04"/>
          </a:solidFill>
          <a:ln w="4763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A075273-D9CD-2608-E55F-C251F65C8F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11989" y="3594537"/>
            <a:ext cx="114300" cy="142875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CF494AEE-6D42-3D4A-7B73-59BE8B32ED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06837" y="4448590"/>
            <a:ext cx="114300" cy="142875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DD7556D-89C8-0800-74AE-9EA07FFFA6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02263" y="5087991"/>
            <a:ext cx="114300" cy="14287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F89E3588-C314-F4F6-F64B-3AFCEE63DF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79955" y="3607459"/>
            <a:ext cx="114300" cy="142875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FA93C7A7-B5E5-60F9-95D1-82923AADAF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82713" y="4033314"/>
            <a:ext cx="114300" cy="142875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A627673D-EAE8-2C8A-07C7-84B20E41BD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77849" y="4676918"/>
            <a:ext cx="114300" cy="1428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BBC8A04-482E-CA8E-ED65-2A1B2D83E437}"/>
              </a:ext>
            </a:extLst>
          </p:cNvPr>
          <p:cNvSpPr/>
          <p:nvPr/>
        </p:nvSpPr>
        <p:spPr bwMode="gray">
          <a:xfrm>
            <a:off x="947869" y="2927266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Контейнерное Оборудование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07E05A5-271D-9832-EEF8-59DAC21BF744}"/>
              </a:ext>
            </a:extLst>
          </p:cNvPr>
          <p:cNvSpPr/>
          <p:nvPr/>
        </p:nvSpPr>
        <p:spPr bwMode="gray">
          <a:xfrm>
            <a:off x="4608158" y="2922133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Контейнерная торговля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D5613C-FEA2-F19F-3B55-8075CB9AB42C}"/>
              </a:ext>
            </a:extLst>
          </p:cNvPr>
          <p:cNvSpPr/>
          <p:nvPr/>
        </p:nvSpPr>
        <p:spPr bwMode="gray">
          <a:xfrm>
            <a:off x="8256408" y="2908426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</a:rPr>
              <a:t>One-way Lease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6" name="Graphic 19">
            <a:extLst>
              <a:ext uri="{FF2B5EF4-FFF2-40B4-BE49-F238E27FC236}">
                <a16:creationId xmlns:a16="http://schemas.microsoft.com/office/drawing/2014/main" id="{5DBA816D-DA30-58FA-6BF6-216588C15F2E}"/>
              </a:ext>
            </a:extLst>
          </p:cNvPr>
          <p:cNvSpPr/>
          <p:nvPr/>
        </p:nvSpPr>
        <p:spPr>
          <a:xfrm>
            <a:off x="1044016" y="4208693"/>
            <a:ext cx="107918" cy="133350"/>
          </a:xfrm>
          <a:custGeom>
            <a:avLst/>
            <a:gdLst>
              <a:gd name="connsiteX0" fmla="*/ 0 w 107918"/>
              <a:gd name="connsiteY0" fmla="*/ 0 h 133350"/>
              <a:gd name="connsiteX1" fmla="*/ 107918 w 107918"/>
              <a:gd name="connsiteY1" fmla="*/ 0 h 133350"/>
              <a:gd name="connsiteX2" fmla="*/ 107918 w 107918"/>
              <a:gd name="connsiteY2" fmla="*/ 133350 h 133350"/>
              <a:gd name="connsiteX3" fmla="*/ 0 w 107918"/>
              <a:gd name="connsiteY3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918" h="133350">
                <a:moveTo>
                  <a:pt x="0" y="0"/>
                </a:moveTo>
                <a:lnTo>
                  <a:pt x="107918" y="0"/>
                </a:lnTo>
                <a:lnTo>
                  <a:pt x="107918" y="133350"/>
                </a:lnTo>
                <a:lnTo>
                  <a:pt x="0" y="133350"/>
                </a:lnTo>
                <a:close/>
              </a:path>
            </a:pathLst>
          </a:custGeom>
          <a:solidFill>
            <a:srgbClr val="FABB04"/>
          </a:solidFill>
          <a:ln w="4763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457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BEB01B9F-7420-A16D-D59F-9ED603E81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Железнодорожные перевозки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A23C5-9A62-3757-9061-84673C95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D6EFB-B9E8-0298-EA2F-6477A136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D3EEE-0059-0BDB-7716-EC8FD88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13</a:t>
            </a:fld>
            <a:endParaRPr lang="de-DE" dirty="0"/>
          </a:p>
        </p:txBody>
      </p:sp>
      <p:grpSp>
        <p:nvGrpSpPr>
          <p:cNvPr id="2" name="Gruppieren 7">
            <a:extLst>
              <a:ext uri="{FF2B5EF4-FFF2-40B4-BE49-F238E27FC236}">
                <a16:creationId xmlns:a16="http://schemas.microsoft.com/office/drawing/2014/main" id="{0D80E013-C11C-9B05-4200-DFB4B516F267}"/>
              </a:ext>
            </a:extLst>
          </p:cNvPr>
          <p:cNvGrpSpPr/>
          <p:nvPr/>
        </p:nvGrpSpPr>
        <p:grpSpPr>
          <a:xfrm>
            <a:off x="947869" y="1348703"/>
            <a:ext cx="3011982" cy="4681956"/>
            <a:chOff x="1210799" y="1700213"/>
            <a:chExt cx="1294883" cy="379185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D754A32-3C73-C0A6-30D7-77961C0A16D0}"/>
                </a:ext>
              </a:extLst>
            </p:cNvPr>
            <p:cNvSpPr/>
            <p:nvPr/>
          </p:nvSpPr>
          <p:spPr>
            <a:xfrm>
              <a:off x="1210799" y="1700213"/>
              <a:ext cx="1294883" cy="3791851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2" name="Subtitle 2">
              <a:extLst>
                <a:ext uri="{FF2B5EF4-FFF2-40B4-BE49-F238E27FC236}">
                  <a16:creationId xmlns:a16="http://schemas.microsoft.com/office/drawing/2014/main" id="{D0FE095B-E3BD-87FA-1723-1AD787054245}"/>
                </a:ext>
              </a:extLst>
            </p:cNvPr>
            <p:cNvSpPr txBox="1">
              <a:spLocks/>
            </p:cNvSpPr>
            <p:nvPr/>
          </p:nvSpPr>
          <p:spPr>
            <a:xfrm>
              <a:off x="1333391" y="3142123"/>
              <a:ext cx="1132302" cy="1938032"/>
            </a:xfrm>
            <a:prstGeom prst="rect">
              <a:avLst/>
            </a:prstGeom>
            <a:ln>
              <a:noFill/>
            </a:ln>
          </p:spPr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Отправка из любого порта или внутреннего терминала</a:t>
              </a: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Поддержка на пунктах пересечения границы</a:t>
              </a: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В</a:t>
              </a: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Центральную Азию</a:t>
              </a: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или</a:t>
              </a: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удаленные пункты</a:t>
              </a:r>
              <a:r>
                <a:rPr lang="en-US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России</a:t>
              </a: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Отслеживание и трассировка</a:t>
              </a:r>
              <a:endParaRPr lang="nl-BE" sz="1400" dirty="0">
                <a:solidFill>
                  <a:schemeClr val="accent2"/>
                </a:solidFill>
                <a:latin typeface="Arial" panose="020B0604020202020204" pitchFamily="34" charset="0"/>
              </a:endParaRP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nl-BE" sz="1400" dirty="0">
                <a:solidFill>
                  <a:schemeClr val="accent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3" name="Gruppieren 8">
            <a:extLst>
              <a:ext uri="{FF2B5EF4-FFF2-40B4-BE49-F238E27FC236}">
                <a16:creationId xmlns:a16="http://schemas.microsoft.com/office/drawing/2014/main" id="{AFBE01C6-60A0-4BBC-1573-99D211A05594}"/>
              </a:ext>
            </a:extLst>
          </p:cNvPr>
          <p:cNvGrpSpPr/>
          <p:nvPr/>
        </p:nvGrpSpPr>
        <p:grpSpPr>
          <a:xfrm>
            <a:off x="4608158" y="1350251"/>
            <a:ext cx="3011982" cy="4673799"/>
            <a:chOff x="2535613" y="2018922"/>
            <a:chExt cx="1294883" cy="3785247"/>
          </a:xfrm>
          <a:solidFill>
            <a:srgbClr val="CCE0EE"/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B58E05-0829-9400-BF9D-59B1FCD9C4CA}"/>
                </a:ext>
              </a:extLst>
            </p:cNvPr>
            <p:cNvSpPr/>
            <p:nvPr/>
          </p:nvSpPr>
          <p:spPr>
            <a:xfrm>
              <a:off x="2535613" y="2018922"/>
              <a:ext cx="1294883" cy="3785247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7" name="Subtitle 2">
              <a:extLst>
                <a:ext uri="{FF2B5EF4-FFF2-40B4-BE49-F238E27FC236}">
                  <a16:creationId xmlns:a16="http://schemas.microsoft.com/office/drawing/2014/main" id="{75957008-8592-900A-F9B0-AE789B61526C}"/>
                </a:ext>
              </a:extLst>
            </p:cNvPr>
            <p:cNvSpPr txBox="1">
              <a:spLocks/>
            </p:cNvSpPr>
            <p:nvPr/>
          </p:nvSpPr>
          <p:spPr>
            <a:xfrm>
              <a:off x="2674027" y="3453715"/>
              <a:ext cx="1154210" cy="234931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Два вида</a:t>
              </a:r>
              <a: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: 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специализированные и общедоступные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Фиксированный маршрут и график движения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Требуется минимально</a:t>
              </a:r>
              <a: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80 TEU</a:t>
              </a: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 </a:t>
              </a:r>
            </a:p>
            <a:p>
              <a:pPr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Дополнительные услуги</a:t>
              </a:r>
              <a:r>
                <a:rPr lang="nl-BE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: </a:t>
              </a: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Обработка на терминале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Таможенное оформление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marL="285750" indent="-285750" algn="l" defTabSz="91440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q"/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Доставка на последний километр грузовиком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grpSp>
        <p:nvGrpSpPr>
          <p:cNvPr id="28" name="Gruppieren 9">
            <a:extLst>
              <a:ext uri="{FF2B5EF4-FFF2-40B4-BE49-F238E27FC236}">
                <a16:creationId xmlns:a16="http://schemas.microsoft.com/office/drawing/2014/main" id="{6772DBF8-F21B-1A15-83B7-0B3B6C8E2306}"/>
              </a:ext>
            </a:extLst>
          </p:cNvPr>
          <p:cNvGrpSpPr/>
          <p:nvPr/>
        </p:nvGrpSpPr>
        <p:grpSpPr>
          <a:xfrm>
            <a:off x="8256407" y="1347027"/>
            <a:ext cx="3011981" cy="4681956"/>
            <a:chOff x="3860427" y="2337634"/>
            <a:chExt cx="1294883" cy="317427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9383B5-FA88-AA89-AFE7-9AC72FDE2E6A}"/>
                </a:ext>
              </a:extLst>
            </p:cNvPr>
            <p:cNvSpPr/>
            <p:nvPr/>
          </p:nvSpPr>
          <p:spPr>
            <a:xfrm>
              <a:off x="3860427" y="2337634"/>
              <a:ext cx="1294883" cy="3174279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E73FF6FE-8605-9CAD-4ED6-1392B62511D9}"/>
                </a:ext>
              </a:extLst>
            </p:cNvPr>
            <p:cNvSpPr txBox="1">
              <a:spLocks/>
            </p:cNvSpPr>
            <p:nvPr/>
          </p:nvSpPr>
          <p:spPr>
            <a:xfrm>
              <a:off x="4016199" y="3541237"/>
              <a:ext cx="1088414" cy="89205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22866" tIns="11433" rIns="22866" bIns="11433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Железнодорожные тарифы без вагонов или других услуг</a:t>
              </a:r>
              <a:endPara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endPara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  <a:p>
              <a:pPr algn="l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dirty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cs typeface="+mn-cs"/>
                </a:rPr>
                <a:t>Прямое соглашение с железнодорожными операторами</a:t>
              </a:r>
              <a:endPara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610A1960-A0A8-3943-9B43-4C41DDFF6E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1160" y="3183357"/>
            <a:ext cx="114300" cy="142875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5453275A-84A9-E5C6-0754-6C87F35C2B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1379" y="3825290"/>
            <a:ext cx="114300" cy="14287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7A075273-D9CD-2608-E55F-C251F65C8F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894" y="3188040"/>
            <a:ext cx="114300" cy="142875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CF494AEE-6D42-3D4A-7B73-59BE8B32E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8107" y="3818749"/>
            <a:ext cx="114300" cy="142875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DD7556D-89C8-0800-74AE-9EA07FFFA6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6708" y="4459085"/>
            <a:ext cx="114300" cy="14287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F89E3588-C314-F4F6-F64B-3AFCEE63DF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72335" y="3172986"/>
            <a:ext cx="114300" cy="142875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A627673D-EAE8-2C8A-07C7-84B20E41BD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70864" y="3815762"/>
            <a:ext cx="114300" cy="14287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01FF320-693B-1B3E-BC8A-A3AF6418F7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303" y="4462768"/>
            <a:ext cx="114300" cy="14287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7AFF793-7017-61C2-CFB4-B08C73861A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0657" y="5105705"/>
            <a:ext cx="114300" cy="142875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D9EB137-28E7-62F6-C6ED-B2A459E46C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6244" y="4889248"/>
            <a:ext cx="114300" cy="142875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37B1DB3-1B9F-30BD-F182-20A6A06963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2121" y="1597409"/>
            <a:ext cx="1338263" cy="61912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4CF6949A-48AB-7E80-B14E-5795FE6018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97181" y="1906972"/>
            <a:ext cx="2547938" cy="180975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57D443B0-8ECA-6B56-914B-C0C4F08F6C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8856" y="1774121"/>
            <a:ext cx="1276350" cy="3619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8670AD0-3EF2-7317-4575-D7BA39249988}"/>
              </a:ext>
            </a:extLst>
          </p:cNvPr>
          <p:cNvSpPr/>
          <p:nvPr/>
        </p:nvSpPr>
        <p:spPr bwMode="gray">
          <a:xfrm>
            <a:off x="947869" y="2642558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</a:rPr>
              <a:t>Перевозка груза по ж/д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DD4849-EBA9-D48A-167F-859CD0F87FD2}"/>
              </a:ext>
            </a:extLst>
          </p:cNvPr>
          <p:cNvSpPr/>
          <p:nvPr/>
        </p:nvSpPr>
        <p:spPr bwMode="gray">
          <a:xfrm>
            <a:off x="4604809" y="2643854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</a:rPr>
              <a:t>Блок-поезда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60810DC-E97C-EC88-9CD2-8E2BA346A2AE}"/>
              </a:ext>
            </a:extLst>
          </p:cNvPr>
          <p:cNvSpPr/>
          <p:nvPr/>
        </p:nvSpPr>
        <p:spPr bwMode="gray">
          <a:xfrm>
            <a:off x="8257939" y="2644117"/>
            <a:ext cx="3011982" cy="4432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Ж/д коды</a:t>
            </a:r>
            <a:endParaRPr lang="en-US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21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1323001A-8615-EE33-BCD1-F22387DB72FA}"/>
              </a:ext>
            </a:extLst>
          </p:cNvPr>
          <p:cNvSpPr/>
          <p:nvPr/>
        </p:nvSpPr>
        <p:spPr bwMode="gray">
          <a:xfrm>
            <a:off x="7084389" y="1532582"/>
            <a:ext cx="4394338" cy="41731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EB01B9F-7420-A16D-D59F-9ED603E81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рской фрахт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A23C5-9A62-3757-9061-84673C95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D6EFB-B9E8-0298-EA2F-6477A136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D3EEE-0059-0BDB-7716-EC8FD88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FBC5F28A-4327-51A6-AE98-84764CDED8CE}"/>
              </a:ext>
            </a:extLst>
          </p:cNvPr>
          <p:cNvSpPr/>
          <p:nvPr/>
        </p:nvSpPr>
        <p:spPr bwMode="gray">
          <a:xfrm>
            <a:off x="795716" y="1526296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Short Sea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C85FB6E2-D87B-E702-48F4-6ABEBA042D2B}"/>
              </a:ext>
            </a:extLst>
          </p:cNvPr>
          <p:cNvSpPr/>
          <p:nvPr/>
        </p:nvSpPr>
        <p:spPr bwMode="gray">
          <a:xfrm>
            <a:off x="795715" y="4350349"/>
            <a:ext cx="3176411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Deep sea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095944-CB4A-307E-51B1-0EFB5D15CC54}"/>
              </a:ext>
            </a:extLst>
          </p:cNvPr>
          <p:cNvSpPr txBox="1"/>
          <p:nvPr/>
        </p:nvSpPr>
        <p:spPr bwMode="gray">
          <a:xfrm>
            <a:off x="795715" y="1943836"/>
            <a:ext cx="6395350" cy="186642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Регулярные услуги</a:t>
            </a: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</a:t>
            </a: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фиксированные сроки транзита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Централизированное управление и координация операций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спользование разных перевозчиков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Разнообразие вариантов маршрутизации и услуг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спользование собственных контейнеров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Blip>
                <a:blip r:embed="rId2"/>
              </a:buBlip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Доставка от двери до двери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2A1118-B47E-B0A9-7064-15499F8ABDE5}"/>
              </a:ext>
            </a:extLst>
          </p:cNvPr>
          <p:cNvSpPr txBox="1"/>
          <p:nvPr/>
        </p:nvSpPr>
        <p:spPr bwMode="gray">
          <a:xfrm>
            <a:off x="795715" y="4768643"/>
            <a:ext cx="6395350" cy="186642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амая конкурентоспособная ставка для дальних расстояний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Надёжные транспортные средства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Blip>
                <a:blip r:embed="rId2"/>
              </a:buBlip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отрудничество</a:t>
            </a: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</a:t>
            </a: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роверенными</a:t>
            </a: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убподрядчиками</a:t>
            </a:r>
            <a:endParaRPr lang="en-GB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Blip>
                <a:blip r:embed="rId2"/>
              </a:buBlip>
            </a:pPr>
            <a:r>
              <a:rPr lang="nl-B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еревозки от порта до порта, от двери до двери, от двери до порта</a:t>
            </a:r>
            <a:endParaRPr lang="nl-BE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C5060C9-7B56-E69E-5304-F84560EF2829}"/>
              </a:ext>
            </a:extLst>
          </p:cNvPr>
          <p:cNvSpPr/>
          <p:nvPr/>
        </p:nvSpPr>
        <p:spPr bwMode="gray">
          <a:xfrm>
            <a:off x="7246531" y="2781212"/>
            <a:ext cx="1956886" cy="494495"/>
          </a:xfrm>
          <a:custGeom>
            <a:avLst/>
            <a:gdLst>
              <a:gd name="connsiteX0" fmla="*/ 0 w 3705587"/>
              <a:gd name="connsiteY0" fmla="*/ 0 h 747470"/>
              <a:gd name="connsiteX1" fmla="*/ 3705587 w 3705587"/>
              <a:gd name="connsiteY1" fmla="*/ 0 h 747470"/>
              <a:gd name="connsiteX2" fmla="*/ 3705587 w 3705587"/>
              <a:gd name="connsiteY2" fmla="*/ 492284 h 747470"/>
              <a:gd name="connsiteX3" fmla="*/ 3450401 w 3705587"/>
              <a:gd name="connsiteY3" fmla="*/ 747470 h 747470"/>
              <a:gd name="connsiteX4" fmla="*/ 0 w 3705587"/>
              <a:gd name="connsiteY4" fmla="*/ 747470 h 74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5587" h="747470">
                <a:moveTo>
                  <a:pt x="0" y="0"/>
                </a:moveTo>
                <a:lnTo>
                  <a:pt x="3705587" y="0"/>
                </a:lnTo>
                <a:lnTo>
                  <a:pt x="3705587" y="492284"/>
                </a:lnTo>
                <a:lnTo>
                  <a:pt x="3450401" y="747470"/>
                </a:lnTo>
                <a:lnTo>
                  <a:pt x="0" y="74747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/>
              </a:rPr>
              <a:t>Балтийский регион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СВ Европ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510DEA9-CB99-0751-76D8-C344A169360F}"/>
              </a:ext>
            </a:extLst>
          </p:cNvPr>
          <p:cNvSpPr/>
          <p:nvPr/>
        </p:nvSpPr>
        <p:spPr bwMode="gray">
          <a:xfrm>
            <a:off x="7244858" y="3554768"/>
            <a:ext cx="1956886" cy="502608"/>
          </a:xfrm>
          <a:custGeom>
            <a:avLst/>
            <a:gdLst>
              <a:gd name="connsiteX0" fmla="*/ 0 w 3705587"/>
              <a:gd name="connsiteY0" fmla="*/ 0 h 747470"/>
              <a:gd name="connsiteX1" fmla="*/ 3705587 w 3705587"/>
              <a:gd name="connsiteY1" fmla="*/ 0 h 747470"/>
              <a:gd name="connsiteX2" fmla="*/ 3705587 w 3705587"/>
              <a:gd name="connsiteY2" fmla="*/ 492284 h 747470"/>
              <a:gd name="connsiteX3" fmla="*/ 3450401 w 3705587"/>
              <a:gd name="connsiteY3" fmla="*/ 747470 h 747470"/>
              <a:gd name="connsiteX4" fmla="*/ 0 w 3705587"/>
              <a:gd name="connsiteY4" fmla="*/ 747470 h 74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5587" h="747470">
                <a:moveTo>
                  <a:pt x="0" y="0"/>
                </a:moveTo>
                <a:lnTo>
                  <a:pt x="3705587" y="0"/>
                </a:lnTo>
                <a:lnTo>
                  <a:pt x="3705587" y="492284"/>
                </a:lnTo>
                <a:lnTo>
                  <a:pt x="3450401" y="747470"/>
                </a:lnTo>
                <a:lnTo>
                  <a:pt x="0" y="74747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Черноморский регион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ЮВ Европ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78949EA-BF20-3AC5-655B-57773BE756B6}"/>
              </a:ext>
            </a:extLst>
          </p:cNvPr>
          <p:cNvSpPr/>
          <p:nvPr/>
        </p:nvSpPr>
        <p:spPr bwMode="gray">
          <a:xfrm>
            <a:off x="9346985" y="2780009"/>
            <a:ext cx="1956886" cy="495697"/>
          </a:xfrm>
          <a:custGeom>
            <a:avLst/>
            <a:gdLst>
              <a:gd name="connsiteX0" fmla="*/ 0 w 3705587"/>
              <a:gd name="connsiteY0" fmla="*/ 0 h 747470"/>
              <a:gd name="connsiteX1" fmla="*/ 3705587 w 3705587"/>
              <a:gd name="connsiteY1" fmla="*/ 0 h 747470"/>
              <a:gd name="connsiteX2" fmla="*/ 3705587 w 3705587"/>
              <a:gd name="connsiteY2" fmla="*/ 492284 h 747470"/>
              <a:gd name="connsiteX3" fmla="*/ 3450401 w 3705587"/>
              <a:gd name="connsiteY3" fmla="*/ 747470 h 747470"/>
              <a:gd name="connsiteX4" fmla="*/ 0 w 3705587"/>
              <a:gd name="connsiteY4" fmla="*/ 747470 h 74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5587" h="747470">
                <a:moveTo>
                  <a:pt x="0" y="0"/>
                </a:moveTo>
                <a:lnTo>
                  <a:pt x="3705587" y="0"/>
                </a:lnTo>
                <a:lnTo>
                  <a:pt x="3705587" y="492284"/>
                </a:lnTo>
                <a:lnTo>
                  <a:pt x="3450401" y="747470"/>
                </a:lnTo>
                <a:lnTo>
                  <a:pt x="0" y="74747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/>
              </a:rPr>
              <a:t>Дальневосточный регион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833F51B-7CAE-4B7A-2531-5CE3CBBF67D0}"/>
              </a:ext>
            </a:extLst>
          </p:cNvPr>
          <p:cNvSpPr/>
          <p:nvPr/>
        </p:nvSpPr>
        <p:spPr bwMode="gray">
          <a:xfrm>
            <a:off x="7246705" y="5089233"/>
            <a:ext cx="1956886" cy="426240"/>
          </a:xfrm>
          <a:custGeom>
            <a:avLst/>
            <a:gdLst>
              <a:gd name="connsiteX0" fmla="*/ 0 w 3705587"/>
              <a:gd name="connsiteY0" fmla="*/ 0 h 747470"/>
              <a:gd name="connsiteX1" fmla="*/ 3705587 w 3705587"/>
              <a:gd name="connsiteY1" fmla="*/ 0 h 747470"/>
              <a:gd name="connsiteX2" fmla="*/ 3705587 w 3705587"/>
              <a:gd name="connsiteY2" fmla="*/ 492284 h 747470"/>
              <a:gd name="connsiteX3" fmla="*/ 3450401 w 3705587"/>
              <a:gd name="connsiteY3" fmla="*/ 747470 h 747470"/>
              <a:gd name="connsiteX4" fmla="*/ 0 w 3705587"/>
              <a:gd name="connsiteY4" fmla="*/ 747470 h 74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5587" h="747470">
                <a:moveTo>
                  <a:pt x="0" y="0"/>
                </a:moveTo>
                <a:lnTo>
                  <a:pt x="3705587" y="0"/>
                </a:lnTo>
                <a:lnTo>
                  <a:pt x="3705587" y="492284"/>
                </a:lnTo>
                <a:lnTo>
                  <a:pt x="3450401" y="747470"/>
                </a:lnTo>
                <a:lnTo>
                  <a:pt x="0" y="74747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FCL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D9142C8-4BAE-5ABB-1A29-CAD590F48BB2}"/>
              </a:ext>
            </a:extLst>
          </p:cNvPr>
          <p:cNvSpPr/>
          <p:nvPr/>
        </p:nvSpPr>
        <p:spPr bwMode="gray">
          <a:xfrm>
            <a:off x="9347159" y="5096143"/>
            <a:ext cx="1956886" cy="420379"/>
          </a:xfrm>
          <a:custGeom>
            <a:avLst/>
            <a:gdLst>
              <a:gd name="connsiteX0" fmla="*/ 0 w 3705587"/>
              <a:gd name="connsiteY0" fmla="*/ 0 h 747470"/>
              <a:gd name="connsiteX1" fmla="*/ 3705587 w 3705587"/>
              <a:gd name="connsiteY1" fmla="*/ 0 h 747470"/>
              <a:gd name="connsiteX2" fmla="*/ 3705587 w 3705587"/>
              <a:gd name="connsiteY2" fmla="*/ 492284 h 747470"/>
              <a:gd name="connsiteX3" fmla="*/ 3450401 w 3705587"/>
              <a:gd name="connsiteY3" fmla="*/ 747470 h 747470"/>
              <a:gd name="connsiteX4" fmla="*/ 0 w 3705587"/>
              <a:gd name="connsiteY4" fmla="*/ 747470 h 747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5587" h="747470">
                <a:moveTo>
                  <a:pt x="0" y="0"/>
                </a:moveTo>
                <a:lnTo>
                  <a:pt x="3705587" y="0"/>
                </a:lnTo>
                <a:lnTo>
                  <a:pt x="3705587" y="492284"/>
                </a:lnTo>
                <a:lnTo>
                  <a:pt x="3450401" y="747470"/>
                </a:lnTo>
                <a:lnTo>
                  <a:pt x="0" y="74747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LCL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B8E4660D-75DE-92A5-17CB-45F5EE3651A9}"/>
              </a:ext>
            </a:extLst>
          </p:cNvPr>
          <p:cNvSpPr/>
          <p:nvPr/>
        </p:nvSpPr>
        <p:spPr bwMode="gray">
          <a:xfrm>
            <a:off x="7244627" y="2193381"/>
            <a:ext cx="2062424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Главные регионы</a:t>
            </a:r>
            <a:endParaRPr lang="ru-RU" sz="14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20C2B16-B55C-3F1D-1A39-AC264708D6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2192" y="1715135"/>
            <a:ext cx="1273969" cy="785813"/>
          </a:xfrm>
          <a:prstGeom prst="rect">
            <a:avLst/>
          </a:prstGeom>
        </p:spPr>
      </p:pic>
      <p:sp>
        <p:nvSpPr>
          <p:cNvPr id="23" name="Rectangle 9">
            <a:extLst>
              <a:ext uri="{FF2B5EF4-FFF2-40B4-BE49-F238E27FC236}">
                <a16:creationId xmlns:a16="http://schemas.microsoft.com/office/drawing/2014/main" id="{7F8966C3-3DCA-7539-5D7B-0AB40735EE69}"/>
              </a:ext>
            </a:extLst>
          </p:cNvPr>
          <p:cNvSpPr/>
          <p:nvPr/>
        </p:nvSpPr>
        <p:spPr bwMode="gray">
          <a:xfrm>
            <a:off x="7250446" y="4523044"/>
            <a:ext cx="2062424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Варианты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47140AF-BF70-568B-A23B-4328C2311B9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35618" y="4500132"/>
            <a:ext cx="2004060" cy="35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9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BEB01B9F-7420-A16D-D59F-9ED603E81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ВИаперевозки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A23C5-9A62-3757-9061-84673C95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pPr/>
              <a:t>11.09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D6EFB-B9E8-0298-EA2F-6477A136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D3EEE-0059-0BDB-7716-EC8FD88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Google Shape;4687;p24">
            <a:extLst>
              <a:ext uri="{FF2B5EF4-FFF2-40B4-BE49-F238E27FC236}">
                <a16:creationId xmlns:a16="http://schemas.microsoft.com/office/drawing/2014/main" id="{443C3B5F-3273-7DA8-B272-49D4F678060F}"/>
              </a:ext>
            </a:extLst>
          </p:cNvPr>
          <p:cNvSpPr/>
          <p:nvPr/>
        </p:nvSpPr>
        <p:spPr>
          <a:xfrm rot="10800000" flipH="1">
            <a:off x="6190977" y="2446972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050">
              <a:solidFill>
                <a:schemeClr val="l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Google Shape;4676;p24">
            <a:extLst>
              <a:ext uri="{FF2B5EF4-FFF2-40B4-BE49-F238E27FC236}">
                <a16:creationId xmlns:a16="http://schemas.microsoft.com/office/drawing/2014/main" id="{A03B5DC7-0B30-A15A-1A3D-C8B2CFC6FF38}"/>
              </a:ext>
            </a:extLst>
          </p:cNvPr>
          <p:cNvSpPr/>
          <p:nvPr/>
        </p:nvSpPr>
        <p:spPr>
          <a:xfrm rot="10800000" flipH="1">
            <a:off x="389242" y="2436233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4681;p24">
            <a:extLst>
              <a:ext uri="{FF2B5EF4-FFF2-40B4-BE49-F238E27FC236}">
                <a16:creationId xmlns:a16="http://schemas.microsoft.com/office/drawing/2014/main" id="{5887654F-32A8-C954-1DC0-FC869FFE7650}"/>
              </a:ext>
            </a:extLst>
          </p:cNvPr>
          <p:cNvSpPr/>
          <p:nvPr/>
        </p:nvSpPr>
        <p:spPr>
          <a:xfrm rot="10800000" flipH="1">
            <a:off x="2326366" y="2436234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4682;p24">
            <a:extLst>
              <a:ext uri="{FF2B5EF4-FFF2-40B4-BE49-F238E27FC236}">
                <a16:creationId xmlns:a16="http://schemas.microsoft.com/office/drawing/2014/main" id="{AEB664FE-4508-17B2-1B71-5E336740FB46}"/>
              </a:ext>
            </a:extLst>
          </p:cNvPr>
          <p:cNvSpPr/>
          <p:nvPr/>
        </p:nvSpPr>
        <p:spPr>
          <a:xfrm rot="10800000" flipH="1">
            <a:off x="4268276" y="2449264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4683;p24">
            <a:extLst>
              <a:ext uri="{FF2B5EF4-FFF2-40B4-BE49-F238E27FC236}">
                <a16:creationId xmlns:a16="http://schemas.microsoft.com/office/drawing/2014/main" id="{3A3BE2CF-BA97-FAE1-B9EF-5ADE38D1A6D1}"/>
              </a:ext>
            </a:extLst>
          </p:cNvPr>
          <p:cNvSpPr/>
          <p:nvPr/>
        </p:nvSpPr>
        <p:spPr>
          <a:xfrm rot="10800000" flipH="1">
            <a:off x="389241" y="4408735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4684;p24">
            <a:extLst>
              <a:ext uri="{FF2B5EF4-FFF2-40B4-BE49-F238E27FC236}">
                <a16:creationId xmlns:a16="http://schemas.microsoft.com/office/drawing/2014/main" id="{D6665B9A-E767-05AD-32D8-4C081CF68785}"/>
              </a:ext>
            </a:extLst>
          </p:cNvPr>
          <p:cNvSpPr/>
          <p:nvPr/>
        </p:nvSpPr>
        <p:spPr>
          <a:xfrm rot="10800000" flipH="1">
            <a:off x="2332327" y="4408735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4685;p24">
            <a:extLst>
              <a:ext uri="{FF2B5EF4-FFF2-40B4-BE49-F238E27FC236}">
                <a16:creationId xmlns:a16="http://schemas.microsoft.com/office/drawing/2014/main" id="{7EDC1688-B263-8788-FFC4-4AA72B571F8E}"/>
              </a:ext>
            </a:extLst>
          </p:cNvPr>
          <p:cNvSpPr/>
          <p:nvPr/>
        </p:nvSpPr>
        <p:spPr>
          <a:xfrm rot="10800000" flipH="1">
            <a:off x="6196284" y="4408735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4686;p24">
            <a:extLst>
              <a:ext uri="{FF2B5EF4-FFF2-40B4-BE49-F238E27FC236}">
                <a16:creationId xmlns:a16="http://schemas.microsoft.com/office/drawing/2014/main" id="{2F97DADB-4918-6C25-C966-BE1C2CC72CBC}"/>
              </a:ext>
            </a:extLst>
          </p:cNvPr>
          <p:cNvSpPr/>
          <p:nvPr/>
        </p:nvSpPr>
        <p:spPr>
          <a:xfrm rot="10800000" flipH="1">
            <a:off x="4264306" y="4408736"/>
            <a:ext cx="1692352" cy="1642284"/>
          </a:xfrm>
          <a:prstGeom prst="snip1Rect">
            <a:avLst>
              <a:gd name="adj" fmla="val 1994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" name="Google Shape;4694;p24">
            <a:extLst>
              <a:ext uri="{FF2B5EF4-FFF2-40B4-BE49-F238E27FC236}">
                <a16:creationId xmlns:a16="http://schemas.microsoft.com/office/drawing/2014/main" id="{7E698AAA-F855-4FD7-5CD9-78ECC2E36B46}"/>
              </a:ext>
            </a:extLst>
          </p:cNvPr>
          <p:cNvGrpSpPr/>
          <p:nvPr/>
        </p:nvGrpSpPr>
        <p:grpSpPr>
          <a:xfrm>
            <a:off x="4827220" y="2748121"/>
            <a:ext cx="537466" cy="449863"/>
            <a:chOff x="2670175" y="2916238"/>
            <a:chExt cx="360363" cy="301626"/>
          </a:xfrm>
        </p:grpSpPr>
        <p:sp>
          <p:nvSpPr>
            <p:cNvPr id="23" name="Google Shape;4695;p24">
              <a:extLst>
                <a:ext uri="{FF2B5EF4-FFF2-40B4-BE49-F238E27FC236}">
                  <a16:creationId xmlns:a16="http://schemas.microsoft.com/office/drawing/2014/main" id="{317FDEB4-1757-51E1-4ADF-79C21573B875}"/>
                </a:ext>
              </a:extLst>
            </p:cNvPr>
            <p:cNvSpPr/>
            <p:nvPr/>
          </p:nvSpPr>
          <p:spPr>
            <a:xfrm>
              <a:off x="2970213" y="3067051"/>
              <a:ext cx="60325" cy="136525"/>
            </a:xfrm>
            <a:custGeom>
              <a:avLst/>
              <a:gdLst/>
              <a:ahLst/>
              <a:cxnLst/>
              <a:rect l="l" t="t" r="r" b="b"/>
              <a:pathLst>
                <a:path w="16" h="36" extrusionOk="0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5" y="36"/>
                    <a:pt x="16" y="35"/>
                    <a:pt x="16" y="3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4696;p24">
              <a:extLst>
                <a:ext uri="{FF2B5EF4-FFF2-40B4-BE49-F238E27FC236}">
                  <a16:creationId xmlns:a16="http://schemas.microsoft.com/office/drawing/2014/main" id="{1C581672-DE96-26D6-8491-30096DFD3E93}"/>
                </a:ext>
              </a:extLst>
            </p:cNvPr>
            <p:cNvSpPr/>
            <p:nvPr/>
          </p:nvSpPr>
          <p:spPr>
            <a:xfrm>
              <a:off x="2714625" y="2916238"/>
              <a:ext cx="225425" cy="196850"/>
            </a:xfrm>
            <a:custGeom>
              <a:avLst/>
              <a:gdLst/>
              <a:ahLst/>
              <a:cxnLst/>
              <a:rect l="l" t="t" r="r" b="b"/>
              <a:pathLst>
                <a:path w="60" h="52" extrusionOk="0">
                  <a:moveTo>
                    <a:pt x="58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" y="48"/>
                    <a:pt x="2" y="48"/>
                    <a:pt x="4" y="4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0"/>
                    <a:pt x="19" y="48"/>
                    <a:pt x="22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7"/>
                  </a:cubicBezTo>
                  <a:cubicBezTo>
                    <a:pt x="39" y="45"/>
                    <a:pt x="46" y="40"/>
                    <a:pt x="54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4697;p24">
              <a:extLst>
                <a:ext uri="{FF2B5EF4-FFF2-40B4-BE49-F238E27FC236}">
                  <a16:creationId xmlns:a16="http://schemas.microsoft.com/office/drawing/2014/main" id="{C8D84E88-6C0E-AAAA-1BEC-C521DE19B542}"/>
                </a:ext>
              </a:extLst>
            </p:cNvPr>
            <p:cNvSpPr/>
            <p:nvPr/>
          </p:nvSpPr>
          <p:spPr>
            <a:xfrm>
              <a:off x="2670175" y="3082926"/>
              <a:ext cx="285750" cy="134938"/>
            </a:xfrm>
            <a:custGeom>
              <a:avLst/>
              <a:gdLst/>
              <a:ahLst/>
              <a:cxnLst/>
              <a:rect l="l" t="t" r="r" b="b"/>
              <a:pathLst>
                <a:path w="76" h="36" extrusionOk="0">
                  <a:moveTo>
                    <a:pt x="7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9" y="0"/>
                    <a:pt x="53" y="4"/>
                    <a:pt x="50" y="6"/>
                  </a:cubicBezTo>
                  <a:cubicBezTo>
                    <a:pt x="49" y="7"/>
                    <a:pt x="48" y="8"/>
                    <a:pt x="48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0" y="10"/>
                    <a:pt x="30" y="11"/>
                    <a:pt x="30" y="12"/>
                  </a:cubicBezTo>
                  <a:cubicBezTo>
                    <a:pt x="30" y="14"/>
                    <a:pt x="31" y="16"/>
                    <a:pt x="34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7" y="16"/>
                    <a:pt x="58" y="17"/>
                    <a:pt x="58" y="18"/>
                  </a:cubicBezTo>
                  <a:cubicBezTo>
                    <a:pt x="58" y="19"/>
                    <a:pt x="57" y="20"/>
                    <a:pt x="56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29" y="20"/>
                    <a:pt x="26" y="16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9" y="7"/>
                    <a:pt x="5" y="8"/>
                    <a:pt x="1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9" y="20"/>
                    <a:pt x="16" y="24"/>
                    <a:pt x="21" y="26"/>
                  </a:cubicBezTo>
                  <a:cubicBezTo>
                    <a:pt x="33" y="33"/>
                    <a:pt x="39" y="36"/>
                    <a:pt x="45" y="36"/>
                  </a:cubicBezTo>
                  <a:cubicBezTo>
                    <a:pt x="51" y="36"/>
                    <a:pt x="56" y="34"/>
                    <a:pt x="67" y="30"/>
                  </a:cubicBezTo>
                  <a:cubicBezTo>
                    <a:pt x="70" y="29"/>
                    <a:pt x="73" y="28"/>
                    <a:pt x="76" y="27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4714;p24">
            <a:extLst>
              <a:ext uri="{FF2B5EF4-FFF2-40B4-BE49-F238E27FC236}">
                <a16:creationId xmlns:a16="http://schemas.microsoft.com/office/drawing/2014/main" id="{4404AB40-A3DB-8C0A-2582-2A167A5A18F7}"/>
              </a:ext>
            </a:extLst>
          </p:cNvPr>
          <p:cNvSpPr/>
          <p:nvPr/>
        </p:nvSpPr>
        <p:spPr>
          <a:xfrm>
            <a:off x="4502218" y="3422055"/>
            <a:ext cx="121652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</a:rPr>
              <a:t>Консолидация экспорта и импорта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36" name="Google Shape;4718;p24">
            <a:extLst>
              <a:ext uri="{FF2B5EF4-FFF2-40B4-BE49-F238E27FC236}">
                <a16:creationId xmlns:a16="http://schemas.microsoft.com/office/drawing/2014/main" id="{F0BAE907-6185-B85E-D894-C3A2C20ACD91}"/>
              </a:ext>
            </a:extLst>
          </p:cNvPr>
          <p:cNvSpPr txBox="1"/>
          <p:nvPr/>
        </p:nvSpPr>
        <p:spPr>
          <a:xfrm>
            <a:off x="460128" y="5195890"/>
            <a:ext cx="145001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Arial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</a:rPr>
              <a:t>Обработка скоропортящихся и температурно-чувствительных грузов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37" name="Google Shape;4720;p24">
            <a:extLst>
              <a:ext uri="{FF2B5EF4-FFF2-40B4-BE49-F238E27FC236}">
                <a16:creationId xmlns:a16="http://schemas.microsoft.com/office/drawing/2014/main" id="{7815E898-C92E-0F84-3947-4558E90FD96D}"/>
              </a:ext>
            </a:extLst>
          </p:cNvPr>
          <p:cNvSpPr txBox="1"/>
          <p:nvPr/>
        </p:nvSpPr>
        <p:spPr>
          <a:xfrm>
            <a:off x="6308023" y="5322401"/>
            <a:ext cx="1434795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Arial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</a:rPr>
              <a:t>Высокий уровень безопасности для ценных грузов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39" name="Google Shape;4733;p24">
            <a:extLst>
              <a:ext uri="{FF2B5EF4-FFF2-40B4-BE49-F238E27FC236}">
                <a16:creationId xmlns:a16="http://schemas.microsoft.com/office/drawing/2014/main" id="{718DB9C5-9421-F9DD-5DE0-E39BA0050B9A}"/>
              </a:ext>
            </a:extLst>
          </p:cNvPr>
          <p:cNvSpPr txBox="1"/>
          <p:nvPr/>
        </p:nvSpPr>
        <p:spPr>
          <a:xfrm>
            <a:off x="819358" y="3316742"/>
            <a:ext cx="832120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buClr>
                <a:srgbClr val="1F1F1F"/>
              </a:buClr>
              <a:buSzPts val="1000"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</a:rPr>
              <a:t>Доставка от двери до двери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40" name="Google Shape;4734;p24">
            <a:extLst>
              <a:ext uri="{FF2B5EF4-FFF2-40B4-BE49-F238E27FC236}">
                <a16:creationId xmlns:a16="http://schemas.microsoft.com/office/drawing/2014/main" id="{02512E85-F39A-D27E-A86B-5EF73A16276F}"/>
              </a:ext>
            </a:extLst>
          </p:cNvPr>
          <p:cNvSpPr/>
          <p:nvPr/>
        </p:nvSpPr>
        <p:spPr>
          <a:xfrm>
            <a:off x="2534713" y="3400821"/>
            <a:ext cx="118737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ctr"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  <a:sym typeface="Arial"/>
              </a:rPr>
              <a:t>Полные и частичные чартерные услуги 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41" name="Google Shape;4735;p24">
            <a:extLst>
              <a:ext uri="{FF2B5EF4-FFF2-40B4-BE49-F238E27FC236}">
                <a16:creationId xmlns:a16="http://schemas.microsoft.com/office/drawing/2014/main" id="{8939DD75-B495-FE46-C256-467E72EE0C4D}"/>
              </a:ext>
            </a:extLst>
          </p:cNvPr>
          <p:cNvSpPr/>
          <p:nvPr/>
        </p:nvSpPr>
        <p:spPr>
          <a:xfrm>
            <a:off x="2635703" y="5352838"/>
            <a:ext cx="106338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  <a:sym typeface="Arial"/>
              </a:rPr>
              <a:t>Обработка опасных грузов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432CB1B-7120-4853-F9D0-06DB5482855F}"/>
              </a:ext>
            </a:extLst>
          </p:cNvPr>
          <p:cNvGrpSpPr/>
          <p:nvPr/>
        </p:nvGrpSpPr>
        <p:grpSpPr>
          <a:xfrm>
            <a:off x="6792152" y="4729501"/>
            <a:ext cx="498647" cy="467563"/>
            <a:chOff x="6814367" y="5007210"/>
            <a:chExt cx="498647" cy="467563"/>
          </a:xfrm>
          <a:solidFill>
            <a:schemeClr val="accent2"/>
          </a:solidFill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53A875D-5B73-579A-50B0-D5DF6AAD010D}"/>
                </a:ext>
              </a:extLst>
            </p:cNvPr>
            <p:cNvSpPr/>
            <p:nvPr/>
          </p:nvSpPr>
          <p:spPr>
            <a:xfrm>
              <a:off x="6814367" y="5091553"/>
              <a:ext cx="370927" cy="383220"/>
            </a:xfrm>
            <a:custGeom>
              <a:avLst/>
              <a:gdLst>
                <a:gd name="connsiteX0" fmla="*/ -464 w 399092"/>
                <a:gd name="connsiteY0" fmla="*/ 203291 h 412318"/>
                <a:gd name="connsiteX1" fmla="*/ 6785 w 399092"/>
                <a:gd name="connsiteY1" fmla="*/ 194648 h 412318"/>
                <a:gd name="connsiteX2" fmla="*/ 28112 w 399092"/>
                <a:gd name="connsiteY2" fmla="*/ 197283 h 412318"/>
                <a:gd name="connsiteX3" fmla="*/ 31319 w 399092"/>
                <a:gd name="connsiteY3" fmla="*/ 207055 h 412318"/>
                <a:gd name="connsiteX4" fmla="*/ 31319 w 399092"/>
                <a:gd name="connsiteY4" fmla="*/ 223783 h 412318"/>
                <a:gd name="connsiteX5" fmla="*/ 45258 w 399092"/>
                <a:gd name="connsiteY5" fmla="*/ 223783 h 412318"/>
                <a:gd name="connsiteX6" fmla="*/ 93991 w 399092"/>
                <a:gd name="connsiteY6" fmla="*/ 268055 h 412318"/>
                <a:gd name="connsiteX7" fmla="*/ 94047 w 399092"/>
                <a:gd name="connsiteY7" fmla="*/ 270898 h 412318"/>
                <a:gd name="connsiteX8" fmla="*/ 110635 w 399092"/>
                <a:gd name="connsiteY8" fmla="*/ 286650 h 412318"/>
                <a:gd name="connsiteX9" fmla="*/ 163188 w 399092"/>
                <a:gd name="connsiteY9" fmla="*/ 286650 h 412318"/>
                <a:gd name="connsiteX10" fmla="*/ 171552 w 399092"/>
                <a:gd name="connsiteY10" fmla="*/ 282329 h 412318"/>
                <a:gd name="connsiteX11" fmla="*/ 222153 w 399092"/>
                <a:gd name="connsiteY11" fmla="*/ 155757 h 412318"/>
                <a:gd name="connsiteX12" fmla="*/ 193298 w 399092"/>
                <a:gd name="connsiteY12" fmla="*/ 150460 h 412318"/>
                <a:gd name="connsiteX13" fmla="*/ 56410 w 399092"/>
                <a:gd name="connsiteY13" fmla="*/ 126344 h 412318"/>
                <a:gd name="connsiteX14" fmla="*/ 40379 w 399092"/>
                <a:gd name="connsiteY14" fmla="*/ 103622 h 412318"/>
                <a:gd name="connsiteX15" fmla="*/ 58640 w 399092"/>
                <a:gd name="connsiteY15" fmla="*/ -367 h 412318"/>
                <a:gd name="connsiteX16" fmla="*/ 398629 w 399092"/>
                <a:gd name="connsiteY16" fmla="*/ 59573 h 412318"/>
                <a:gd name="connsiteX17" fmla="*/ 386223 w 399092"/>
                <a:gd name="connsiteY17" fmla="*/ 130944 h 412318"/>
                <a:gd name="connsiteX18" fmla="*/ 380089 w 399092"/>
                <a:gd name="connsiteY18" fmla="*/ 165375 h 412318"/>
                <a:gd name="connsiteX19" fmla="*/ 363111 w 399092"/>
                <a:gd name="connsiteY19" fmla="*/ 180096 h 412318"/>
                <a:gd name="connsiteX20" fmla="*/ 359180 w 399092"/>
                <a:gd name="connsiteY20" fmla="*/ 179315 h 412318"/>
                <a:gd name="connsiteX21" fmla="*/ 261602 w 399092"/>
                <a:gd name="connsiteY21" fmla="*/ 161891 h 412318"/>
                <a:gd name="connsiteX22" fmla="*/ 250366 w 399092"/>
                <a:gd name="connsiteY22" fmla="*/ 166700 h 412318"/>
                <a:gd name="connsiteX23" fmla="*/ 249893 w 399092"/>
                <a:gd name="connsiteY23" fmla="*/ 168303 h 412318"/>
                <a:gd name="connsiteX24" fmla="*/ 196782 w 399092"/>
                <a:gd name="connsiteY24" fmla="*/ 302263 h 412318"/>
                <a:gd name="connsiteX25" fmla="*/ 175037 w 399092"/>
                <a:gd name="connsiteY25" fmla="*/ 316900 h 412318"/>
                <a:gd name="connsiteX26" fmla="*/ 94047 w 399092"/>
                <a:gd name="connsiteY26" fmla="*/ 316900 h 412318"/>
                <a:gd name="connsiteX27" fmla="*/ 80108 w 399092"/>
                <a:gd name="connsiteY27" fmla="*/ 366385 h 412318"/>
                <a:gd name="connsiteX28" fmla="*/ 31597 w 399092"/>
                <a:gd name="connsiteY28" fmla="*/ 380325 h 412318"/>
                <a:gd name="connsiteX29" fmla="*/ 31597 w 399092"/>
                <a:gd name="connsiteY29" fmla="*/ 390083 h 412318"/>
                <a:gd name="connsiteX30" fmla="*/ 20446 w 399092"/>
                <a:gd name="connsiteY30" fmla="*/ 410992 h 412318"/>
                <a:gd name="connsiteX31" fmla="*/ 373 w 399092"/>
                <a:gd name="connsiteY31" fmla="*/ 400677 h 412318"/>
                <a:gd name="connsiteX32" fmla="*/ 327955 w 399092"/>
                <a:gd name="connsiteY32" fmla="*/ 95956 h 412318"/>
                <a:gd name="connsiteX33" fmla="*/ 343330 w 399092"/>
                <a:gd name="connsiteY33" fmla="*/ 112614 h 412318"/>
                <a:gd name="connsiteX34" fmla="*/ 359877 w 399092"/>
                <a:gd name="connsiteY34" fmla="*/ 98604 h 412318"/>
                <a:gd name="connsiteX35" fmla="*/ 345979 w 399092"/>
                <a:gd name="connsiteY35" fmla="*/ 80692 h 412318"/>
                <a:gd name="connsiteX36" fmla="*/ 328066 w 399092"/>
                <a:gd name="connsiteY36" fmla="*/ 94576 h 412318"/>
                <a:gd name="connsiteX37" fmla="*/ 327955 w 399092"/>
                <a:gd name="connsiteY37" fmla="*/ 95956 h 41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99092" h="412318">
                  <a:moveTo>
                    <a:pt x="-464" y="203291"/>
                  </a:moveTo>
                  <a:cubicBezTo>
                    <a:pt x="1571" y="200113"/>
                    <a:pt x="4011" y="197214"/>
                    <a:pt x="6785" y="194648"/>
                  </a:cubicBezTo>
                  <a:cubicBezTo>
                    <a:pt x="13406" y="189491"/>
                    <a:pt x="22955" y="190662"/>
                    <a:pt x="28112" y="197283"/>
                  </a:cubicBezTo>
                  <a:cubicBezTo>
                    <a:pt x="30287" y="200071"/>
                    <a:pt x="31416" y="203528"/>
                    <a:pt x="31319" y="207055"/>
                  </a:cubicBezTo>
                  <a:cubicBezTo>
                    <a:pt x="31319" y="212213"/>
                    <a:pt x="31319" y="217510"/>
                    <a:pt x="31319" y="223783"/>
                  </a:cubicBezTo>
                  <a:lnTo>
                    <a:pt x="45258" y="223783"/>
                  </a:lnTo>
                  <a:cubicBezTo>
                    <a:pt x="70935" y="222542"/>
                    <a:pt x="92765" y="242364"/>
                    <a:pt x="93991" y="268055"/>
                  </a:cubicBezTo>
                  <a:cubicBezTo>
                    <a:pt x="94047" y="269003"/>
                    <a:pt x="94061" y="269951"/>
                    <a:pt x="94047" y="270898"/>
                  </a:cubicBezTo>
                  <a:cubicBezTo>
                    <a:pt x="94047" y="286650"/>
                    <a:pt x="94047" y="286650"/>
                    <a:pt x="110635" y="286650"/>
                  </a:cubicBezTo>
                  <a:cubicBezTo>
                    <a:pt x="127224" y="286650"/>
                    <a:pt x="145763" y="286650"/>
                    <a:pt x="163188" y="286650"/>
                  </a:cubicBezTo>
                  <a:cubicBezTo>
                    <a:pt x="166492" y="286595"/>
                    <a:pt x="169586" y="284992"/>
                    <a:pt x="171552" y="282329"/>
                  </a:cubicBezTo>
                  <a:cubicBezTo>
                    <a:pt x="188558" y="240510"/>
                    <a:pt x="205007" y="198691"/>
                    <a:pt x="222153" y="155757"/>
                  </a:cubicBezTo>
                  <a:lnTo>
                    <a:pt x="193298" y="150460"/>
                  </a:lnTo>
                  <a:lnTo>
                    <a:pt x="56410" y="126344"/>
                  </a:lnTo>
                  <a:cubicBezTo>
                    <a:pt x="42470" y="123835"/>
                    <a:pt x="37870" y="117980"/>
                    <a:pt x="40379" y="103622"/>
                  </a:cubicBezTo>
                  <a:cubicBezTo>
                    <a:pt x="46234" y="69471"/>
                    <a:pt x="52368" y="35318"/>
                    <a:pt x="58640" y="-367"/>
                  </a:cubicBezTo>
                  <a:lnTo>
                    <a:pt x="398629" y="59573"/>
                  </a:lnTo>
                  <a:cubicBezTo>
                    <a:pt x="394447" y="83968"/>
                    <a:pt x="390405" y="107386"/>
                    <a:pt x="386223" y="130944"/>
                  </a:cubicBezTo>
                  <a:cubicBezTo>
                    <a:pt x="384271" y="142375"/>
                    <a:pt x="382180" y="153805"/>
                    <a:pt x="380089" y="165375"/>
                  </a:cubicBezTo>
                  <a:cubicBezTo>
                    <a:pt x="379462" y="174129"/>
                    <a:pt x="371865" y="180723"/>
                    <a:pt x="363111" y="180096"/>
                  </a:cubicBezTo>
                  <a:cubicBezTo>
                    <a:pt x="361772" y="180012"/>
                    <a:pt x="360448" y="179747"/>
                    <a:pt x="359180" y="179315"/>
                  </a:cubicBezTo>
                  <a:cubicBezTo>
                    <a:pt x="326700" y="173600"/>
                    <a:pt x="294082" y="167885"/>
                    <a:pt x="261602" y="161891"/>
                  </a:cubicBezTo>
                  <a:cubicBezTo>
                    <a:pt x="257169" y="160120"/>
                    <a:pt x="252137" y="162267"/>
                    <a:pt x="250366" y="166700"/>
                  </a:cubicBezTo>
                  <a:cubicBezTo>
                    <a:pt x="250158" y="167215"/>
                    <a:pt x="249990" y="167759"/>
                    <a:pt x="249893" y="168303"/>
                  </a:cubicBezTo>
                  <a:cubicBezTo>
                    <a:pt x="232468" y="213049"/>
                    <a:pt x="214625" y="257656"/>
                    <a:pt x="196782" y="302263"/>
                  </a:cubicBezTo>
                  <a:cubicBezTo>
                    <a:pt x="191764" y="315087"/>
                    <a:pt x="188976" y="316900"/>
                    <a:pt x="175037" y="316900"/>
                  </a:cubicBezTo>
                  <a:lnTo>
                    <a:pt x="94047" y="316900"/>
                  </a:lnTo>
                  <a:cubicBezTo>
                    <a:pt x="96905" y="334645"/>
                    <a:pt x="91817" y="352752"/>
                    <a:pt x="80108" y="366385"/>
                  </a:cubicBezTo>
                  <a:cubicBezTo>
                    <a:pt x="66837" y="378067"/>
                    <a:pt x="49036" y="383183"/>
                    <a:pt x="31597" y="380325"/>
                  </a:cubicBezTo>
                  <a:cubicBezTo>
                    <a:pt x="31597" y="384228"/>
                    <a:pt x="31597" y="387156"/>
                    <a:pt x="31597" y="390083"/>
                  </a:cubicBezTo>
                  <a:cubicBezTo>
                    <a:pt x="31597" y="402768"/>
                    <a:pt x="28670" y="408344"/>
                    <a:pt x="20446" y="410992"/>
                  </a:cubicBezTo>
                  <a:cubicBezTo>
                    <a:pt x="12221" y="413641"/>
                    <a:pt x="7482" y="410992"/>
                    <a:pt x="373" y="400677"/>
                  </a:cubicBezTo>
                  <a:close/>
                  <a:moveTo>
                    <a:pt x="327955" y="95956"/>
                  </a:moveTo>
                  <a:cubicBezTo>
                    <a:pt x="327606" y="104808"/>
                    <a:pt x="334492" y="112265"/>
                    <a:pt x="343330" y="112614"/>
                  </a:cubicBezTo>
                  <a:cubicBezTo>
                    <a:pt x="351652" y="112934"/>
                    <a:pt x="358831" y="106857"/>
                    <a:pt x="359877" y="98604"/>
                  </a:cubicBezTo>
                  <a:cubicBezTo>
                    <a:pt x="360992" y="89822"/>
                    <a:pt x="354775" y="81793"/>
                    <a:pt x="345979" y="80692"/>
                  </a:cubicBezTo>
                  <a:cubicBezTo>
                    <a:pt x="337197" y="79577"/>
                    <a:pt x="329182" y="85794"/>
                    <a:pt x="328066" y="94576"/>
                  </a:cubicBezTo>
                  <a:cubicBezTo>
                    <a:pt x="328011" y="95036"/>
                    <a:pt x="327969" y="95496"/>
                    <a:pt x="327955" y="95956"/>
                  </a:cubicBezTo>
                  <a:close/>
                </a:path>
              </a:pathLst>
            </a:custGeom>
            <a:solidFill>
              <a:schemeClr val="accent2"/>
            </a:solidFill>
            <a:ln w="139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0C0CF5B-F261-C617-B177-FD2262B88BE6}"/>
                </a:ext>
              </a:extLst>
            </p:cNvPr>
            <p:cNvSpPr/>
            <p:nvPr/>
          </p:nvSpPr>
          <p:spPr>
            <a:xfrm>
              <a:off x="6873964" y="5007210"/>
              <a:ext cx="439050" cy="123088"/>
            </a:xfrm>
            <a:custGeom>
              <a:avLst/>
              <a:gdLst>
                <a:gd name="connsiteX0" fmla="*/ -464 w 472387"/>
                <a:gd name="connsiteY0" fmla="*/ 58040 h 132434"/>
                <a:gd name="connsiteX1" fmla="*/ 8457 w 472387"/>
                <a:gd name="connsiteY1" fmla="*/ 10087 h 132434"/>
                <a:gd name="connsiteX2" fmla="*/ 27694 w 472387"/>
                <a:gd name="connsiteY2" fmla="*/ 51 h 132434"/>
                <a:gd name="connsiteX3" fmla="*/ 154824 w 472387"/>
                <a:gd name="connsiteY3" fmla="*/ 22354 h 132434"/>
                <a:gd name="connsiteX4" fmla="*/ 455085 w 472387"/>
                <a:gd name="connsiteY4" fmla="*/ 74767 h 132434"/>
                <a:gd name="connsiteX5" fmla="*/ 470279 w 472387"/>
                <a:gd name="connsiteY5" fmla="*/ 99719 h 132434"/>
                <a:gd name="connsiteX6" fmla="*/ 417029 w 472387"/>
                <a:gd name="connsiteY6" fmla="*/ 131223 h 132434"/>
                <a:gd name="connsiteX7" fmla="*/ 159563 w 472387"/>
                <a:gd name="connsiteY7" fmla="*/ 85780 h 132434"/>
                <a:gd name="connsiteX8" fmla="*/ 12640 w 472387"/>
                <a:gd name="connsiteY8" fmla="*/ 60828 h 13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2387" h="132434">
                  <a:moveTo>
                    <a:pt x="-464" y="58040"/>
                  </a:moveTo>
                  <a:cubicBezTo>
                    <a:pt x="2603" y="41451"/>
                    <a:pt x="4973" y="25700"/>
                    <a:pt x="8457" y="10087"/>
                  </a:cubicBezTo>
                  <a:cubicBezTo>
                    <a:pt x="10409" y="1724"/>
                    <a:pt x="18076" y="-1622"/>
                    <a:pt x="27694" y="51"/>
                  </a:cubicBezTo>
                  <a:lnTo>
                    <a:pt x="154824" y="22354"/>
                  </a:lnTo>
                  <a:lnTo>
                    <a:pt x="455085" y="74767"/>
                  </a:lnTo>
                  <a:cubicBezTo>
                    <a:pt x="470279" y="77555"/>
                    <a:pt x="474739" y="85083"/>
                    <a:pt x="470279" y="99719"/>
                  </a:cubicBezTo>
                  <a:cubicBezTo>
                    <a:pt x="463030" y="122162"/>
                    <a:pt x="440183" y="135670"/>
                    <a:pt x="417029" y="131223"/>
                  </a:cubicBezTo>
                  <a:lnTo>
                    <a:pt x="159563" y="85780"/>
                  </a:lnTo>
                  <a:lnTo>
                    <a:pt x="12640" y="60828"/>
                  </a:lnTo>
                  <a:close/>
                </a:path>
              </a:pathLst>
            </a:custGeom>
            <a:grpFill/>
            <a:ln w="139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A3F76D3-43C9-76F0-6BB4-73B560FA94A1}"/>
                </a:ext>
              </a:extLst>
            </p:cNvPr>
            <p:cNvSpPr/>
            <p:nvPr/>
          </p:nvSpPr>
          <p:spPr>
            <a:xfrm>
              <a:off x="7199287" y="5152058"/>
              <a:ext cx="71905" cy="93322"/>
            </a:xfrm>
            <a:custGeom>
              <a:avLst/>
              <a:gdLst>
                <a:gd name="connsiteX0" fmla="*/ -464 w 77365"/>
                <a:gd name="connsiteY0" fmla="*/ 91913 h 100408"/>
                <a:gd name="connsiteX1" fmla="*/ 15706 w 77365"/>
                <a:gd name="connsiteY1" fmla="*/ -367 h 100408"/>
                <a:gd name="connsiteX2" fmla="*/ 76902 w 77365"/>
                <a:gd name="connsiteY2" fmla="*/ 10366 h 100408"/>
                <a:gd name="connsiteX3" fmla="*/ 62962 w 77365"/>
                <a:gd name="connsiteY3" fmla="*/ 87174 h 100408"/>
                <a:gd name="connsiteX4" fmla="*/ 47991 w 77365"/>
                <a:gd name="connsiteY4" fmla="*/ 99998 h 100408"/>
                <a:gd name="connsiteX5" fmla="*/ 46095 w 77365"/>
                <a:gd name="connsiteY5" fmla="*/ 99719 h 100408"/>
                <a:gd name="connsiteX6" fmla="*/ -464 w 77365"/>
                <a:gd name="connsiteY6" fmla="*/ 91913 h 100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65" h="100408">
                  <a:moveTo>
                    <a:pt x="-464" y="91913"/>
                  </a:moveTo>
                  <a:lnTo>
                    <a:pt x="15706" y="-367"/>
                  </a:lnTo>
                  <a:lnTo>
                    <a:pt x="76902" y="10366"/>
                  </a:lnTo>
                  <a:cubicBezTo>
                    <a:pt x="72301" y="36573"/>
                    <a:pt x="67980" y="61943"/>
                    <a:pt x="62962" y="87174"/>
                  </a:cubicBezTo>
                  <a:cubicBezTo>
                    <a:pt x="62363" y="94854"/>
                    <a:pt x="55671" y="100597"/>
                    <a:pt x="47991" y="99998"/>
                  </a:cubicBezTo>
                  <a:cubicBezTo>
                    <a:pt x="47349" y="99942"/>
                    <a:pt x="46722" y="99859"/>
                    <a:pt x="46095" y="99719"/>
                  </a:cubicBezTo>
                  <a:cubicBezTo>
                    <a:pt x="31180" y="97628"/>
                    <a:pt x="15985" y="94701"/>
                    <a:pt x="-464" y="91913"/>
                  </a:cubicBezTo>
                  <a:close/>
                </a:path>
              </a:pathLst>
            </a:custGeom>
            <a:grpFill/>
            <a:ln w="139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13ED6E0-4500-5DE9-CCF2-BE252EA678AB}"/>
              </a:ext>
            </a:extLst>
          </p:cNvPr>
          <p:cNvGrpSpPr/>
          <p:nvPr/>
        </p:nvGrpSpPr>
        <p:grpSpPr>
          <a:xfrm>
            <a:off x="2959058" y="2675713"/>
            <a:ext cx="518797" cy="575335"/>
            <a:chOff x="10781572" y="3027282"/>
            <a:chExt cx="518797" cy="575335"/>
          </a:xfrm>
          <a:solidFill>
            <a:schemeClr val="accent2"/>
          </a:solidFill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BAF0E31-CEFE-CBDF-05A5-00524F2C8828}"/>
                </a:ext>
              </a:extLst>
            </p:cNvPr>
            <p:cNvGrpSpPr/>
            <p:nvPr/>
          </p:nvGrpSpPr>
          <p:grpSpPr>
            <a:xfrm>
              <a:off x="10781572" y="3094588"/>
              <a:ext cx="508030" cy="508029"/>
              <a:chOff x="3390900" y="3609976"/>
              <a:chExt cx="361951" cy="361950"/>
            </a:xfrm>
            <a:grpFill/>
          </p:grpSpPr>
          <p:sp>
            <p:nvSpPr>
              <p:cNvPr id="60" name="Freeform 75">
                <a:extLst>
                  <a:ext uri="{FF2B5EF4-FFF2-40B4-BE49-F238E27FC236}">
                    <a16:creationId xmlns:a16="http://schemas.microsoft.com/office/drawing/2014/main" id="{F89B3A49-B916-77DA-7778-4C615EA76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5663" y="3609976"/>
                <a:ext cx="101600" cy="60325"/>
              </a:xfrm>
              <a:custGeom>
                <a:avLst/>
                <a:gdLst>
                  <a:gd name="T0" fmla="*/ 27 w 27"/>
                  <a:gd name="T1" fmla="*/ 16 h 16"/>
                  <a:gd name="T2" fmla="*/ 27 w 27"/>
                  <a:gd name="T3" fmla="*/ 0 h 16"/>
                  <a:gd name="T4" fmla="*/ 17 w 27"/>
                  <a:gd name="T5" fmla="*/ 0 h 16"/>
                  <a:gd name="T6" fmla="*/ 16 w 27"/>
                  <a:gd name="T7" fmla="*/ 1 h 16"/>
                  <a:gd name="T8" fmla="*/ 0 w 27"/>
                  <a:gd name="T9" fmla="*/ 16 h 16"/>
                  <a:gd name="T10" fmla="*/ 27 w 27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6">
                    <a:moveTo>
                      <a:pt x="27" y="16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6" y="0"/>
                      <a:pt x="16" y="1"/>
                    </a:cubicBezTo>
                    <a:cubicBezTo>
                      <a:pt x="0" y="16"/>
                      <a:pt x="0" y="16"/>
                      <a:pt x="0" y="16"/>
                    </a:cubicBezTo>
                    <a:lnTo>
                      <a:pt x="27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61" name="Freeform 76">
                <a:extLst>
                  <a:ext uri="{FF2B5EF4-FFF2-40B4-BE49-F238E27FC236}">
                    <a16:creationId xmlns:a16="http://schemas.microsoft.com/office/drawing/2014/main" id="{0B6F3864-3893-36D6-56E1-F3D928A6B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1550" y="3609976"/>
                <a:ext cx="101600" cy="60325"/>
              </a:xfrm>
              <a:custGeom>
                <a:avLst/>
                <a:gdLst>
                  <a:gd name="T0" fmla="*/ 0 w 27"/>
                  <a:gd name="T1" fmla="*/ 16 h 16"/>
                  <a:gd name="T2" fmla="*/ 27 w 27"/>
                  <a:gd name="T3" fmla="*/ 16 h 16"/>
                  <a:gd name="T4" fmla="*/ 11 w 27"/>
                  <a:gd name="T5" fmla="*/ 1 h 16"/>
                  <a:gd name="T6" fmla="*/ 10 w 27"/>
                  <a:gd name="T7" fmla="*/ 0 h 16"/>
                  <a:gd name="T8" fmla="*/ 0 w 27"/>
                  <a:gd name="T9" fmla="*/ 0 h 16"/>
                  <a:gd name="T10" fmla="*/ 0 w 27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6">
                    <a:moveTo>
                      <a:pt x="0" y="16"/>
                    </a:moveTo>
                    <a:cubicBezTo>
                      <a:pt x="27" y="16"/>
                      <a:pt x="27" y="16"/>
                      <a:pt x="27" y="1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1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62" name="Freeform 77">
                <a:extLst>
                  <a:ext uri="{FF2B5EF4-FFF2-40B4-BE49-F238E27FC236}">
                    <a16:creationId xmlns:a16="http://schemas.microsoft.com/office/drawing/2014/main" id="{633B0608-E00D-420C-2D4D-CAD236D51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0900" y="3684588"/>
                <a:ext cx="225425" cy="166688"/>
              </a:xfrm>
              <a:custGeom>
                <a:avLst/>
                <a:gdLst>
                  <a:gd name="T0" fmla="*/ 35 w 60"/>
                  <a:gd name="T1" fmla="*/ 41 h 44"/>
                  <a:gd name="T2" fmla="*/ 41 w 60"/>
                  <a:gd name="T3" fmla="*/ 40 h 44"/>
                  <a:gd name="T4" fmla="*/ 49 w 60"/>
                  <a:gd name="T5" fmla="*/ 44 h 44"/>
                  <a:gd name="T6" fmla="*/ 51 w 60"/>
                  <a:gd name="T7" fmla="*/ 43 h 44"/>
                  <a:gd name="T8" fmla="*/ 46 w 60"/>
                  <a:gd name="T9" fmla="*/ 40 h 44"/>
                  <a:gd name="T10" fmla="*/ 44 w 60"/>
                  <a:gd name="T11" fmla="*/ 34 h 44"/>
                  <a:gd name="T12" fmla="*/ 47 w 60"/>
                  <a:gd name="T13" fmla="*/ 29 h 44"/>
                  <a:gd name="T14" fmla="*/ 55 w 60"/>
                  <a:gd name="T15" fmla="*/ 25 h 44"/>
                  <a:gd name="T16" fmla="*/ 60 w 60"/>
                  <a:gd name="T17" fmla="*/ 25 h 44"/>
                  <a:gd name="T18" fmla="*/ 60 w 60"/>
                  <a:gd name="T19" fmla="*/ 0 h 44"/>
                  <a:gd name="T20" fmla="*/ 0 w 60"/>
                  <a:gd name="T21" fmla="*/ 0 h 44"/>
                  <a:gd name="T22" fmla="*/ 0 w 60"/>
                  <a:gd name="T23" fmla="*/ 42 h 44"/>
                  <a:gd name="T24" fmla="*/ 2 w 60"/>
                  <a:gd name="T25" fmla="*/ 44 h 44"/>
                  <a:gd name="T26" fmla="*/ 29 w 60"/>
                  <a:gd name="T27" fmla="*/ 44 h 44"/>
                  <a:gd name="T28" fmla="*/ 35 w 60"/>
                  <a:gd name="T2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" h="44">
                    <a:moveTo>
                      <a:pt x="35" y="41"/>
                    </a:moveTo>
                    <a:cubicBezTo>
                      <a:pt x="37" y="40"/>
                      <a:pt x="39" y="39"/>
                      <a:pt x="41" y="40"/>
                    </a:cubicBezTo>
                    <a:cubicBezTo>
                      <a:pt x="49" y="44"/>
                      <a:pt x="49" y="44"/>
                      <a:pt x="49" y="44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46" y="40"/>
                      <a:pt x="46" y="40"/>
                      <a:pt x="46" y="40"/>
                    </a:cubicBezTo>
                    <a:cubicBezTo>
                      <a:pt x="45" y="39"/>
                      <a:pt x="44" y="36"/>
                      <a:pt x="44" y="34"/>
                    </a:cubicBezTo>
                    <a:cubicBezTo>
                      <a:pt x="44" y="32"/>
                      <a:pt x="45" y="30"/>
                      <a:pt x="47" y="29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56" y="24"/>
                      <a:pt x="58" y="24"/>
                      <a:pt x="60" y="25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3"/>
                      <a:pt x="1" y="44"/>
                      <a:pt x="2" y="44"/>
                    </a:cubicBezTo>
                    <a:cubicBezTo>
                      <a:pt x="29" y="44"/>
                      <a:pt x="29" y="44"/>
                      <a:pt x="29" y="44"/>
                    </a:cubicBezTo>
                    <a:lnTo>
                      <a:pt x="35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63" name="Freeform 78">
                <a:extLst>
                  <a:ext uri="{FF2B5EF4-FFF2-40B4-BE49-F238E27FC236}">
                    <a16:creationId xmlns:a16="http://schemas.microsoft.com/office/drawing/2014/main" id="{F9D2ADA7-1BC5-2D97-27CE-C0457D1D0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8700" y="3794126"/>
                <a:ext cx="82550" cy="46038"/>
              </a:xfrm>
              <a:custGeom>
                <a:avLst/>
                <a:gdLst>
                  <a:gd name="T0" fmla="*/ 8 w 22"/>
                  <a:gd name="T1" fmla="*/ 12 h 12"/>
                  <a:gd name="T2" fmla="*/ 22 w 22"/>
                  <a:gd name="T3" fmla="*/ 7 h 12"/>
                  <a:gd name="T4" fmla="*/ 11 w 22"/>
                  <a:gd name="T5" fmla="*/ 0 h 12"/>
                  <a:gd name="T6" fmla="*/ 9 w 22"/>
                  <a:gd name="T7" fmla="*/ 0 h 12"/>
                  <a:gd name="T8" fmla="*/ 1 w 22"/>
                  <a:gd name="T9" fmla="*/ 4 h 12"/>
                  <a:gd name="T10" fmla="*/ 0 w 22"/>
                  <a:gd name="T11" fmla="*/ 6 h 12"/>
                  <a:gd name="T12" fmla="*/ 1 w 22"/>
                  <a:gd name="T13" fmla="*/ 7 h 12"/>
                  <a:gd name="T14" fmla="*/ 8 w 22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2">
                    <a:moveTo>
                      <a:pt x="8" y="12"/>
                    </a:moveTo>
                    <a:cubicBezTo>
                      <a:pt x="22" y="7"/>
                      <a:pt x="22" y="7"/>
                      <a:pt x="22" y="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6"/>
                      <a:pt x="1" y="7"/>
                      <a:pt x="1" y="7"/>
                    </a:cubicBezTo>
                    <a:lnTo>
                      <a:pt x="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64" name="Freeform 79">
                <a:extLst>
                  <a:ext uri="{FF2B5EF4-FFF2-40B4-BE49-F238E27FC236}">
                    <a16:creationId xmlns:a16="http://schemas.microsoft.com/office/drawing/2014/main" id="{B00AA969-58A1-5789-0D25-A85566EB9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263" y="3805238"/>
                <a:ext cx="255588" cy="166688"/>
              </a:xfrm>
              <a:custGeom>
                <a:avLst/>
                <a:gdLst>
                  <a:gd name="T0" fmla="*/ 67 w 68"/>
                  <a:gd name="T1" fmla="*/ 5 h 44"/>
                  <a:gd name="T2" fmla="*/ 58 w 68"/>
                  <a:gd name="T3" fmla="*/ 1 h 44"/>
                  <a:gd name="T4" fmla="*/ 20 w 68"/>
                  <a:gd name="T5" fmla="*/ 16 h 44"/>
                  <a:gd name="T6" fmla="*/ 11 w 68"/>
                  <a:gd name="T7" fmla="*/ 12 h 44"/>
                  <a:gd name="T8" fmla="*/ 9 w 68"/>
                  <a:gd name="T9" fmla="*/ 12 h 44"/>
                  <a:gd name="T10" fmla="*/ 1 w 68"/>
                  <a:gd name="T11" fmla="*/ 16 h 44"/>
                  <a:gd name="T12" fmla="*/ 0 w 68"/>
                  <a:gd name="T13" fmla="*/ 18 h 44"/>
                  <a:gd name="T14" fmla="*/ 1 w 68"/>
                  <a:gd name="T15" fmla="*/ 20 h 44"/>
                  <a:gd name="T16" fmla="*/ 19 w 68"/>
                  <a:gd name="T17" fmla="*/ 31 h 44"/>
                  <a:gd name="T18" fmla="*/ 21 w 68"/>
                  <a:gd name="T19" fmla="*/ 31 h 44"/>
                  <a:gd name="T20" fmla="*/ 34 w 68"/>
                  <a:gd name="T21" fmla="*/ 26 h 44"/>
                  <a:gd name="T22" fmla="*/ 28 w 68"/>
                  <a:gd name="T23" fmla="*/ 41 h 44"/>
                  <a:gd name="T24" fmla="*/ 29 w 68"/>
                  <a:gd name="T25" fmla="*/ 43 h 44"/>
                  <a:gd name="T26" fmla="*/ 30 w 68"/>
                  <a:gd name="T27" fmla="*/ 44 h 44"/>
                  <a:gd name="T28" fmla="*/ 31 w 68"/>
                  <a:gd name="T29" fmla="*/ 44 h 44"/>
                  <a:gd name="T30" fmla="*/ 40 w 68"/>
                  <a:gd name="T31" fmla="*/ 39 h 44"/>
                  <a:gd name="T32" fmla="*/ 41 w 68"/>
                  <a:gd name="T33" fmla="*/ 38 h 44"/>
                  <a:gd name="T34" fmla="*/ 51 w 68"/>
                  <a:gd name="T35" fmla="*/ 19 h 44"/>
                  <a:gd name="T36" fmla="*/ 64 w 68"/>
                  <a:gd name="T37" fmla="*/ 14 h 44"/>
                  <a:gd name="T38" fmla="*/ 68 w 68"/>
                  <a:gd name="T39" fmla="*/ 10 h 44"/>
                  <a:gd name="T40" fmla="*/ 67 w 68"/>
                  <a:gd name="T41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" h="44">
                    <a:moveTo>
                      <a:pt x="67" y="5"/>
                    </a:moveTo>
                    <a:cubicBezTo>
                      <a:pt x="66" y="1"/>
                      <a:pt x="62" y="0"/>
                      <a:pt x="58" y="1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0" y="12"/>
                      <a:pt x="10" y="12"/>
                      <a:pt x="9" y="12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7"/>
                      <a:pt x="0" y="17"/>
                      <a:pt x="0" y="18"/>
                    </a:cubicBezTo>
                    <a:cubicBezTo>
                      <a:pt x="0" y="19"/>
                      <a:pt x="1" y="19"/>
                      <a:pt x="1" y="20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0" y="32"/>
                      <a:pt x="20" y="32"/>
                      <a:pt x="21" y="31"/>
                    </a:cubicBezTo>
                    <a:cubicBezTo>
                      <a:pt x="34" y="26"/>
                      <a:pt x="34" y="26"/>
                      <a:pt x="34" y="26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2"/>
                      <a:pt x="28" y="43"/>
                      <a:pt x="29" y="43"/>
                    </a:cubicBezTo>
                    <a:cubicBezTo>
                      <a:pt x="29" y="44"/>
                      <a:pt x="30" y="44"/>
                      <a:pt x="30" y="4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0" y="39"/>
                      <a:pt x="41" y="39"/>
                      <a:pt x="41" y="38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64" y="14"/>
                      <a:pt x="64" y="14"/>
                      <a:pt x="64" y="14"/>
                    </a:cubicBezTo>
                    <a:cubicBezTo>
                      <a:pt x="66" y="13"/>
                      <a:pt x="67" y="12"/>
                      <a:pt x="68" y="10"/>
                    </a:cubicBezTo>
                    <a:cubicBezTo>
                      <a:pt x="68" y="8"/>
                      <a:pt x="68" y="6"/>
                      <a:pt x="6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</p:grpSp>
        <p:sp>
          <p:nvSpPr>
            <p:cNvPr id="58" name="Google Shape;9438;p29">
              <a:extLst>
                <a:ext uri="{FF2B5EF4-FFF2-40B4-BE49-F238E27FC236}">
                  <a16:creationId xmlns:a16="http://schemas.microsoft.com/office/drawing/2014/main" id="{312DCCF9-55EE-2660-FD30-3798C1CBE073}"/>
                </a:ext>
              </a:extLst>
            </p:cNvPr>
            <p:cNvSpPr/>
            <p:nvPr/>
          </p:nvSpPr>
          <p:spPr>
            <a:xfrm>
              <a:off x="11136392" y="3027282"/>
              <a:ext cx="163977" cy="303956"/>
            </a:xfrm>
            <a:custGeom>
              <a:avLst/>
              <a:gdLst/>
              <a:ahLst/>
              <a:cxnLst/>
              <a:rect l="l" t="t" r="r" b="b"/>
              <a:pathLst>
                <a:path w="52" h="96" extrusionOk="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5"/>
                    <a:pt x="1" y="96"/>
                    <a:pt x="2" y="96"/>
                  </a:cubicBezTo>
                  <a:cubicBezTo>
                    <a:pt x="29" y="96"/>
                    <a:pt x="52" y="74"/>
                    <a:pt x="52" y="48"/>
                  </a:cubicBezTo>
                  <a:cubicBezTo>
                    <a:pt x="52" y="22"/>
                    <a:pt x="29" y="0"/>
                    <a:pt x="2" y="0"/>
                  </a:cubicBezTo>
                  <a:close/>
                  <a:moveTo>
                    <a:pt x="24" y="25"/>
                  </a:moveTo>
                  <a:cubicBezTo>
                    <a:pt x="29" y="20"/>
                    <a:pt x="29" y="20"/>
                    <a:pt x="29" y="20"/>
                  </a:cubicBezTo>
                  <a:cubicBezTo>
                    <a:pt x="30" y="19"/>
                    <a:pt x="32" y="19"/>
                    <a:pt x="32" y="20"/>
                  </a:cubicBezTo>
                  <a:cubicBezTo>
                    <a:pt x="33" y="20"/>
                    <a:pt x="33" y="22"/>
                    <a:pt x="32" y="23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6" y="29"/>
                    <a:pt x="26" y="29"/>
                    <a:pt x="25" y="29"/>
                  </a:cubicBezTo>
                  <a:cubicBezTo>
                    <a:pt x="25" y="29"/>
                    <a:pt x="24" y="29"/>
                    <a:pt x="24" y="28"/>
                  </a:cubicBezTo>
                  <a:cubicBezTo>
                    <a:pt x="23" y="27"/>
                    <a:pt x="23" y="26"/>
                    <a:pt x="24" y="25"/>
                  </a:cubicBezTo>
                  <a:close/>
                  <a:moveTo>
                    <a:pt x="32" y="76"/>
                  </a:moveTo>
                  <a:cubicBezTo>
                    <a:pt x="32" y="77"/>
                    <a:pt x="31" y="77"/>
                    <a:pt x="31" y="77"/>
                  </a:cubicBezTo>
                  <a:cubicBezTo>
                    <a:pt x="30" y="77"/>
                    <a:pt x="30" y="77"/>
                    <a:pt x="29" y="76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3" y="70"/>
                    <a:pt x="23" y="69"/>
                    <a:pt x="24" y="68"/>
                  </a:cubicBezTo>
                  <a:cubicBezTo>
                    <a:pt x="25" y="67"/>
                    <a:pt x="26" y="67"/>
                    <a:pt x="27" y="68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3" y="74"/>
                    <a:pt x="33" y="75"/>
                    <a:pt x="32" y="76"/>
                  </a:cubicBezTo>
                  <a:close/>
                  <a:moveTo>
                    <a:pt x="42" y="48"/>
                  </a:moveTo>
                  <a:cubicBezTo>
                    <a:pt x="34" y="48"/>
                    <a:pt x="34" y="48"/>
                    <a:pt x="34" y="48"/>
                  </a:cubicBezTo>
                  <a:cubicBezTo>
                    <a:pt x="33" y="48"/>
                    <a:pt x="32" y="47"/>
                    <a:pt x="32" y="46"/>
                  </a:cubicBezTo>
                  <a:cubicBezTo>
                    <a:pt x="32" y="45"/>
                    <a:pt x="33" y="44"/>
                    <a:pt x="34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4"/>
                    <a:pt x="44" y="45"/>
                    <a:pt x="44" y="46"/>
                  </a:cubicBezTo>
                  <a:cubicBezTo>
                    <a:pt x="44" y="47"/>
                    <a:pt x="43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9439;p29">
              <a:extLst>
                <a:ext uri="{FF2B5EF4-FFF2-40B4-BE49-F238E27FC236}">
                  <a16:creationId xmlns:a16="http://schemas.microsoft.com/office/drawing/2014/main" id="{B75B3DD2-3B54-FC2F-9130-CA5635E829EE}"/>
                </a:ext>
              </a:extLst>
            </p:cNvPr>
            <p:cNvSpPr/>
            <p:nvPr/>
          </p:nvSpPr>
          <p:spPr>
            <a:xfrm>
              <a:off x="10788257" y="3458021"/>
              <a:ext cx="105763" cy="106229"/>
            </a:xfrm>
            <a:custGeom>
              <a:avLst/>
              <a:gdLst/>
              <a:ahLst/>
              <a:cxnLst/>
              <a:rect l="l" t="t" r="r" b="b"/>
              <a:pathLst>
                <a:path w="96" h="96" extrusionOk="0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68" y="25"/>
                  </a:moveTo>
                  <a:cubicBezTo>
                    <a:pt x="73" y="20"/>
                    <a:pt x="73" y="20"/>
                    <a:pt x="73" y="20"/>
                  </a:cubicBezTo>
                  <a:cubicBezTo>
                    <a:pt x="74" y="19"/>
                    <a:pt x="76" y="19"/>
                    <a:pt x="76" y="20"/>
                  </a:cubicBezTo>
                  <a:cubicBezTo>
                    <a:pt x="77" y="20"/>
                    <a:pt x="77" y="22"/>
                    <a:pt x="76" y="23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0" y="29"/>
                    <a:pt x="70" y="29"/>
                    <a:pt x="69" y="29"/>
                  </a:cubicBezTo>
                  <a:cubicBezTo>
                    <a:pt x="69" y="29"/>
                    <a:pt x="68" y="29"/>
                    <a:pt x="68" y="28"/>
                  </a:cubicBezTo>
                  <a:cubicBezTo>
                    <a:pt x="67" y="27"/>
                    <a:pt x="67" y="26"/>
                    <a:pt x="68" y="25"/>
                  </a:cubicBezTo>
                  <a:close/>
                  <a:moveTo>
                    <a:pt x="10" y="48"/>
                  </a:move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9" y="44"/>
                    <a:pt x="20" y="45"/>
                    <a:pt x="20" y="46"/>
                  </a:cubicBezTo>
                  <a:cubicBezTo>
                    <a:pt x="20" y="47"/>
                    <a:pt x="19" y="48"/>
                    <a:pt x="18" y="48"/>
                  </a:cubicBezTo>
                  <a:lnTo>
                    <a:pt x="10" y="48"/>
                  </a:lnTo>
                  <a:close/>
                  <a:moveTo>
                    <a:pt x="28" y="71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2" y="77"/>
                    <a:pt x="22" y="77"/>
                    <a:pt x="21" y="77"/>
                  </a:cubicBezTo>
                  <a:cubicBezTo>
                    <a:pt x="21" y="77"/>
                    <a:pt x="20" y="77"/>
                    <a:pt x="20" y="76"/>
                  </a:cubicBezTo>
                  <a:cubicBezTo>
                    <a:pt x="19" y="75"/>
                    <a:pt x="19" y="74"/>
                    <a:pt x="20" y="73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6" y="67"/>
                    <a:pt x="27" y="67"/>
                    <a:pt x="28" y="68"/>
                  </a:cubicBezTo>
                  <a:cubicBezTo>
                    <a:pt x="29" y="69"/>
                    <a:pt x="29" y="70"/>
                    <a:pt x="28" y="71"/>
                  </a:cubicBezTo>
                  <a:close/>
                  <a:moveTo>
                    <a:pt x="28" y="28"/>
                  </a:moveTo>
                  <a:cubicBezTo>
                    <a:pt x="28" y="29"/>
                    <a:pt x="27" y="29"/>
                    <a:pt x="27" y="29"/>
                  </a:cubicBezTo>
                  <a:cubicBezTo>
                    <a:pt x="26" y="29"/>
                    <a:pt x="26" y="29"/>
                    <a:pt x="25" y="28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9" y="20"/>
                    <a:pt x="20" y="20"/>
                  </a:cubicBezTo>
                  <a:cubicBezTo>
                    <a:pt x="20" y="19"/>
                    <a:pt x="22" y="19"/>
                    <a:pt x="23" y="20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6"/>
                    <a:pt x="29" y="27"/>
                    <a:pt x="28" y="28"/>
                  </a:cubicBezTo>
                  <a:close/>
                  <a:moveTo>
                    <a:pt x="50" y="86"/>
                  </a:moveTo>
                  <a:cubicBezTo>
                    <a:pt x="50" y="87"/>
                    <a:pt x="49" y="88"/>
                    <a:pt x="48" y="88"/>
                  </a:cubicBezTo>
                  <a:cubicBezTo>
                    <a:pt x="47" y="88"/>
                    <a:pt x="46" y="87"/>
                    <a:pt x="46" y="86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7" y="76"/>
                    <a:pt x="48" y="76"/>
                  </a:cubicBezTo>
                  <a:cubicBezTo>
                    <a:pt x="49" y="76"/>
                    <a:pt x="50" y="77"/>
                    <a:pt x="50" y="78"/>
                  </a:cubicBezTo>
                  <a:lnTo>
                    <a:pt x="50" y="86"/>
                  </a:lnTo>
                  <a:close/>
                  <a:moveTo>
                    <a:pt x="50" y="18"/>
                  </a:move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9"/>
                    <a:pt x="47" y="8"/>
                    <a:pt x="48" y="8"/>
                  </a:cubicBezTo>
                  <a:cubicBezTo>
                    <a:pt x="49" y="8"/>
                    <a:pt x="50" y="9"/>
                    <a:pt x="50" y="10"/>
                  </a:cubicBezTo>
                  <a:lnTo>
                    <a:pt x="50" y="18"/>
                  </a:lnTo>
                  <a:close/>
                  <a:moveTo>
                    <a:pt x="76" y="76"/>
                  </a:moveTo>
                  <a:cubicBezTo>
                    <a:pt x="76" y="77"/>
                    <a:pt x="75" y="77"/>
                    <a:pt x="75" y="77"/>
                  </a:cubicBezTo>
                  <a:cubicBezTo>
                    <a:pt x="74" y="77"/>
                    <a:pt x="74" y="77"/>
                    <a:pt x="73" y="76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70"/>
                    <a:pt x="67" y="69"/>
                    <a:pt x="68" y="68"/>
                  </a:cubicBezTo>
                  <a:cubicBezTo>
                    <a:pt x="69" y="67"/>
                    <a:pt x="70" y="67"/>
                    <a:pt x="71" y="68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7" y="74"/>
                    <a:pt x="77" y="75"/>
                    <a:pt x="76" y="76"/>
                  </a:cubicBezTo>
                  <a:close/>
                  <a:moveTo>
                    <a:pt x="86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6" y="47"/>
                    <a:pt x="76" y="46"/>
                  </a:cubicBezTo>
                  <a:cubicBezTo>
                    <a:pt x="76" y="45"/>
                    <a:pt x="77" y="44"/>
                    <a:pt x="78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724E18B-74D5-6C7D-C2C4-9F6717775F82}"/>
              </a:ext>
            </a:extLst>
          </p:cNvPr>
          <p:cNvGrpSpPr/>
          <p:nvPr/>
        </p:nvGrpSpPr>
        <p:grpSpPr>
          <a:xfrm>
            <a:off x="2859178" y="4652292"/>
            <a:ext cx="575449" cy="548413"/>
            <a:chOff x="4785498" y="4930001"/>
            <a:chExt cx="575449" cy="548413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D4B2F016-CB00-DF94-299A-EC5EAD24F090}"/>
                </a:ext>
              </a:extLst>
            </p:cNvPr>
            <p:cNvGrpSpPr/>
            <p:nvPr/>
          </p:nvGrpSpPr>
          <p:grpSpPr>
            <a:xfrm>
              <a:off x="4785498" y="5269160"/>
              <a:ext cx="575449" cy="209254"/>
              <a:chOff x="4748040" y="4997478"/>
              <a:chExt cx="331788" cy="120650"/>
            </a:xfrm>
            <a:solidFill>
              <a:schemeClr val="accent2"/>
            </a:solidFill>
          </p:grpSpPr>
          <p:sp>
            <p:nvSpPr>
              <p:cNvPr id="77" name="Freeform 49">
                <a:extLst>
                  <a:ext uri="{FF2B5EF4-FFF2-40B4-BE49-F238E27FC236}">
                    <a16:creationId xmlns:a16="http://schemas.microsoft.com/office/drawing/2014/main" id="{1BD1E0D5-60BF-7156-9E64-CBC80F224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590" y="5003828"/>
                <a:ext cx="249238" cy="100013"/>
              </a:xfrm>
              <a:custGeom>
                <a:avLst/>
                <a:gdLst>
                  <a:gd name="T0" fmla="*/ 24 w 66"/>
                  <a:gd name="T1" fmla="*/ 8 h 26"/>
                  <a:gd name="T2" fmla="*/ 16 w 66"/>
                  <a:gd name="T3" fmla="*/ 8 h 26"/>
                  <a:gd name="T4" fmla="*/ 14 w 66"/>
                  <a:gd name="T5" fmla="*/ 10 h 26"/>
                  <a:gd name="T6" fmla="*/ 16 w 66"/>
                  <a:gd name="T7" fmla="*/ 12 h 26"/>
                  <a:gd name="T8" fmla="*/ 32 w 66"/>
                  <a:gd name="T9" fmla="*/ 12 h 26"/>
                  <a:gd name="T10" fmla="*/ 40 w 66"/>
                  <a:gd name="T11" fmla="*/ 12 h 26"/>
                  <a:gd name="T12" fmla="*/ 50 w 66"/>
                  <a:gd name="T13" fmla="*/ 12 h 26"/>
                  <a:gd name="T14" fmla="*/ 66 w 66"/>
                  <a:gd name="T15" fmla="*/ 24 h 26"/>
                  <a:gd name="T16" fmla="*/ 64 w 66"/>
                  <a:gd name="T17" fmla="*/ 26 h 26"/>
                  <a:gd name="T18" fmla="*/ 2 w 66"/>
                  <a:gd name="T19" fmla="*/ 26 h 26"/>
                  <a:gd name="T20" fmla="*/ 0 w 66"/>
                  <a:gd name="T21" fmla="*/ 24 h 26"/>
                  <a:gd name="T22" fmla="*/ 0 w 66"/>
                  <a:gd name="T23" fmla="*/ 2 h 26"/>
                  <a:gd name="T24" fmla="*/ 2 w 66"/>
                  <a:gd name="T25" fmla="*/ 0 h 26"/>
                  <a:gd name="T26" fmla="*/ 11 w 66"/>
                  <a:gd name="T27" fmla="*/ 0 h 26"/>
                  <a:gd name="T28" fmla="*/ 24 w 66"/>
                  <a:gd name="T29" fmla="*/ 5 h 26"/>
                  <a:gd name="T30" fmla="*/ 24 w 66"/>
                  <a:gd name="T31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26">
                    <a:moveTo>
                      <a:pt x="24" y="8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5" y="8"/>
                      <a:pt x="14" y="9"/>
                      <a:pt x="14" y="10"/>
                    </a:cubicBezTo>
                    <a:cubicBezTo>
                      <a:pt x="14" y="11"/>
                      <a:pt x="15" y="12"/>
                      <a:pt x="16" y="12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9" y="14"/>
                      <a:pt x="66" y="19"/>
                      <a:pt x="66" y="24"/>
                    </a:cubicBezTo>
                    <a:cubicBezTo>
                      <a:pt x="66" y="25"/>
                      <a:pt x="65" y="26"/>
                      <a:pt x="64" y="26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6"/>
                      <a:pt x="0" y="25"/>
                      <a:pt x="0" y="2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0"/>
                      <a:pt x="23" y="5"/>
                      <a:pt x="24" y="5"/>
                    </a:cubicBezTo>
                    <a:cubicBezTo>
                      <a:pt x="25" y="6"/>
                      <a:pt x="28" y="8"/>
                      <a:pt x="2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78" name="Freeform 50">
                <a:extLst>
                  <a:ext uri="{FF2B5EF4-FFF2-40B4-BE49-F238E27FC236}">
                    <a16:creationId xmlns:a16="http://schemas.microsoft.com/office/drawing/2014/main" id="{5CE2F65C-FF00-13CB-785A-6A6A8F2ED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040" y="4997478"/>
                <a:ext cx="68263" cy="120650"/>
              </a:xfrm>
              <a:custGeom>
                <a:avLst/>
                <a:gdLst>
                  <a:gd name="T0" fmla="*/ 16 w 18"/>
                  <a:gd name="T1" fmla="*/ 0 h 32"/>
                  <a:gd name="T2" fmla="*/ 2 w 18"/>
                  <a:gd name="T3" fmla="*/ 0 h 32"/>
                  <a:gd name="T4" fmla="*/ 0 w 18"/>
                  <a:gd name="T5" fmla="*/ 2 h 32"/>
                  <a:gd name="T6" fmla="*/ 0 w 18"/>
                  <a:gd name="T7" fmla="*/ 30 h 32"/>
                  <a:gd name="T8" fmla="*/ 2 w 18"/>
                  <a:gd name="T9" fmla="*/ 32 h 32"/>
                  <a:gd name="T10" fmla="*/ 16 w 18"/>
                  <a:gd name="T11" fmla="*/ 32 h 32"/>
                  <a:gd name="T12" fmla="*/ 18 w 18"/>
                  <a:gd name="T13" fmla="*/ 30 h 32"/>
                  <a:gd name="T14" fmla="*/ 18 w 18"/>
                  <a:gd name="T15" fmla="*/ 2 h 32"/>
                  <a:gd name="T16" fmla="*/ 16 w 18"/>
                  <a:gd name="T1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32">
                    <a:moveTo>
                      <a:pt x="16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1"/>
                      <a:pt x="1" y="32"/>
                      <a:pt x="2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7" y="32"/>
                      <a:pt x="18" y="31"/>
                      <a:pt x="18" y="30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1"/>
                      <a:pt x="1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</p:grpSp>
        <p:sp>
          <p:nvSpPr>
            <p:cNvPr id="76" name="Freeform 122">
              <a:extLst>
                <a:ext uri="{FF2B5EF4-FFF2-40B4-BE49-F238E27FC236}">
                  <a16:creationId xmlns:a16="http://schemas.microsoft.com/office/drawing/2014/main" id="{FE7FF812-5793-27C0-B9D5-642337311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834" y="4930001"/>
              <a:ext cx="101600" cy="60325"/>
            </a:xfrm>
            <a:custGeom>
              <a:avLst/>
              <a:gdLst>
                <a:gd name="T0" fmla="*/ 27 w 27"/>
                <a:gd name="T1" fmla="*/ 16 h 16"/>
                <a:gd name="T2" fmla="*/ 27 w 27"/>
                <a:gd name="T3" fmla="*/ 0 h 16"/>
                <a:gd name="T4" fmla="*/ 17 w 27"/>
                <a:gd name="T5" fmla="*/ 0 h 16"/>
                <a:gd name="T6" fmla="*/ 16 w 27"/>
                <a:gd name="T7" fmla="*/ 1 h 16"/>
                <a:gd name="T8" fmla="*/ 0 w 27"/>
                <a:gd name="T9" fmla="*/ 16 h 16"/>
                <a:gd name="T10" fmla="*/ 27 w 27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6">
                  <a:moveTo>
                    <a:pt x="27" y="16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0" y="16"/>
                    <a:pt x="0" y="16"/>
                    <a:pt x="0" y="16"/>
                  </a:cubicBezTo>
                  <a:lnTo>
                    <a:pt x="27" y="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05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CA6E3ED-4C14-56EA-8DD1-0F8B8133B63C}"/>
              </a:ext>
            </a:extLst>
          </p:cNvPr>
          <p:cNvGrpSpPr/>
          <p:nvPr/>
        </p:nvGrpSpPr>
        <p:grpSpPr>
          <a:xfrm>
            <a:off x="942855" y="4668752"/>
            <a:ext cx="426667" cy="474691"/>
            <a:chOff x="2950672" y="4983845"/>
            <a:chExt cx="426667" cy="474691"/>
          </a:xfrm>
          <a:solidFill>
            <a:schemeClr val="accent2"/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B16D160-8F28-84EB-8B73-8D7F5ABFED1B}"/>
                </a:ext>
              </a:extLst>
            </p:cNvPr>
            <p:cNvSpPr/>
            <p:nvPr/>
          </p:nvSpPr>
          <p:spPr>
            <a:xfrm>
              <a:off x="3126925" y="4983845"/>
              <a:ext cx="194858" cy="474691"/>
            </a:xfrm>
            <a:custGeom>
              <a:avLst/>
              <a:gdLst>
                <a:gd name="connsiteX0" fmla="*/ 105282 w 194858"/>
                <a:gd name="connsiteY0" fmla="*/ -571 h 474691"/>
                <a:gd name="connsiteX1" fmla="*/ 121115 w 194858"/>
                <a:gd name="connsiteY1" fmla="*/ 4186 h 474691"/>
                <a:gd name="connsiteX2" fmla="*/ 158034 w 194858"/>
                <a:gd name="connsiteY2" fmla="*/ 60259 h 474691"/>
                <a:gd name="connsiteX3" fmla="*/ 158034 w 194858"/>
                <a:gd name="connsiteY3" fmla="*/ 295255 h 474691"/>
                <a:gd name="connsiteX4" fmla="*/ 161652 w 194858"/>
                <a:gd name="connsiteY4" fmla="*/ 303519 h 474691"/>
                <a:gd name="connsiteX5" fmla="*/ 191534 w 194858"/>
                <a:gd name="connsiteY5" fmla="*/ 402111 h 474691"/>
                <a:gd name="connsiteX6" fmla="*/ 115726 w 194858"/>
                <a:gd name="connsiteY6" fmla="*/ 472320 h 474691"/>
                <a:gd name="connsiteX7" fmla="*/ 643 w 194858"/>
                <a:gd name="connsiteY7" fmla="*/ 371448 h 474691"/>
                <a:gd name="connsiteX8" fmla="*/ 33982 w 194858"/>
                <a:gd name="connsiteY8" fmla="*/ 303519 h 474691"/>
                <a:gd name="connsiteX9" fmla="*/ 37612 w 194858"/>
                <a:gd name="connsiteY9" fmla="*/ 295726 h 474691"/>
                <a:gd name="connsiteX10" fmla="*/ 37327 w 194858"/>
                <a:gd name="connsiteY10" fmla="*/ 63505 h 474691"/>
                <a:gd name="connsiteX11" fmla="*/ 89201 w 194858"/>
                <a:gd name="connsiteY11" fmla="*/ 61 h 474691"/>
                <a:gd name="connsiteX12" fmla="*/ 90439 w 194858"/>
                <a:gd name="connsiteY12" fmla="*/ -571 h 474691"/>
                <a:gd name="connsiteX13" fmla="*/ 111773 w 194858"/>
                <a:gd name="connsiteY13" fmla="*/ 257357 h 474691"/>
                <a:gd name="connsiteX14" fmla="*/ 111773 w 194858"/>
                <a:gd name="connsiteY14" fmla="*/ 249924 h 474691"/>
                <a:gd name="connsiteX15" fmla="*/ 111773 w 194858"/>
                <a:gd name="connsiteY15" fmla="*/ 180867 h 474691"/>
                <a:gd name="connsiteX16" fmla="*/ 99446 w 194858"/>
                <a:gd name="connsiteY16" fmla="*/ 166421 h 474691"/>
                <a:gd name="connsiteX17" fmla="*/ 84344 w 194858"/>
                <a:gd name="connsiteY17" fmla="*/ 177324 h 474691"/>
                <a:gd name="connsiteX18" fmla="*/ 83985 w 194858"/>
                <a:gd name="connsiteY18" fmla="*/ 183320 h 474691"/>
                <a:gd name="connsiteX19" fmla="*/ 83985 w 194858"/>
                <a:gd name="connsiteY19" fmla="*/ 333029 h 474691"/>
                <a:gd name="connsiteX20" fmla="*/ 80157 w 194858"/>
                <a:gd name="connsiteY20" fmla="*/ 339224 h 474691"/>
                <a:gd name="connsiteX21" fmla="*/ 56246 w 194858"/>
                <a:gd name="connsiteY21" fmla="*/ 374124 h 474691"/>
                <a:gd name="connsiteX22" fmla="*/ 90303 w 194858"/>
                <a:gd name="connsiteY22" fmla="*/ 417820 h 474691"/>
                <a:gd name="connsiteX23" fmla="*/ 137382 w 194858"/>
                <a:gd name="connsiteY23" fmla="*/ 389982 h 474691"/>
                <a:gd name="connsiteX24" fmla="*/ 115354 w 194858"/>
                <a:gd name="connsiteY24" fmla="*/ 339187 h 474691"/>
                <a:gd name="connsiteX25" fmla="*/ 111637 w 194858"/>
                <a:gd name="connsiteY25" fmla="*/ 333426 h 474691"/>
                <a:gd name="connsiteX26" fmla="*/ 111773 w 194858"/>
                <a:gd name="connsiteY26" fmla="*/ 257357 h 474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4858" h="474691">
                  <a:moveTo>
                    <a:pt x="105282" y="-571"/>
                  </a:moveTo>
                  <a:cubicBezTo>
                    <a:pt x="110572" y="978"/>
                    <a:pt x="116147" y="1907"/>
                    <a:pt x="121115" y="4186"/>
                  </a:cubicBezTo>
                  <a:cubicBezTo>
                    <a:pt x="144976" y="15151"/>
                    <a:pt x="157935" y="33920"/>
                    <a:pt x="158034" y="60259"/>
                  </a:cubicBezTo>
                  <a:cubicBezTo>
                    <a:pt x="158319" y="138595"/>
                    <a:pt x="158158" y="216931"/>
                    <a:pt x="158034" y="295255"/>
                  </a:cubicBezTo>
                  <a:cubicBezTo>
                    <a:pt x="157858" y="298428"/>
                    <a:pt x="159201" y="301495"/>
                    <a:pt x="161652" y="303519"/>
                  </a:cubicBezTo>
                  <a:cubicBezTo>
                    <a:pt x="190915" y="330465"/>
                    <a:pt x="201916" y="363692"/>
                    <a:pt x="191534" y="402111"/>
                  </a:cubicBezTo>
                  <a:cubicBezTo>
                    <a:pt x="181152" y="440529"/>
                    <a:pt x="155036" y="464762"/>
                    <a:pt x="115726" y="472320"/>
                  </a:cubicBezTo>
                  <a:cubicBezTo>
                    <a:pt x="53322" y="484300"/>
                    <a:pt x="-2689" y="434917"/>
                    <a:pt x="643" y="371448"/>
                  </a:cubicBezTo>
                  <a:cubicBezTo>
                    <a:pt x="2068" y="344266"/>
                    <a:pt x="13466" y="321495"/>
                    <a:pt x="33982" y="303519"/>
                  </a:cubicBezTo>
                  <a:cubicBezTo>
                    <a:pt x="36406" y="301680"/>
                    <a:pt x="37764" y="298764"/>
                    <a:pt x="37612" y="295726"/>
                  </a:cubicBezTo>
                  <a:cubicBezTo>
                    <a:pt x="37513" y="218319"/>
                    <a:pt x="38021" y="140863"/>
                    <a:pt x="37327" y="63505"/>
                  </a:cubicBezTo>
                  <a:cubicBezTo>
                    <a:pt x="37005" y="27713"/>
                    <a:pt x="62638" y="3208"/>
                    <a:pt x="89201" y="61"/>
                  </a:cubicBezTo>
                  <a:cubicBezTo>
                    <a:pt x="89647" y="-77"/>
                    <a:pt x="90067" y="-290"/>
                    <a:pt x="90439" y="-571"/>
                  </a:cubicBezTo>
                  <a:close/>
                  <a:moveTo>
                    <a:pt x="111773" y="257357"/>
                  </a:moveTo>
                  <a:lnTo>
                    <a:pt x="111773" y="249924"/>
                  </a:lnTo>
                  <a:cubicBezTo>
                    <a:pt x="111773" y="226905"/>
                    <a:pt x="111773" y="203886"/>
                    <a:pt x="111773" y="180867"/>
                  </a:cubicBezTo>
                  <a:cubicBezTo>
                    <a:pt x="111773" y="173124"/>
                    <a:pt x="106632" y="167239"/>
                    <a:pt x="99446" y="166421"/>
                  </a:cubicBezTo>
                  <a:cubicBezTo>
                    <a:pt x="92368" y="165670"/>
                    <a:pt x="85859" y="170368"/>
                    <a:pt x="84344" y="177324"/>
                  </a:cubicBezTo>
                  <a:cubicBezTo>
                    <a:pt x="84012" y="179303"/>
                    <a:pt x="83892" y="181314"/>
                    <a:pt x="83985" y="183320"/>
                  </a:cubicBezTo>
                  <a:cubicBezTo>
                    <a:pt x="83985" y="233223"/>
                    <a:pt x="83985" y="283126"/>
                    <a:pt x="83985" y="333029"/>
                  </a:cubicBezTo>
                  <a:cubicBezTo>
                    <a:pt x="83985" y="336164"/>
                    <a:pt x="83192" y="337750"/>
                    <a:pt x="80157" y="339224"/>
                  </a:cubicBezTo>
                  <a:cubicBezTo>
                    <a:pt x="65661" y="346261"/>
                    <a:pt x="57423" y="358055"/>
                    <a:pt x="56246" y="374124"/>
                  </a:cubicBezTo>
                  <a:cubicBezTo>
                    <a:pt x="54747" y="395257"/>
                    <a:pt x="69442" y="414113"/>
                    <a:pt x="90303" y="417820"/>
                  </a:cubicBezTo>
                  <a:cubicBezTo>
                    <a:pt x="110740" y="421570"/>
                    <a:pt x="130819" y="409697"/>
                    <a:pt x="137382" y="389982"/>
                  </a:cubicBezTo>
                  <a:cubicBezTo>
                    <a:pt x="144037" y="369912"/>
                    <a:pt x="134554" y="348045"/>
                    <a:pt x="115354" y="339187"/>
                  </a:cubicBezTo>
                  <a:cubicBezTo>
                    <a:pt x="112492" y="337861"/>
                    <a:pt x="111637" y="336473"/>
                    <a:pt x="111637" y="333426"/>
                  </a:cubicBezTo>
                  <a:cubicBezTo>
                    <a:pt x="111823" y="308053"/>
                    <a:pt x="111773" y="282693"/>
                    <a:pt x="111773" y="257357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377BE59-8FBF-D926-BED3-5045DCD56FFD}"/>
                </a:ext>
              </a:extLst>
            </p:cNvPr>
            <p:cNvSpPr/>
            <p:nvPr/>
          </p:nvSpPr>
          <p:spPr>
            <a:xfrm>
              <a:off x="2950672" y="5039385"/>
              <a:ext cx="102018" cy="194880"/>
            </a:xfrm>
            <a:custGeom>
              <a:avLst/>
              <a:gdLst>
                <a:gd name="connsiteX0" fmla="*/ 36355 w 102018"/>
                <a:gd name="connsiteY0" fmla="*/ 47635 h 194880"/>
                <a:gd name="connsiteX1" fmla="*/ 24895 w 102018"/>
                <a:gd name="connsiteY1" fmla="*/ 59677 h 194880"/>
                <a:gd name="connsiteX2" fmla="*/ 4627 w 102018"/>
                <a:gd name="connsiteY2" fmla="*/ 60383 h 194880"/>
                <a:gd name="connsiteX3" fmla="*/ 5184 w 102018"/>
                <a:gd name="connsiteY3" fmla="*/ 40115 h 194880"/>
                <a:gd name="connsiteX4" fmla="*/ 41236 w 102018"/>
                <a:gd name="connsiteY4" fmla="*/ 4075 h 194880"/>
                <a:gd name="connsiteX5" fmla="*/ 61839 w 102018"/>
                <a:gd name="connsiteY5" fmla="*/ 4075 h 194880"/>
                <a:gd name="connsiteX6" fmla="*/ 97879 w 102018"/>
                <a:gd name="connsiteY6" fmla="*/ 40115 h 194880"/>
                <a:gd name="connsiteX7" fmla="*/ 98313 w 102018"/>
                <a:gd name="connsiteY7" fmla="*/ 60396 h 194880"/>
                <a:gd name="connsiteX8" fmla="*/ 78019 w 102018"/>
                <a:gd name="connsiteY8" fmla="*/ 59578 h 194880"/>
                <a:gd name="connsiteX9" fmla="*/ 66448 w 102018"/>
                <a:gd name="connsiteY9" fmla="*/ 48242 h 194880"/>
                <a:gd name="connsiteX10" fmla="*/ 65420 w 102018"/>
                <a:gd name="connsiteY10" fmla="*/ 48007 h 194880"/>
                <a:gd name="connsiteX11" fmla="*/ 65420 w 102018"/>
                <a:gd name="connsiteY11" fmla="*/ 52962 h 194880"/>
                <a:gd name="connsiteX12" fmla="*/ 65420 w 102018"/>
                <a:gd name="connsiteY12" fmla="*/ 179009 h 194880"/>
                <a:gd name="connsiteX13" fmla="*/ 46105 w 102018"/>
                <a:gd name="connsiteY13" fmla="*/ 193070 h 194880"/>
                <a:gd name="connsiteX14" fmla="*/ 37606 w 102018"/>
                <a:gd name="connsiteY14" fmla="*/ 179442 h 194880"/>
                <a:gd name="connsiteX15" fmla="*/ 37606 w 102018"/>
                <a:gd name="connsiteY15" fmla="*/ 118277 h 194880"/>
                <a:gd name="connsiteX16" fmla="*/ 37606 w 102018"/>
                <a:gd name="connsiteY16" fmla="*/ 48366 h 19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2018" h="194880">
                  <a:moveTo>
                    <a:pt x="36355" y="47635"/>
                  </a:moveTo>
                  <a:cubicBezTo>
                    <a:pt x="32539" y="51661"/>
                    <a:pt x="28847" y="55799"/>
                    <a:pt x="24895" y="59677"/>
                  </a:cubicBezTo>
                  <a:cubicBezTo>
                    <a:pt x="18701" y="65785"/>
                    <a:pt x="10276" y="65996"/>
                    <a:pt x="4627" y="60383"/>
                  </a:cubicBezTo>
                  <a:cubicBezTo>
                    <a:pt x="-1023" y="54771"/>
                    <a:pt x="-899" y="46272"/>
                    <a:pt x="5184" y="40115"/>
                  </a:cubicBezTo>
                  <a:cubicBezTo>
                    <a:pt x="17136" y="28039"/>
                    <a:pt x="29153" y="16027"/>
                    <a:pt x="41236" y="4075"/>
                  </a:cubicBezTo>
                  <a:cubicBezTo>
                    <a:pt x="47518" y="-2120"/>
                    <a:pt x="55484" y="-2120"/>
                    <a:pt x="61839" y="4075"/>
                  </a:cubicBezTo>
                  <a:cubicBezTo>
                    <a:pt x="73956" y="15993"/>
                    <a:pt x="85969" y="28007"/>
                    <a:pt x="97879" y="40115"/>
                  </a:cubicBezTo>
                  <a:cubicBezTo>
                    <a:pt x="103974" y="46309"/>
                    <a:pt x="104012" y="54845"/>
                    <a:pt x="98313" y="60396"/>
                  </a:cubicBezTo>
                  <a:cubicBezTo>
                    <a:pt x="92614" y="65946"/>
                    <a:pt x="84313" y="65649"/>
                    <a:pt x="78019" y="59578"/>
                  </a:cubicBezTo>
                  <a:cubicBezTo>
                    <a:pt x="74129" y="55861"/>
                    <a:pt x="70313" y="52021"/>
                    <a:pt x="66448" y="48242"/>
                  </a:cubicBezTo>
                  <a:cubicBezTo>
                    <a:pt x="66361" y="48155"/>
                    <a:pt x="66188" y="48168"/>
                    <a:pt x="65420" y="48007"/>
                  </a:cubicBezTo>
                  <a:lnTo>
                    <a:pt x="65420" y="52962"/>
                  </a:lnTo>
                  <a:cubicBezTo>
                    <a:pt x="65420" y="94977"/>
                    <a:pt x="65420" y="136994"/>
                    <a:pt x="65420" y="179009"/>
                  </a:cubicBezTo>
                  <a:cubicBezTo>
                    <a:pt x="65420" y="190159"/>
                    <a:pt x="55632" y="197320"/>
                    <a:pt x="46105" y="193070"/>
                  </a:cubicBezTo>
                  <a:cubicBezTo>
                    <a:pt x="40319" y="190493"/>
                    <a:pt x="37606" y="185748"/>
                    <a:pt x="37606" y="179442"/>
                  </a:cubicBezTo>
                  <a:cubicBezTo>
                    <a:pt x="37606" y="159058"/>
                    <a:pt x="37606" y="138670"/>
                    <a:pt x="37606" y="118277"/>
                  </a:cubicBezTo>
                  <a:lnTo>
                    <a:pt x="37606" y="48366"/>
                  </a:ln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FFD3E4E-13C9-8DF4-BD1F-E397374CBBBB}"/>
                </a:ext>
              </a:extLst>
            </p:cNvPr>
            <p:cNvSpPr/>
            <p:nvPr/>
          </p:nvSpPr>
          <p:spPr>
            <a:xfrm>
              <a:off x="3006312" y="5150711"/>
              <a:ext cx="102057" cy="194940"/>
            </a:xfrm>
            <a:custGeom>
              <a:avLst/>
              <a:gdLst>
                <a:gd name="connsiteX0" fmla="*/ 37630 w 102057"/>
                <a:gd name="connsiteY0" fmla="*/ 145361 h 194940"/>
                <a:gd name="connsiteX1" fmla="*/ 37630 w 102057"/>
                <a:gd name="connsiteY1" fmla="*/ 140331 h 194940"/>
                <a:gd name="connsiteX2" fmla="*/ 37630 w 102057"/>
                <a:gd name="connsiteY2" fmla="*/ 14743 h 194940"/>
                <a:gd name="connsiteX3" fmla="*/ 56933 w 102057"/>
                <a:gd name="connsiteY3" fmla="*/ 657 h 194940"/>
                <a:gd name="connsiteX4" fmla="*/ 65444 w 102057"/>
                <a:gd name="connsiteY4" fmla="*/ 14285 h 194940"/>
                <a:gd name="connsiteX5" fmla="*/ 65444 w 102057"/>
                <a:gd name="connsiteY5" fmla="*/ 65724 h 194940"/>
                <a:gd name="connsiteX6" fmla="*/ 65444 w 102057"/>
                <a:gd name="connsiteY6" fmla="*/ 146637 h 194940"/>
                <a:gd name="connsiteX7" fmla="*/ 78762 w 102057"/>
                <a:gd name="connsiteY7" fmla="*/ 133455 h 194940"/>
                <a:gd name="connsiteX8" fmla="*/ 102128 w 102057"/>
                <a:gd name="connsiteY8" fmla="*/ 140158 h 194940"/>
                <a:gd name="connsiteX9" fmla="*/ 98510 w 102057"/>
                <a:gd name="connsiteY9" fmla="*/ 152943 h 194940"/>
                <a:gd name="connsiteX10" fmla="*/ 61120 w 102057"/>
                <a:gd name="connsiteY10" fmla="*/ 190271 h 194940"/>
                <a:gd name="connsiteX11" fmla="*/ 41558 w 102057"/>
                <a:gd name="connsiteY11" fmla="*/ 189962 h 194940"/>
                <a:gd name="connsiteX12" fmla="*/ 4861 w 102057"/>
                <a:gd name="connsiteY12" fmla="*/ 153265 h 194940"/>
                <a:gd name="connsiteX13" fmla="*/ 4700 w 102057"/>
                <a:gd name="connsiteY13" fmla="*/ 133331 h 194940"/>
                <a:gd name="connsiteX14" fmla="*/ 24634 w 102057"/>
                <a:gd name="connsiteY14" fmla="*/ 133802 h 194940"/>
                <a:gd name="connsiteX15" fmla="*/ 36379 w 102057"/>
                <a:gd name="connsiteY15" fmla="*/ 146191 h 19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057" h="194940">
                  <a:moveTo>
                    <a:pt x="37630" y="145361"/>
                  </a:moveTo>
                  <a:lnTo>
                    <a:pt x="37630" y="140331"/>
                  </a:lnTo>
                  <a:cubicBezTo>
                    <a:pt x="37630" y="98472"/>
                    <a:pt x="37630" y="56610"/>
                    <a:pt x="37630" y="14743"/>
                  </a:cubicBezTo>
                  <a:cubicBezTo>
                    <a:pt x="37630" y="3593"/>
                    <a:pt x="47393" y="-3568"/>
                    <a:pt x="56933" y="657"/>
                  </a:cubicBezTo>
                  <a:cubicBezTo>
                    <a:pt x="62743" y="3221"/>
                    <a:pt x="65444" y="7979"/>
                    <a:pt x="65444" y="14285"/>
                  </a:cubicBezTo>
                  <a:cubicBezTo>
                    <a:pt x="65444" y="31431"/>
                    <a:pt x="65444" y="48578"/>
                    <a:pt x="65444" y="65724"/>
                  </a:cubicBezTo>
                  <a:lnTo>
                    <a:pt x="65444" y="146637"/>
                  </a:lnTo>
                  <a:cubicBezTo>
                    <a:pt x="70400" y="141682"/>
                    <a:pt x="74451" y="137457"/>
                    <a:pt x="78762" y="133455"/>
                  </a:cubicBezTo>
                  <a:cubicBezTo>
                    <a:pt x="87063" y="125786"/>
                    <a:pt x="99501" y="129379"/>
                    <a:pt x="102128" y="140158"/>
                  </a:cubicBezTo>
                  <a:cubicBezTo>
                    <a:pt x="103340" y="144760"/>
                    <a:pt x="101954" y="149658"/>
                    <a:pt x="98510" y="152943"/>
                  </a:cubicBezTo>
                  <a:cubicBezTo>
                    <a:pt x="86121" y="165481"/>
                    <a:pt x="73732" y="178006"/>
                    <a:pt x="61120" y="190271"/>
                  </a:cubicBezTo>
                  <a:cubicBezTo>
                    <a:pt x="55347" y="195896"/>
                    <a:pt x="47368" y="195673"/>
                    <a:pt x="41558" y="189962"/>
                  </a:cubicBezTo>
                  <a:cubicBezTo>
                    <a:pt x="29218" y="177845"/>
                    <a:pt x="16987" y="165614"/>
                    <a:pt x="4861" y="153265"/>
                  </a:cubicBezTo>
                  <a:cubicBezTo>
                    <a:pt x="-974" y="147331"/>
                    <a:pt x="-875" y="138795"/>
                    <a:pt x="4700" y="133331"/>
                  </a:cubicBezTo>
                  <a:cubicBezTo>
                    <a:pt x="10275" y="127868"/>
                    <a:pt x="18613" y="127955"/>
                    <a:pt x="24634" y="133802"/>
                  </a:cubicBezTo>
                  <a:cubicBezTo>
                    <a:pt x="28710" y="137754"/>
                    <a:pt x="32477" y="142028"/>
                    <a:pt x="36379" y="146191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1AA3CCE-E5AB-12DE-AEB2-9ED3C0FB3178}"/>
                </a:ext>
              </a:extLst>
            </p:cNvPr>
            <p:cNvSpPr/>
            <p:nvPr/>
          </p:nvSpPr>
          <p:spPr>
            <a:xfrm>
              <a:off x="3321761" y="5039456"/>
              <a:ext cx="55578" cy="27896"/>
            </a:xfrm>
            <a:custGeom>
              <a:avLst/>
              <a:gdLst>
                <a:gd name="connsiteX0" fmla="*/ 28266 w 55578"/>
                <a:gd name="connsiteY0" fmla="*/ -543 h 27896"/>
                <a:gd name="connsiteX1" fmla="*/ 41671 w 55578"/>
                <a:gd name="connsiteY1" fmla="*/ -543 h 27896"/>
                <a:gd name="connsiteX2" fmla="*/ 56080 w 55578"/>
                <a:gd name="connsiteY2" fmla="*/ 13221 h 27896"/>
                <a:gd name="connsiteX3" fmla="*/ 41931 w 55578"/>
                <a:gd name="connsiteY3" fmla="*/ 27233 h 27896"/>
                <a:gd name="connsiteX4" fmla="*/ 14675 w 55578"/>
                <a:gd name="connsiteY4" fmla="*/ 27233 h 27896"/>
                <a:gd name="connsiteX5" fmla="*/ 505 w 55578"/>
                <a:gd name="connsiteY5" fmla="*/ 13633 h 27896"/>
                <a:gd name="connsiteX6" fmla="*/ 502 w 55578"/>
                <a:gd name="connsiteY6" fmla="*/ 13246 h 27896"/>
                <a:gd name="connsiteX7" fmla="*/ 14874 w 55578"/>
                <a:gd name="connsiteY7" fmla="*/ -543 h 27896"/>
                <a:gd name="connsiteX8" fmla="*/ 28266 w 55578"/>
                <a:gd name="connsiteY8" fmla="*/ -543 h 2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78" h="27896">
                  <a:moveTo>
                    <a:pt x="28266" y="-543"/>
                  </a:moveTo>
                  <a:cubicBezTo>
                    <a:pt x="32726" y="-543"/>
                    <a:pt x="37199" y="-543"/>
                    <a:pt x="41671" y="-543"/>
                  </a:cubicBezTo>
                  <a:cubicBezTo>
                    <a:pt x="49910" y="-395"/>
                    <a:pt x="56005" y="5465"/>
                    <a:pt x="56080" y="13221"/>
                  </a:cubicBezTo>
                  <a:cubicBezTo>
                    <a:pt x="56154" y="20976"/>
                    <a:pt x="50096" y="27109"/>
                    <a:pt x="41931" y="27233"/>
                  </a:cubicBezTo>
                  <a:cubicBezTo>
                    <a:pt x="32847" y="27357"/>
                    <a:pt x="23760" y="27357"/>
                    <a:pt x="14675" y="27233"/>
                  </a:cubicBezTo>
                  <a:cubicBezTo>
                    <a:pt x="7007" y="27390"/>
                    <a:pt x="662" y="21301"/>
                    <a:pt x="505" y="13633"/>
                  </a:cubicBezTo>
                  <a:cubicBezTo>
                    <a:pt x="502" y="13503"/>
                    <a:pt x="501" y="13375"/>
                    <a:pt x="502" y="13246"/>
                  </a:cubicBezTo>
                  <a:cubicBezTo>
                    <a:pt x="502" y="5527"/>
                    <a:pt x="6697" y="-382"/>
                    <a:pt x="14874" y="-543"/>
                  </a:cubicBezTo>
                  <a:cubicBezTo>
                    <a:pt x="19259" y="-605"/>
                    <a:pt x="23732" y="-543"/>
                    <a:pt x="28266" y="-543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6FE4D8B-7771-0750-D4ED-C7EB1A8A6798}"/>
                </a:ext>
              </a:extLst>
            </p:cNvPr>
            <p:cNvSpPr/>
            <p:nvPr/>
          </p:nvSpPr>
          <p:spPr>
            <a:xfrm>
              <a:off x="3321674" y="5150733"/>
              <a:ext cx="55603" cy="27904"/>
            </a:xfrm>
            <a:custGeom>
              <a:avLst/>
              <a:gdLst>
                <a:gd name="connsiteX0" fmla="*/ 28167 w 55603"/>
                <a:gd name="connsiteY0" fmla="*/ 27284 h 27904"/>
                <a:gd name="connsiteX1" fmla="*/ 14291 w 55603"/>
                <a:gd name="connsiteY1" fmla="*/ 27284 h 27904"/>
                <a:gd name="connsiteX2" fmla="*/ 502 w 55603"/>
                <a:gd name="connsiteY2" fmla="*/ 13384 h 27904"/>
                <a:gd name="connsiteX3" fmla="*/ 14340 w 55603"/>
                <a:gd name="connsiteY3" fmla="*/ -455 h 27904"/>
                <a:gd name="connsiteX4" fmla="*/ 42080 w 55603"/>
                <a:gd name="connsiteY4" fmla="*/ -455 h 27904"/>
                <a:gd name="connsiteX5" fmla="*/ 56104 w 55603"/>
                <a:gd name="connsiteY5" fmla="*/ 13173 h 27904"/>
                <a:gd name="connsiteX6" fmla="*/ 42030 w 55603"/>
                <a:gd name="connsiteY6" fmla="*/ 27272 h 27904"/>
                <a:gd name="connsiteX7" fmla="*/ 28167 w 55603"/>
                <a:gd name="connsiteY7" fmla="*/ 27284 h 2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603" h="27904">
                  <a:moveTo>
                    <a:pt x="28167" y="27284"/>
                  </a:moveTo>
                  <a:cubicBezTo>
                    <a:pt x="23546" y="27284"/>
                    <a:pt x="18912" y="27396"/>
                    <a:pt x="14291" y="27284"/>
                  </a:cubicBezTo>
                  <a:cubicBezTo>
                    <a:pt x="6665" y="27203"/>
                    <a:pt x="522" y="21009"/>
                    <a:pt x="502" y="13384"/>
                  </a:cubicBezTo>
                  <a:cubicBezTo>
                    <a:pt x="516" y="5747"/>
                    <a:pt x="6704" y="-441"/>
                    <a:pt x="14340" y="-455"/>
                  </a:cubicBezTo>
                  <a:cubicBezTo>
                    <a:pt x="23583" y="-616"/>
                    <a:pt x="32825" y="-603"/>
                    <a:pt x="42080" y="-455"/>
                  </a:cubicBezTo>
                  <a:cubicBezTo>
                    <a:pt x="49705" y="-538"/>
                    <a:pt x="55968" y="5549"/>
                    <a:pt x="56104" y="13173"/>
                  </a:cubicBezTo>
                  <a:cubicBezTo>
                    <a:pt x="56228" y="20929"/>
                    <a:pt x="50157" y="27061"/>
                    <a:pt x="42030" y="27272"/>
                  </a:cubicBezTo>
                  <a:cubicBezTo>
                    <a:pt x="37409" y="27371"/>
                    <a:pt x="32788" y="27284"/>
                    <a:pt x="28167" y="27284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179AA85-BE65-33DF-7E83-50C0560E6968}"/>
                </a:ext>
              </a:extLst>
            </p:cNvPr>
            <p:cNvSpPr/>
            <p:nvPr/>
          </p:nvSpPr>
          <p:spPr>
            <a:xfrm>
              <a:off x="3321673" y="5262004"/>
              <a:ext cx="55603" cy="27912"/>
            </a:xfrm>
            <a:custGeom>
              <a:avLst/>
              <a:gdLst>
                <a:gd name="connsiteX0" fmla="*/ 28466 w 55603"/>
                <a:gd name="connsiteY0" fmla="*/ -521 h 27912"/>
                <a:gd name="connsiteX1" fmla="*/ 42341 w 55603"/>
                <a:gd name="connsiteY1" fmla="*/ -521 h 27912"/>
                <a:gd name="connsiteX2" fmla="*/ 56106 w 55603"/>
                <a:gd name="connsiteY2" fmla="*/ 13404 h 27912"/>
                <a:gd name="connsiteX3" fmla="*/ 42242 w 55603"/>
                <a:gd name="connsiteY3" fmla="*/ 27218 h 27912"/>
                <a:gd name="connsiteX4" fmla="*/ 42230 w 55603"/>
                <a:gd name="connsiteY4" fmla="*/ 27218 h 27912"/>
                <a:gd name="connsiteX5" fmla="*/ 14491 w 55603"/>
                <a:gd name="connsiteY5" fmla="*/ 27218 h 27912"/>
                <a:gd name="connsiteX6" fmla="*/ 503 w 55603"/>
                <a:gd name="connsiteY6" fmla="*/ 13590 h 27912"/>
                <a:gd name="connsiteX7" fmla="*/ 14602 w 55603"/>
                <a:gd name="connsiteY7" fmla="*/ -472 h 27912"/>
                <a:gd name="connsiteX8" fmla="*/ 28466 w 55603"/>
                <a:gd name="connsiteY8" fmla="*/ -521 h 2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603" h="27912">
                  <a:moveTo>
                    <a:pt x="28466" y="-521"/>
                  </a:moveTo>
                  <a:cubicBezTo>
                    <a:pt x="33087" y="-521"/>
                    <a:pt x="37720" y="-633"/>
                    <a:pt x="42341" y="-521"/>
                  </a:cubicBezTo>
                  <a:cubicBezTo>
                    <a:pt x="49974" y="-447"/>
                    <a:pt x="56119" y="5770"/>
                    <a:pt x="56106" y="13404"/>
                  </a:cubicBezTo>
                  <a:cubicBezTo>
                    <a:pt x="56092" y="21047"/>
                    <a:pt x="49885" y="27231"/>
                    <a:pt x="42242" y="27218"/>
                  </a:cubicBezTo>
                  <a:cubicBezTo>
                    <a:pt x="42238" y="27218"/>
                    <a:pt x="42234" y="27218"/>
                    <a:pt x="42230" y="27218"/>
                  </a:cubicBezTo>
                  <a:cubicBezTo>
                    <a:pt x="32988" y="27383"/>
                    <a:pt x="23742" y="27383"/>
                    <a:pt x="14491" y="27218"/>
                  </a:cubicBezTo>
                  <a:cubicBezTo>
                    <a:pt x="6883" y="27274"/>
                    <a:pt x="646" y="21197"/>
                    <a:pt x="503" y="13590"/>
                  </a:cubicBezTo>
                  <a:cubicBezTo>
                    <a:pt x="392" y="5859"/>
                    <a:pt x="6487" y="-286"/>
                    <a:pt x="14602" y="-472"/>
                  </a:cubicBezTo>
                  <a:cubicBezTo>
                    <a:pt x="19223" y="-608"/>
                    <a:pt x="23844" y="-521"/>
                    <a:pt x="28466" y="-521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30BB93-3AC0-4831-C505-0E13D47607EB}"/>
                </a:ext>
              </a:extLst>
            </p:cNvPr>
            <p:cNvSpPr/>
            <p:nvPr/>
          </p:nvSpPr>
          <p:spPr>
            <a:xfrm>
              <a:off x="3321637" y="5095056"/>
              <a:ext cx="41689" cy="27922"/>
            </a:xfrm>
            <a:custGeom>
              <a:avLst/>
              <a:gdLst>
                <a:gd name="connsiteX0" fmla="*/ 21229 w 41689"/>
                <a:gd name="connsiteY0" fmla="*/ 27297 h 27922"/>
                <a:gd name="connsiteX1" fmla="*/ 13795 w 41689"/>
                <a:gd name="connsiteY1" fmla="*/ 27297 h 27922"/>
                <a:gd name="connsiteX2" fmla="*/ 502 w 41689"/>
                <a:gd name="connsiteY2" fmla="*/ 13384 h 27922"/>
                <a:gd name="connsiteX3" fmla="*/ 13882 w 41689"/>
                <a:gd name="connsiteY3" fmla="*/ -418 h 27922"/>
                <a:gd name="connsiteX4" fmla="*/ 28662 w 41689"/>
                <a:gd name="connsiteY4" fmla="*/ -418 h 27922"/>
                <a:gd name="connsiteX5" fmla="*/ 42191 w 41689"/>
                <a:gd name="connsiteY5" fmla="*/ 13210 h 27922"/>
                <a:gd name="connsiteX6" fmla="*/ 28563 w 41689"/>
                <a:gd name="connsiteY6" fmla="*/ 27284 h 27922"/>
                <a:gd name="connsiteX7" fmla="*/ 21229 w 41689"/>
                <a:gd name="connsiteY7" fmla="*/ 27297 h 2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89" h="27922">
                  <a:moveTo>
                    <a:pt x="21229" y="27297"/>
                  </a:moveTo>
                  <a:cubicBezTo>
                    <a:pt x="18751" y="27297"/>
                    <a:pt x="16273" y="27421"/>
                    <a:pt x="13795" y="27297"/>
                  </a:cubicBezTo>
                  <a:cubicBezTo>
                    <a:pt x="6368" y="26934"/>
                    <a:pt x="525" y="20820"/>
                    <a:pt x="502" y="13384"/>
                  </a:cubicBezTo>
                  <a:cubicBezTo>
                    <a:pt x="537" y="5939"/>
                    <a:pt x="6441" y="-151"/>
                    <a:pt x="13882" y="-418"/>
                  </a:cubicBezTo>
                  <a:cubicBezTo>
                    <a:pt x="18838" y="-628"/>
                    <a:pt x="23793" y="-616"/>
                    <a:pt x="28662" y="-418"/>
                  </a:cubicBezTo>
                  <a:cubicBezTo>
                    <a:pt x="36090" y="-221"/>
                    <a:pt x="42049" y="5782"/>
                    <a:pt x="42191" y="13210"/>
                  </a:cubicBezTo>
                  <a:cubicBezTo>
                    <a:pt x="42261" y="20838"/>
                    <a:pt x="36190" y="27108"/>
                    <a:pt x="28563" y="27284"/>
                  </a:cubicBezTo>
                  <a:cubicBezTo>
                    <a:pt x="26160" y="27396"/>
                    <a:pt x="23694" y="27309"/>
                    <a:pt x="21229" y="27297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F42B2EC9-37E4-2E0C-99A9-32FFD92A4A97}"/>
                </a:ext>
              </a:extLst>
            </p:cNvPr>
            <p:cNvSpPr/>
            <p:nvPr/>
          </p:nvSpPr>
          <p:spPr>
            <a:xfrm>
              <a:off x="3321724" y="5206358"/>
              <a:ext cx="41690" cy="27918"/>
            </a:xfrm>
            <a:custGeom>
              <a:avLst/>
              <a:gdLst>
                <a:gd name="connsiteX0" fmla="*/ 21687 w 41690"/>
                <a:gd name="connsiteY0" fmla="*/ -490 h 27918"/>
                <a:gd name="connsiteX1" fmla="*/ 29121 w 41690"/>
                <a:gd name="connsiteY1" fmla="*/ -490 h 27918"/>
                <a:gd name="connsiteX2" fmla="*/ 42191 w 41690"/>
                <a:gd name="connsiteY2" fmla="*/ 13138 h 27918"/>
                <a:gd name="connsiteX3" fmla="*/ 29046 w 41690"/>
                <a:gd name="connsiteY3" fmla="*/ 27162 h 27918"/>
                <a:gd name="connsiteX4" fmla="*/ 13795 w 41690"/>
                <a:gd name="connsiteY4" fmla="*/ 27162 h 27918"/>
                <a:gd name="connsiteX5" fmla="*/ 502 w 41690"/>
                <a:gd name="connsiteY5" fmla="*/ 13274 h 27918"/>
                <a:gd name="connsiteX6" fmla="*/ 13882 w 41690"/>
                <a:gd name="connsiteY6" fmla="*/ -552 h 27918"/>
                <a:gd name="connsiteX7" fmla="*/ 21687 w 41690"/>
                <a:gd name="connsiteY7" fmla="*/ -490 h 2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90" h="27918">
                  <a:moveTo>
                    <a:pt x="21687" y="-490"/>
                  </a:moveTo>
                  <a:cubicBezTo>
                    <a:pt x="24165" y="-490"/>
                    <a:pt x="26643" y="-627"/>
                    <a:pt x="29121" y="-490"/>
                  </a:cubicBezTo>
                  <a:cubicBezTo>
                    <a:pt x="36350" y="-17"/>
                    <a:pt x="42020" y="5896"/>
                    <a:pt x="42191" y="13138"/>
                  </a:cubicBezTo>
                  <a:cubicBezTo>
                    <a:pt x="42268" y="20577"/>
                    <a:pt x="36475" y="26758"/>
                    <a:pt x="29046" y="27162"/>
                  </a:cubicBezTo>
                  <a:cubicBezTo>
                    <a:pt x="23967" y="27422"/>
                    <a:pt x="18875" y="27397"/>
                    <a:pt x="13795" y="27162"/>
                  </a:cubicBezTo>
                  <a:cubicBezTo>
                    <a:pt x="6356" y="26850"/>
                    <a:pt x="488" y="20720"/>
                    <a:pt x="502" y="13274"/>
                  </a:cubicBezTo>
                  <a:cubicBezTo>
                    <a:pt x="568" y="5837"/>
                    <a:pt x="6451" y="-243"/>
                    <a:pt x="13882" y="-552"/>
                  </a:cubicBezTo>
                  <a:cubicBezTo>
                    <a:pt x="16434" y="-614"/>
                    <a:pt x="19061" y="-503"/>
                    <a:pt x="21687" y="-490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7C5CFA9-1209-32F6-0661-DCF541F87415}"/>
                </a:ext>
              </a:extLst>
            </p:cNvPr>
            <p:cNvSpPr/>
            <p:nvPr/>
          </p:nvSpPr>
          <p:spPr>
            <a:xfrm>
              <a:off x="3210359" y="5347439"/>
              <a:ext cx="27813" cy="27739"/>
            </a:xfrm>
            <a:custGeom>
              <a:avLst/>
              <a:gdLst>
                <a:gd name="connsiteX0" fmla="*/ 28315 w 27813"/>
                <a:gd name="connsiteY0" fmla="*/ 13243 h 27739"/>
                <a:gd name="connsiteX1" fmla="*/ 14539 w 27813"/>
                <a:gd name="connsiteY1" fmla="*/ 27168 h 27739"/>
                <a:gd name="connsiteX2" fmla="*/ 502 w 27813"/>
                <a:gd name="connsiteY2" fmla="*/ 13082 h 27739"/>
                <a:gd name="connsiteX3" fmla="*/ 502 w 27813"/>
                <a:gd name="connsiteY3" fmla="*/ 13057 h 27739"/>
                <a:gd name="connsiteX4" fmla="*/ 14489 w 27813"/>
                <a:gd name="connsiteY4" fmla="*/ -571 h 27739"/>
                <a:gd name="connsiteX5" fmla="*/ 28315 w 27813"/>
                <a:gd name="connsiteY5" fmla="*/ 13243 h 2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13" h="27739">
                  <a:moveTo>
                    <a:pt x="28315" y="13243"/>
                  </a:moveTo>
                  <a:cubicBezTo>
                    <a:pt x="28244" y="20846"/>
                    <a:pt x="22141" y="27015"/>
                    <a:pt x="14539" y="27168"/>
                  </a:cubicBezTo>
                  <a:cubicBezTo>
                    <a:pt x="6773" y="27155"/>
                    <a:pt x="488" y="20849"/>
                    <a:pt x="502" y="13082"/>
                  </a:cubicBezTo>
                  <a:cubicBezTo>
                    <a:pt x="502" y="13073"/>
                    <a:pt x="502" y="13066"/>
                    <a:pt x="502" y="13057"/>
                  </a:cubicBezTo>
                  <a:cubicBezTo>
                    <a:pt x="722" y="5484"/>
                    <a:pt x="6913" y="-547"/>
                    <a:pt x="14489" y="-571"/>
                  </a:cubicBezTo>
                  <a:cubicBezTo>
                    <a:pt x="22074" y="-458"/>
                    <a:pt x="28195" y="5660"/>
                    <a:pt x="28315" y="13243"/>
                  </a:cubicBezTo>
                  <a:close/>
                </a:path>
              </a:pathLst>
            </a:custGeom>
            <a:grpFill/>
            <a:ln w="12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pic>
        <p:nvPicPr>
          <p:cNvPr id="90" name="Picture 144">
            <a:extLst>
              <a:ext uri="{FF2B5EF4-FFF2-40B4-BE49-F238E27FC236}">
                <a16:creationId xmlns:a16="http://schemas.microsoft.com/office/drawing/2014/main" id="{63B10181-2FA0-B7C7-A371-7EC78FF1B90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510" y="2688654"/>
            <a:ext cx="648000" cy="648000"/>
          </a:xfrm>
          <a:prstGeom prst="rect">
            <a:avLst/>
          </a:prstGeom>
        </p:spPr>
      </p:pic>
      <p:pic>
        <p:nvPicPr>
          <p:cNvPr id="91" name="Grafik 119">
            <a:extLst>
              <a:ext uri="{FF2B5EF4-FFF2-40B4-BE49-F238E27FC236}">
                <a16:creationId xmlns:a16="http://schemas.microsoft.com/office/drawing/2014/main" id="{0765D52C-AB6B-7D23-E06D-A101941AD6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863" b="89216" l="9735" r="89381">
                        <a14:foregroundMark x1="49558" y1="6863" x2="48673" y2="117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58114" y="4528152"/>
            <a:ext cx="540381" cy="487777"/>
          </a:xfrm>
          <a:prstGeom prst="rect">
            <a:avLst/>
          </a:prstGeom>
        </p:spPr>
      </p:pic>
      <p:pic>
        <p:nvPicPr>
          <p:cNvPr id="92" name="Picture 91" descr="Icon&#10;&#10;Description automatically generated">
            <a:extLst>
              <a:ext uri="{FF2B5EF4-FFF2-40B4-BE49-F238E27FC236}">
                <a16:creationId xmlns:a16="http://schemas.microsoft.com/office/drawing/2014/main" id="{E54C82A5-BA0B-490C-6AEB-23911A7E94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6805" y="2492686"/>
            <a:ext cx="289283" cy="289283"/>
          </a:xfrm>
          <a:prstGeom prst="rect">
            <a:avLst/>
          </a:prstGeom>
        </p:spPr>
      </p:pic>
      <p:pic>
        <p:nvPicPr>
          <p:cNvPr id="94" name="Grafik 683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7114BEE1-66BD-B775-6B93-A364EC6B3A5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041" y="2656915"/>
            <a:ext cx="606546" cy="606546"/>
          </a:xfrm>
          <a:prstGeom prst="rect">
            <a:avLst/>
          </a:prstGeom>
        </p:spPr>
      </p:pic>
      <p:sp>
        <p:nvSpPr>
          <p:cNvPr id="95" name="Google Shape;4720;p24">
            <a:extLst>
              <a:ext uri="{FF2B5EF4-FFF2-40B4-BE49-F238E27FC236}">
                <a16:creationId xmlns:a16="http://schemas.microsoft.com/office/drawing/2014/main" id="{ABEE13D0-3650-1A7C-2553-D75D74E42621}"/>
              </a:ext>
            </a:extLst>
          </p:cNvPr>
          <p:cNvSpPr txBox="1"/>
          <p:nvPr/>
        </p:nvSpPr>
        <p:spPr>
          <a:xfrm>
            <a:off x="6308024" y="3307473"/>
            <a:ext cx="143479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Arial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  <a:sym typeface="Arial"/>
              </a:rPr>
              <a:t>Операции на транспортных узлах с мультимодальными решениями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pic>
        <p:nvPicPr>
          <p:cNvPr id="96" name="Grafik 8" descr="Pati izleri düz dolguyla">
            <a:extLst>
              <a:ext uri="{FF2B5EF4-FFF2-40B4-BE49-F238E27FC236}">
                <a16:creationId xmlns:a16="http://schemas.microsoft.com/office/drawing/2014/main" id="{AA84A74C-0B06-4A3A-FE68-E2C5E6360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96499" y="4682630"/>
            <a:ext cx="477062" cy="477062"/>
          </a:xfrm>
          <a:prstGeom prst="rect">
            <a:avLst/>
          </a:prstGeom>
        </p:spPr>
      </p:pic>
      <p:sp>
        <p:nvSpPr>
          <p:cNvPr id="97" name="Google Shape;4720;p24">
            <a:extLst>
              <a:ext uri="{FF2B5EF4-FFF2-40B4-BE49-F238E27FC236}">
                <a16:creationId xmlns:a16="http://schemas.microsoft.com/office/drawing/2014/main" id="{2372AB5D-DE73-2E93-9B4A-7FF7D6BA2E71}"/>
              </a:ext>
            </a:extLst>
          </p:cNvPr>
          <p:cNvSpPr txBox="1"/>
          <p:nvPr/>
        </p:nvSpPr>
        <p:spPr>
          <a:xfrm>
            <a:off x="4440890" y="5345144"/>
            <a:ext cx="1339183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Arial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  <a:sym typeface="Arial"/>
              </a:rPr>
              <a:t>Транспортировка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Arial"/>
              <a:buNone/>
            </a:pPr>
            <a:r>
              <a:rPr lang="ru-RU" sz="1050" dirty="0">
                <a:solidFill>
                  <a:schemeClr val="accent2"/>
                </a:solidFill>
                <a:latin typeface="Arial" panose="020B0604020202020204" pitchFamily="34" charset="0"/>
                <a:sym typeface="Arial"/>
              </a:rPr>
              <a:t>животных</a:t>
            </a:r>
            <a:endParaRPr sz="1050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109" name="Textfeld 9">
            <a:extLst>
              <a:ext uri="{FF2B5EF4-FFF2-40B4-BE49-F238E27FC236}">
                <a16:creationId xmlns:a16="http://schemas.microsoft.com/office/drawing/2014/main" id="{E3B98BD6-8474-B90F-C428-9EF491A7F51C}"/>
              </a:ext>
            </a:extLst>
          </p:cNvPr>
          <p:cNvSpPr txBox="1"/>
          <p:nvPr/>
        </p:nvSpPr>
        <p:spPr bwMode="gray">
          <a:xfrm>
            <a:off x="371475" y="1717809"/>
            <a:ext cx="11447463" cy="2274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Rhenus</a:t>
            </a:r>
            <a:r>
              <a:rPr lang="de-DE" sz="1600" dirty="0">
                <a:solidFill>
                  <a:schemeClr val="accent2"/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2"/>
                </a:solidFill>
                <a:latin typeface="Arial" panose="020B0604020202020204" pitchFamily="34" charset="0"/>
              </a:rPr>
              <a:t>использует авиакомпании высшего класса</a:t>
            </a:r>
            <a:r>
              <a:rPr lang="de-DE" sz="1600" dirty="0">
                <a:solidFill>
                  <a:schemeClr val="accent2"/>
                </a:solidFill>
                <a:latin typeface="Arial" panose="020B0604020202020204" pitchFamily="34" charset="0"/>
              </a:rPr>
              <a:t>, </a:t>
            </a:r>
            <a:r>
              <a:rPr lang="ru-RU" sz="1600" dirty="0">
                <a:solidFill>
                  <a:schemeClr val="accent2"/>
                </a:solidFill>
                <a:latin typeface="Arial" panose="020B0604020202020204" pitchFamily="34" charset="0"/>
              </a:rPr>
              <a:t>гаранитируя наиболее быстрые сроки транзита</a:t>
            </a:r>
            <a:r>
              <a:rPr lang="de-DE" sz="1600" dirty="0">
                <a:solidFill>
                  <a:schemeClr val="accent2"/>
                </a:solidFill>
                <a:latin typeface="Arial" panose="020B0604020202020204" pitchFamily="34" charset="0"/>
              </a:rPr>
              <a:t>.</a:t>
            </a:r>
          </a:p>
        </p:txBody>
      </p:sp>
      <p:pic>
        <p:nvPicPr>
          <p:cNvPr id="20" name="Рисунок 1">
            <a:extLst>
              <a:ext uri="{FF2B5EF4-FFF2-40B4-BE49-F238E27FC236}">
                <a16:creationId xmlns:a16="http://schemas.microsoft.com/office/drawing/2014/main" id="{F569BA59-F12A-53D5-90E2-E6A46D20338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2233" y="2366975"/>
            <a:ext cx="3704472" cy="368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2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 descr="Ein Bild, das Zeichnung, Teller enthält.&#10;&#10;Automatisch generierte Beschreibung">
            <a:extLst>
              <a:ext uri="{FF2B5EF4-FFF2-40B4-BE49-F238E27FC236}">
                <a16:creationId xmlns:a16="http://schemas.microsoft.com/office/drawing/2014/main" id="{5E17691A-50A7-4F33-BEEF-610438B2CB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1851" y="611120"/>
            <a:ext cx="1333327" cy="290478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68120E6-A46A-42B7-B46A-152ADF2EC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1707-6D35-4872-89D4-575331FDCCDA}" type="slidenum">
              <a:rPr lang="de-DE" smtClean="0">
                <a:solidFill>
                  <a:srgbClr val="1F1F1F"/>
                </a:solidFill>
                <a:latin typeface="Arial"/>
                <a:cs typeface="Arial"/>
              </a:rPr>
              <a:t>16</a:t>
            </a:fld>
            <a:endParaRPr lang="de-DE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58BADF7-781A-4461-BD40-B6DFDF417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28A495-E7EA-430F-AFBE-043388F2F214}" type="datetime1">
              <a:rPr lang="de-DE" sz="800" smtClean="0">
                <a:solidFill>
                  <a:srgbClr val="1F1F1F"/>
                </a:solidFill>
                <a:latin typeface="Arial"/>
                <a:cs typeface="Arial"/>
              </a:rPr>
              <a:t>11.09.2023</a:t>
            </a:fld>
            <a:endParaRPr lang="de-DE" sz="800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54" name="Titel 1">
            <a:extLst>
              <a:ext uri="{FF2B5EF4-FFF2-40B4-BE49-F238E27FC236}">
                <a16:creationId xmlns:a16="http://schemas.microsoft.com/office/drawing/2014/main" id="{F77D3C6D-3897-4A74-BAA5-22D61B209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793" y="731407"/>
            <a:ext cx="11469599" cy="69364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>
                <a:solidFill>
                  <a:srgbClr val="00469B"/>
                </a:solidFill>
                <a:latin typeface="Arial" panose="020B0604020202020204" pitchFamily="34" charset="0"/>
              </a:rPr>
              <a:t>Автодорожные перевозки</a:t>
            </a:r>
            <a:endParaRPr lang="de-DE" dirty="0">
              <a:solidFill>
                <a:srgbClr val="00469B"/>
              </a:solidFill>
              <a:latin typeface="Arial" panose="020B0604020202020204" pitchFamily="34" charset="0"/>
            </a:endParaRPr>
          </a:p>
        </p:txBody>
      </p:sp>
      <p:grpSp>
        <p:nvGrpSpPr>
          <p:cNvPr id="3" name="Gruppieren 7">
            <a:extLst>
              <a:ext uri="{FF2B5EF4-FFF2-40B4-BE49-F238E27FC236}">
                <a16:creationId xmlns:a16="http://schemas.microsoft.com/office/drawing/2014/main" id="{B817FBB7-4F64-C3B0-5B0F-F1A8E4E7DFBC}"/>
              </a:ext>
            </a:extLst>
          </p:cNvPr>
          <p:cNvGrpSpPr/>
          <p:nvPr/>
        </p:nvGrpSpPr>
        <p:grpSpPr>
          <a:xfrm>
            <a:off x="797768" y="2089153"/>
            <a:ext cx="1741454" cy="1753156"/>
            <a:chOff x="1111011" y="1700213"/>
            <a:chExt cx="1467941" cy="160566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51AD2DC-CF8E-D83C-0D79-44C1364D48E8}"/>
                </a:ext>
              </a:extLst>
            </p:cNvPr>
            <p:cNvSpPr/>
            <p:nvPr/>
          </p:nvSpPr>
          <p:spPr>
            <a:xfrm>
              <a:off x="1210799" y="1700213"/>
              <a:ext cx="1294883" cy="16056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813C2DF-C3A0-085B-EE27-417A32F77C8E}"/>
                </a:ext>
              </a:extLst>
            </p:cNvPr>
            <p:cNvSpPr txBox="1"/>
            <p:nvPr/>
          </p:nvSpPr>
          <p:spPr>
            <a:xfrm>
              <a:off x="1111011" y="2605366"/>
              <a:ext cx="1467941" cy="47920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algn="ctr"/>
              <a:r>
                <a:rPr lang="ru-RU" sz="1400" dirty="0">
                  <a:solidFill>
                    <a:schemeClr val="accent2"/>
                  </a:solidFill>
                  <a:latin typeface="Arial" panose="020B0604020202020204" pitchFamily="34" charset="0"/>
                  <a:ea typeface="League Spartan" charset="0"/>
                  <a:cs typeface="Poppins" pitchFamily="2" charset="77"/>
                </a:rPr>
                <a:t>Отслеживание и трассировка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0305929-696F-35E1-F584-827A56B0F787}"/>
              </a:ext>
            </a:extLst>
          </p:cNvPr>
          <p:cNvSpPr/>
          <p:nvPr/>
        </p:nvSpPr>
        <p:spPr>
          <a:xfrm>
            <a:off x="913213" y="3925888"/>
            <a:ext cx="1536151" cy="17531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E0CFD13-2866-3598-D8F9-362DB396E831}"/>
              </a:ext>
            </a:extLst>
          </p:cNvPr>
          <p:cNvSpPr txBox="1"/>
          <p:nvPr/>
        </p:nvSpPr>
        <p:spPr>
          <a:xfrm>
            <a:off x="875203" y="4906740"/>
            <a:ext cx="1618865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Медицинская</a:t>
            </a:r>
          </a:p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продукция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145F831-D3D8-7B4D-5570-967E6929A637}"/>
              </a:ext>
            </a:extLst>
          </p:cNvPr>
          <p:cNvSpPr/>
          <p:nvPr/>
        </p:nvSpPr>
        <p:spPr>
          <a:xfrm>
            <a:off x="2620016" y="3926284"/>
            <a:ext cx="1536151" cy="17531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32C0A32-A49B-6A68-597D-B3ADFAA8D705}"/>
              </a:ext>
            </a:extLst>
          </p:cNvPr>
          <p:cNvSpPr txBox="1"/>
          <p:nvPr/>
        </p:nvSpPr>
        <p:spPr>
          <a:xfrm>
            <a:off x="2553290" y="4875907"/>
            <a:ext cx="1640397" cy="73866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Транспортировка с температурным режимом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7F4C3B9-6A06-675D-0EE8-94C525F9430D}"/>
              </a:ext>
            </a:extLst>
          </p:cNvPr>
          <p:cNvSpPr/>
          <p:nvPr/>
        </p:nvSpPr>
        <p:spPr>
          <a:xfrm>
            <a:off x="7996561" y="2094328"/>
            <a:ext cx="1536151" cy="17230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0790744-50B3-0640-D9B1-97E7D6108D4C}"/>
              </a:ext>
            </a:extLst>
          </p:cNvPr>
          <p:cNvSpPr txBox="1"/>
          <p:nvPr/>
        </p:nvSpPr>
        <p:spPr>
          <a:xfrm>
            <a:off x="8017979" y="3085883"/>
            <a:ext cx="1467941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Таможенные услуги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B6FECE7-8DF8-A5C2-2E8D-1C5F53357FA0}"/>
              </a:ext>
            </a:extLst>
          </p:cNvPr>
          <p:cNvSpPr/>
          <p:nvPr/>
        </p:nvSpPr>
        <p:spPr>
          <a:xfrm>
            <a:off x="2620016" y="2089549"/>
            <a:ext cx="1536151" cy="17531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95DF14C-2DEC-23F3-33BE-0624A7309899}"/>
              </a:ext>
            </a:extLst>
          </p:cNvPr>
          <p:cNvSpPr txBox="1"/>
          <p:nvPr/>
        </p:nvSpPr>
        <p:spPr>
          <a:xfrm>
            <a:off x="2657603" y="3081924"/>
            <a:ext cx="1467941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Экспресс-доставки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BB360BC-18CE-64A2-C131-273C3131FB94}"/>
              </a:ext>
            </a:extLst>
          </p:cNvPr>
          <p:cNvSpPr/>
          <p:nvPr/>
        </p:nvSpPr>
        <p:spPr>
          <a:xfrm>
            <a:off x="7996561" y="3899673"/>
            <a:ext cx="1536151" cy="1783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E80F5C-60BF-3DAC-1FA0-282279D18AEE}"/>
              </a:ext>
            </a:extLst>
          </p:cNvPr>
          <p:cNvSpPr txBox="1"/>
          <p:nvPr/>
        </p:nvSpPr>
        <p:spPr>
          <a:xfrm>
            <a:off x="8017979" y="4850108"/>
            <a:ext cx="1467941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Опасные грузы</a:t>
            </a:r>
            <a:r>
              <a:rPr lang="en-US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 (ADR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954AEC8-9704-0D7E-51AE-100A3648067B}"/>
              </a:ext>
            </a:extLst>
          </p:cNvPr>
          <p:cNvSpPr/>
          <p:nvPr/>
        </p:nvSpPr>
        <p:spPr>
          <a:xfrm>
            <a:off x="9705404" y="3895809"/>
            <a:ext cx="1536151" cy="1783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22DB97C-E856-9090-AC94-96A0AA4A1272}"/>
              </a:ext>
            </a:extLst>
          </p:cNvPr>
          <p:cNvSpPr txBox="1"/>
          <p:nvPr/>
        </p:nvSpPr>
        <p:spPr>
          <a:xfrm>
            <a:off x="9688131" y="4833073"/>
            <a:ext cx="1536151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Проверенные субподрядчики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6F1C8ED-D531-B25F-9B6B-C58974B6BAEA}"/>
              </a:ext>
            </a:extLst>
          </p:cNvPr>
          <p:cNvSpPr/>
          <p:nvPr/>
        </p:nvSpPr>
        <p:spPr>
          <a:xfrm>
            <a:off x="9705404" y="2094328"/>
            <a:ext cx="1536151" cy="17230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6C25FE4-2F52-21A9-7746-8C16C1217716}"/>
              </a:ext>
            </a:extLst>
          </p:cNvPr>
          <p:cNvSpPr txBox="1"/>
          <p:nvPr/>
        </p:nvSpPr>
        <p:spPr>
          <a:xfrm>
            <a:off x="9741407" y="3081924"/>
            <a:ext cx="1467941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Страховые полисы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837417D-609D-D447-75B7-8A15FA206AF9}"/>
              </a:ext>
            </a:extLst>
          </p:cNvPr>
          <p:cNvSpPr/>
          <p:nvPr/>
        </p:nvSpPr>
        <p:spPr>
          <a:xfrm>
            <a:off x="4693017" y="2094329"/>
            <a:ext cx="2801004" cy="3584716"/>
          </a:xfrm>
          <a:prstGeom prst="rect">
            <a:avLst/>
          </a:prstGeom>
          <a:solidFill>
            <a:srgbClr val="FABB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84DEA31-0A6D-0F4F-984F-15A67C3FAFE1}"/>
              </a:ext>
            </a:extLst>
          </p:cNvPr>
          <p:cNvSpPr txBox="1"/>
          <p:nvPr/>
        </p:nvSpPr>
        <p:spPr>
          <a:xfrm>
            <a:off x="4923764" y="3345698"/>
            <a:ext cx="2570257" cy="22467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Ориентир на </a:t>
            </a:r>
            <a:r>
              <a:rPr lang="en-US" sz="1400" b="1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HSE</a:t>
            </a:r>
          </a:p>
          <a:p>
            <a:pPr algn="ctr"/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Управление субподрядами</a:t>
            </a:r>
          </a:p>
          <a:p>
            <a:endParaRPr lang="ru-RU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Управление рисками</a:t>
            </a:r>
          </a:p>
          <a:p>
            <a:endParaRPr lang="ru-RU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Управление водителями</a:t>
            </a:r>
          </a:p>
          <a:p>
            <a:endParaRPr lang="ru-RU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Управление транспортными средствами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92" name="Date Placeholder 2">
            <a:extLst>
              <a:ext uri="{FF2B5EF4-FFF2-40B4-BE49-F238E27FC236}">
                <a16:creationId xmlns:a16="http://schemas.microsoft.com/office/drawing/2014/main" id="{49F86ABB-8C05-D9E4-3CD3-BBF7B93CCE17}"/>
              </a:ext>
            </a:extLst>
          </p:cNvPr>
          <p:cNvSpPr txBox="1">
            <a:spLocks/>
          </p:cNvSpPr>
          <p:nvPr/>
        </p:nvSpPr>
        <p:spPr bwMode="gray">
          <a:xfrm>
            <a:off x="364332" y="6598676"/>
            <a:ext cx="63261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rgbClr val="CFCFD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93" name="Footer Placeholder 4">
            <a:extLst>
              <a:ext uri="{FF2B5EF4-FFF2-40B4-BE49-F238E27FC236}">
                <a16:creationId xmlns:a16="http://schemas.microsoft.com/office/drawing/2014/main" id="{12AB0F50-F3A9-94A6-4DE8-A6D9CFCC9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95206" y="6598676"/>
            <a:ext cx="7200000" cy="144000"/>
          </a:xfrm>
        </p:spPr>
        <p:txBody>
          <a:bodyPr/>
          <a:lstStyle/>
          <a:p>
            <a:r>
              <a:rPr lang="de-DE" dirty="0" err="1"/>
              <a:t>Confidential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9784B3-1176-7681-44A3-A12D48DBA4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53288" y="2301225"/>
            <a:ext cx="442913" cy="63436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47126A2-B689-C6FB-752C-A1C384599B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15765" y="2230031"/>
            <a:ext cx="648653" cy="760095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C3E447A-7567-2935-A564-B06BE7A93B8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69253" y="4149613"/>
            <a:ext cx="1160145" cy="48006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7C81BC0A-6290-A968-CDEF-B5211AB605B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97250" y="4219647"/>
            <a:ext cx="573946" cy="494501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027F65C1-7BC6-FBCF-1230-3302878A4EB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06517" y="4171151"/>
            <a:ext cx="530638" cy="538067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C206B6DA-177B-2049-650D-89EACC25D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18998" y="2432000"/>
            <a:ext cx="738188" cy="45243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9E39784-E359-CD7A-5380-CB8D05F07278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216304" y="4180702"/>
            <a:ext cx="514350" cy="485775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E3735E11-EC89-5AB8-E517-732AC0E5FC4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493444" y="2286640"/>
            <a:ext cx="1200150" cy="1000125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D7203F05-875D-BD95-1B29-3879058518A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051393" y="2414887"/>
            <a:ext cx="809625" cy="495300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CDF169DD-9D58-1082-94DD-8626A2A82C17}"/>
              </a:ext>
            </a:extLst>
          </p:cNvPr>
          <p:cNvSpPr/>
          <p:nvPr/>
        </p:nvSpPr>
        <p:spPr bwMode="gray">
          <a:xfrm>
            <a:off x="4823047" y="3867950"/>
            <a:ext cx="105478" cy="1107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CB25B3-D394-56B8-9818-439E188A885E}"/>
              </a:ext>
            </a:extLst>
          </p:cNvPr>
          <p:cNvSpPr/>
          <p:nvPr/>
        </p:nvSpPr>
        <p:spPr bwMode="gray">
          <a:xfrm>
            <a:off x="4818435" y="4288200"/>
            <a:ext cx="105478" cy="1107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984BB77-322C-B2BC-7DAC-7D534106646C}"/>
              </a:ext>
            </a:extLst>
          </p:cNvPr>
          <p:cNvSpPr/>
          <p:nvPr/>
        </p:nvSpPr>
        <p:spPr bwMode="gray">
          <a:xfrm>
            <a:off x="4813816" y="4708452"/>
            <a:ext cx="105478" cy="1107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D53A0F1-7F38-F213-1860-9233A668EB55}"/>
              </a:ext>
            </a:extLst>
          </p:cNvPr>
          <p:cNvSpPr/>
          <p:nvPr/>
        </p:nvSpPr>
        <p:spPr bwMode="gray">
          <a:xfrm>
            <a:off x="4818439" y="5128702"/>
            <a:ext cx="105478" cy="1107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9B8AABFB-F9BD-784F-B374-5588DA35DC0C}"/>
              </a:ext>
            </a:extLst>
          </p:cNvPr>
          <p:cNvCxnSpPr>
            <a:stCxn id="14" idx="0"/>
            <a:endCxn id="83" idx="0"/>
          </p:cNvCxnSpPr>
          <p:nvPr/>
        </p:nvCxnSpPr>
        <p:spPr bwMode="gray">
          <a:xfrm rot="16200000" flipH="1">
            <a:off x="3886283" y="-112906"/>
            <a:ext cx="5176" cy="4409295"/>
          </a:xfrm>
          <a:prstGeom prst="bentConnector3">
            <a:avLst>
              <a:gd name="adj1" fmla="val -4416538"/>
            </a:avLst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9D449664-B3F9-80D8-76F7-EE6DACA9FA01}"/>
              </a:ext>
            </a:extLst>
          </p:cNvPr>
          <p:cNvCxnSpPr>
            <a:stCxn id="26" idx="2"/>
            <a:endCxn id="83" idx="2"/>
          </p:cNvCxnSpPr>
          <p:nvPr/>
        </p:nvCxnSpPr>
        <p:spPr bwMode="gray">
          <a:xfrm rot="16200000" flipH="1">
            <a:off x="3887404" y="3472929"/>
            <a:ext cx="1" cy="4412230"/>
          </a:xfrm>
          <a:prstGeom prst="bentConnector3">
            <a:avLst>
              <a:gd name="adj1" fmla="val 22860100000"/>
            </a:avLst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DADDE10-A4E7-0400-00DE-C6458430EAFF}"/>
              </a:ext>
            </a:extLst>
          </p:cNvPr>
          <p:cNvCxnSpPr>
            <a:cxnSpLocks/>
            <a:stCxn id="29" idx="2"/>
          </p:cNvCxnSpPr>
          <p:nvPr/>
        </p:nvCxnSpPr>
        <p:spPr bwMode="gray">
          <a:xfrm>
            <a:off x="3388092" y="5679440"/>
            <a:ext cx="0" cy="22737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5F3532-7208-269B-196D-4B58956398D7}"/>
              </a:ext>
            </a:extLst>
          </p:cNvPr>
          <p:cNvCxnSpPr>
            <a:cxnSpLocks/>
          </p:cNvCxnSpPr>
          <p:nvPr/>
        </p:nvCxnSpPr>
        <p:spPr bwMode="gray">
          <a:xfrm flipH="1">
            <a:off x="8765381" y="5682908"/>
            <a:ext cx="3021" cy="22259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E1EA239-06FF-DCF8-21D2-6DC5BDE9EFD6}"/>
              </a:ext>
            </a:extLst>
          </p:cNvPr>
          <p:cNvCxnSpPr>
            <a:cxnSpLocks/>
            <a:endCxn id="55" idx="0"/>
          </p:cNvCxnSpPr>
          <p:nvPr/>
        </p:nvCxnSpPr>
        <p:spPr bwMode="gray">
          <a:xfrm>
            <a:off x="3388092" y="1862853"/>
            <a:ext cx="0" cy="226696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6792C59-B595-46F9-871D-0EF885D1D2AB}"/>
              </a:ext>
            </a:extLst>
          </p:cNvPr>
          <p:cNvCxnSpPr>
            <a:cxnSpLocks/>
          </p:cNvCxnSpPr>
          <p:nvPr/>
        </p:nvCxnSpPr>
        <p:spPr bwMode="gray">
          <a:xfrm>
            <a:off x="8764636" y="1860313"/>
            <a:ext cx="1" cy="23147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F3D26CB-8143-20CE-A568-5942BC049F93}"/>
              </a:ext>
            </a:extLst>
          </p:cNvPr>
          <p:cNvCxnSpPr>
            <a:cxnSpLocks/>
          </p:cNvCxnSpPr>
          <p:nvPr/>
        </p:nvCxnSpPr>
        <p:spPr bwMode="gray">
          <a:xfrm flipV="1">
            <a:off x="6093520" y="1855470"/>
            <a:ext cx="4388615" cy="547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B1E100-4990-ECAB-BE72-79F4AB97614F}"/>
              </a:ext>
            </a:extLst>
          </p:cNvPr>
          <p:cNvCxnSpPr>
            <a:cxnSpLocks/>
          </p:cNvCxnSpPr>
          <p:nvPr/>
        </p:nvCxnSpPr>
        <p:spPr bwMode="gray">
          <a:xfrm>
            <a:off x="10482134" y="1858074"/>
            <a:ext cx="1" cy="23147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EA8EB3C-AE2F-A897-2FBC-4219C25A51DE}"/>
              </a:ext>
            </a:extLst>
          </p:cNvPr>
          <p:cNvCxnSpPr>
            <a:cxnSpLocks/>
          </p:cNvCxnSpPr>
          <p:nvPr/>
        </p:nvCxnSpPr>
        <p:spPr bwMode="gray">
          <a:xfrm flipV="1">
            <a:off x="6093520" y="5903343"/>
            <a:ext cx="4379960" cy="381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C90D1C9-615B-CF6A-1951-9A5163D7EEC9}"/>
              </a:ext>
            </a:extLst>
          </p:cNvPr>
          <p:cNvCxnSpPr>
            <a:cxnSpLocks/>
            <a:stCxn id="75" idx="2"/>
          </p:cNvCxnSpPr>
          <p:nvPr/>
        </p:nvCxnSpPr>
        <p:spPr bwMode="gray">
          <a:xfrm>
            <a:off x="10473480" y="5679044"/>
            <a:ext cx="0" cy="224299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255707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стойчивое развитие окружающей среды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>
                <a:solidFill>
                  <a:srgbClr val="1F1F1F"/>
                </a:solidFill>
                <a:latin typeface="Arial"/>
                <a:cs typeface="Arial"/>
              </a:rPr>
              <a:t>11.09.2023</a:t>
            </a:fld>
            <a:endParaRPr lang="de-DE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>
                <a:solidFill>
                  <a:srgbClr val="1F1F1F"/>
                </a:solidFill>
                <a:latin typeface="Arial"/>
                <a:cs typeface="Arial"/>
              </a:rPr>
              <a:pPr/>
              <a:t>17</a:t>
            </a:fld>
            <a:endParaRPr lang="de-DE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err="1">
                <a:solidFill>
                  <a:srgbClr val="1F1F1F"/>
                </a:solidFill>
                <a:latin typeface="Arial"/>
                <a:cs typeface="Arial"/>
              </a:rPr>
              <a:t>Confidential</a:t>
            </a:r>
            <a:endParaRPr lang="de-DE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grpSp>
        <p:nvGrpSpPr>
          <p:cNvPr id="33" name="Gruppieren 7">
            <a:extLst>
              <a:ext uri="{FF2B5EF4-FFF2-40B4-BE49-F238E27FC236}">
                <a16:creationId xmlns:a16="http://schemas.microsoft.com/office/drawing/2014/main" id="{C58BEC3A-040C-E5E0-FA50-3EDADBFD6588}"/>
              </a:ext>
            </a:extLst>
          </p:cNvPr>
          <p:cNvGrpSpPr/>
          <p:nvPr/>
        </p:nvGrpSpPr>
        <p:grpSpPr>
          <a:xfrm>
            <a:off x="996950" y="1986461"/>
            <a:ext cx="6811895" cy="648371"/>
            <a:chOff x="286608" y="1901032"/>
            <a:chExt cx="1568060" cy="1325940"/>
          </a:xfrm>
          <a:solidFill>
            <a:srgbClr val="57A32C"/>
          </a:solidFill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445BAD5-CF83-6C02-8258-14D0C5F63DEE}"/>
                </a:ext>
              </a:extLst>
            </p:cNvPr>
            <p:cNvSpPr/>
            <p:nvPr/>
          </p:nvSpPr>
          <p:spPr>
            <a:xfrm rot="5400000">
              <a:off x="407668" y="1779972"/>
              <a:ext cx="1325940" cy="15680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2963CB9-C61B-8E54-E4D1-476AF2570111}"/>
                </a:ext>
              </a:extLst>
            </p:cNvPr>
            <p:cNvSpPr txBox="1"/>
            <p:nvPr/>
          </p:nvSpPr>
          <p:spPr>
            <a:xfrm>
              <a:off x="581586" y="2100821"/>
              <a:ext cx="1273082" cy="944120"/>
            </a:xfrm>
            <a:prstGeom prst="rect">
              <a:avLst/>
            </a:prstGeom>
            <a:grpFill/>
          </p:spPr>
          <p:txBody>
            <a:bodyPr wrap="square" rtlCol="0" anchor="t" anchorCtr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  <a:latin typeface="Arial" panose="020B0604020202020204" pitchFamily="34" charset="0"/>
                  <a:ea typeface="League Spartan" charset="0"/>
                  <a:cs typeface="Poppins" pitchFamily="2" charset="77"/>
                </a:rPr>
                <a:t>Наши Экологические Инициативы</a:t>
              </a:r>
              <a:endParaRPr lang="en-US" sz="2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endParaRPr>
            </a:p>
          </p:txBody>
        </p: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E3ADF307-192D-C43A-3A36-2581A5C623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4879" y="1264063"/>
            <a:ext cx="1743075" cy="985838"/>
          </a:xfrm>
          <a:prstGeom prst="rect">
            <a:avLst/>
          </a:prstGeom>
        </p:spPr>
      </p:pic>
      <p:grpSp>
        <p:nvGrpSpPr>
          <p:cNvPr id="13" name="Group 44">
            <a:extLst>
              <a:ext uri="{FF2B5EF4-FFF2-40B4-BE49-F238E27FC236}">
                <a16:creationId xmlns:a16="http://schemas.microsoft.com/office/drawing/2014/main" id="{AC6DFEBE-8F60-6FDC-2DFB-8C77144BB51E}"/>
              </a:ext>
            </a:extLst>
          </p:cNvPr>
          <p:cNvGrpSpPr/>
          <p:nvPr/>
        </p:nvGrpSpPr>
        <p:grpSpPr>
          <a:xfrm>
            <a:off x="960671" y="2890964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15" name="Parallelogram 45">
              <a:extLst>
                <a:ext uri="{FF2B5EF4-FFF2-40B4-BE49-F238E27FC236}">
                  <a16:creationId xmlns:a16="http://schemas.microsoft.com/office/drawing/2014/main" id="{31B2D9FC-9043-8132-042A-BC8AE550DD6A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Parallelogram 46">
              <a:extLst>
                <a:ext uri="{FF2B5EF4-FFF2-40B4-BE49-F238E27FC236}">
                  <a16:creationId xmlns:a16="http://schemas.microsoft.com/office/drawing/2014/main" id="{6CF744C6-0B5B-436C-D007-658CA5E862E3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EA64CCD-FCB2-6331-C166-D0E61A58CC25}"/>
              </a:ext>
            </a:extLst>
          </p:cNvPr>
          <p:cNvSpPr txBox="1"/>
          <p:nvPr/>
        </p:nvSpPr>
        <p:spPr bwMode="gray">
          <a:xfrm>
            <a:off x="1785972" y="2881668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тремление достичь углеродной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нейтральности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к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 2045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 году</a:t>
            </a:r>
            <a:endParaRPr lang="en-US" sz="1400" dirty="0">
              <a:solidFill>
                <a:srgbClr val="054797"/>
              </a:solidFill>
              <a:latin typeface="Arial" panose="020B0604020202020204" pitchFamily="34" charset="0"/>
            </a:endParaRPr>
          </a:p>
        </p:txBody>
      </p:sp>
      <p:grpSp>
        <p:nvGrpSpPr>
          <p:cNvPr id="25" name="Group 44">
            <a:extLst>
              <a:ext uri="{FF2B5EF4-FFF2-40B4-BE49-F238E27FC236}">
                <a16:creationId xmlns:a16="http://schemas.microsoft.com/office/drawing/2014/main" id="{9514D906-9A19-CC52-FD37-1FED47B088D0}"/>
              </a:ext>
            </a:extLst>
          </p:cNvPr>
          <p:cNvGrpSpPr/>
          <p:nvPr/>
        </p:nvGrpSpPr>
        <p:grpSpPr>
          <a:xfrm>
            <a:off x="960671" y="3483898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27" name="Parallelogram 45">
              <a:extLst>
                <a:ext uri="{FF2B5EF4-FFF2-40B4-BE49-F238E27FC236}">
                  <a16:creationId xmlns:a16="http://schemas.microsoft.com/office/drawing/2014/main" id="{3ADDB407-98B4-E901-4358-8761DA0B99D1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Parallelogram 46">
              <a:extLst>
                <a:ext uri="{FF2B5EF4-FFF2-40B4-BE49-F238E27FC236}">
                  <a16:creationId xmlns:a16="http://schemas.microsoft.com/office/drawing/2014/main" id="{EC156C1F-DC5D-C093-3643-080D76943CF1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0BEAF3E-0FE0-197B-2D53-96B235075D53}"/>
              </a:ext>
            </a:extLst>
          </p:cNvPr>
          <p:cNvSpPr txBox="1"/>
          <p:nvPr/>
        </p:nvSpPr>
        <p:spPr bwMode="gray">
          <a:xfrm>
            <a:off x="1781354" y="3449701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Участник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Глобального Договора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ООН</a:t>
            </a:r>
            <a:endParaRPr lang="en-US" sz="1400" dirty="0">
              <a:solidFill>
                <a:srgbClr val="054797"/>
              </a:solidFill>
              <a:latin typeface="Arial" panose="020B0604020202020204" pitchFamily="34" charset="0"/>
            </a:endParaRP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8DED2825-0FFD-39AE-647D-396718F1A648}"/>
              </a:ext>
            </a:extLst>
          </p:cNvPr>
          <p:cNvGrpSpPr/>
          <p:nvPr/>
        </p:nvGrpSpPr>
        <p:grpSpPr>
          <a:xfrm>
            <a:off x="940409" y="4027609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40" name="Parallelogram 45">
              <a:extLst>
                <a:ext uri="{FF2B5EF4-FFF2-40B4-BE49-F238E27FC236}">
                  <a16:creationId xmlns:a16="http://schemas.microsoft.com/office/drawing/2014/main" id="{A1E8BC03-7CE0-E0BA-D597-9D04392756D2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Parallelogram 46">
              <a:extLst>
                <a:ext uri="{FF2B5EF4-FFF2-40B4-BE49-F238E27FC236}">
                  <a16:creationId xmlns:a16="http://schemas.microsoft.com/office/drawing/2014/main" id="{C37DD8EF-06D9-07F3-D6FE-C7B917E38258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7A691616-F14F-AF9C-7AD1-49DD20937A9A}"/>
              </a:ext>
            </a:extLst>
          </p:cNvPr>
          <p:cNvSpPr txBox="1"/>
          <p:nvPr/>
        </p:nvSpPr>
        <p:spPr bwMode="gray">
          <a:xfrm>
            <a:off x="1785972" y="4017734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Золотая медаль 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ECOVADIS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2022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года</a:t>
            </a:r>
            <a:endParaRPr lang="en-US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43" name="Group 44">
            <a:extLst>
              <a:ext uri="{FF2B5EF4-FFF2-40B4-BE49-F238E27FC236}">
                <a16:creationId xmlns:a16="http://schemas.microsoft.com/office/drawing/2014/main" id="{1C61C588-730D-61F7-948F-DBB77A58DCC7}"/>
              </a:ext>
            </a:extLst>
          </p:cNvPr>
          <p:cNvGrpSpPr/>
          <p:nvPr/>
        </p:nvGrpSpPr>
        <p:grpSpPr>
          <a:xfrm>
            <a:off x="928927" y="4603203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45" name="Parallelogram 45">
              <a:extLst>
                <a:ext uri="{FF2B5EF4-FFF2-40B4-BE49-F238E27FC236}">
                  <a16:creationId xmlns:a16="http://schemas.microsoft.com/office/drawing/2014/main" id="{58DE30B5-3411-D8DC-5E31-C28CFD262631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Parallelogram 46">
              <a:extLst>
                <a:ext uri="{FF2B5EF4-FFF2-40B4-BE49-F238E27FC236}">
                  <a16:creationId xmlns:a16="http://schemas.microsoft.com/office/drawing/2014/main" id="{47497F0F-D01E-ABB8-A050-873D10D8BB25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3FB9FC13-2408-6E50-9DFA-6A1D05948D3B}"/>
              </a:ext>
            </a:extLst>
          </p:cNvPr>
          <p:cNvSpPr txBox="1"/>
          <p:nvPr/>
        </p:nvSpPr>
        <p:spPr bwMode="gray">
          <a:xfrm>
            <a:off x="1785971" y="4585767"/>
            <a:ext cx="64588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Доступ к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панели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управления выбросами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для отслеживания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выбросов 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CO</a:t>
            </a:r>
            <a:r>
              <a:rPr lang="en-US" sz="1400" baseline="-250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2</a:t>
            </a:r>
          </a:p>
        </p:txBody>
      </p:sp>
      <p:grpSp>
        <p:nvGrpSpPr>
          <p:cNvPr id="48" name="Group 44">
            <a:extLst>
              <a:ext uri="{FF2B5EF4-FFF2-40B4-BE49-F238E27FC236}">
                <a16:creationId xmlns:a16="http://schemas.microsoft.com/office/drawing/2014/main" id="{68BEDC0A-A163-A39E-0534-AD550062D1CE}"/>
              </a:ext>
            </a:extLst>
          </p:cNvPr>
          <p:cNvGrpSpPr/>
          <p:nvPr/>
        </p:nvGrpSpPr>
        <p:grpSpPr>
          <a:xfrm>
            <a:off x="902426" y="5164210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49" name="Parallelogram 45">
              <a:extLst>
                <a:ext uri="{FF2B5EF4-FFF2-40B4-BE49-F238E27FC236}">
                  <a16:creationId xmlns:a16="http://schemas.microsoft.com/office/drawing/2014/main" id="{2C3FCC38-0D61-1EB8-4182-109C1CFC73CD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Parallelogram 46">
              <a:extLst>
                <a:ext uri="{FF2B5EF4-FFF2-40B4-BE49-F238E27FC236}">
                  <a16:creationId xmlns:a16="http://schemas.microsoft.com/office/drawing/2014/main" id="{4152E3A2-C0E9-6D69-670E-953B160FDE87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E622AD7E-0507-5B44-8536-E66A68B6B945}"/>
              </a:ext>
            </a:extLst>
          </p:cNvPr>
          <p:cNvSpPr txBox="1"/>
          <p:nvPr/>
        </p:nvSpPr>
        <p:spPr bwMode="gray">
          <a:xfrm>
            <a:off x="1785972" y="5127341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артнёрство с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COZERO</a:t>
            </a:r>
          </a:p>
        </p:txBody>
      </p:sp>
      <p:grpSp>
        <p:nvGrpSpPr>
          <p:cNvPr id="52" name="Group 44">
            <a:extLst>
              <a:ext uri="{FF2B5EF4-FFF2-40B4-BE49-F238E27FC236}">
                <a16:creationId xmlns:a16="http://schemas.microsoft.com/office/drawing/2014/main" id="{3678AE8F-9233-A982-2F0E-4A64FE13B038}"/>
              </a:ext>
            </a:extLst>
          </p:cNvPr>
          <p:cNvGrpSpPr/>
          <p:nvPr/>
        </p:nvGrpSpPr>
        <p:grpSpPr>
          <a:xfrm>
            <a:off x="897473" y="5737043"/>
            <a:ext cx="442327" cy="222255"/>
            <a:chOff x="110844" y="579120"/>
            <a:chExt cx="470181" cy="236220"/>
          </a:xfrm>
          <a:solidFill>
            <a:schemeClr val="accent6"/>
          </a:solidFill>
        </p:grpSpPr>
        <p:sp>
          <p:nvSpPr>
            <p:cNvPr id="53" name="Parallelogram 45">
              <a:extLst>
                <a:ext uri="{FF2B5EF4-FFF2-40B4-BE49-F238E27FC236}">
                  <a16:creationId xmlns:a16="http://schemas.microsoft.com/office/drawing/2014/main" id="{69ADE157-DB98-3E7A-4BCE-8EAAC7955EC2}"/>
                </a:ext>
              </a:extLst>
            </p:cNvPr>
            <p:cNvSpPr/>
            <p:nvPr/>
          </p:nvSpPr>
          <p:spPr bwMode="gray">
            <a:xfrm>
              <a:off x="110844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Parallelogram 46">
              <a:extLst>
                <a:ext uri="{FF2B5EF4-FFF2-40B4-BE49-F238E27FC236}">
                  <a16:creationId xmlns:a16="http://schemas.microsoft.com/office/drawing/2014/main" id="{E2908CBC-0DB7-477D-D181-E34A23900ADE}"/>
                </a:ext>
              </a:extLst>
            </p:cNvPr>
            <p:cNvSpPr/>
            <p:nvPr/>
          </p:nvSpPr>
          <p:spPr bwMode="gray">
            <a:xfrm>
              <a:off x="234669" y="579120"/>
              <a:ext cx="346356" cy="236220"/>
            </a:xfrm>
            <a:prstGeom prst="parallelogram">
              <a:avLst>
                <a:gd name="adj" fmla="val 10857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A98FECBB-6F4F-C307-7540-91CFEBEA54B0}"/>
              </a:ext>
            </a:extLst>
          </p:cNvPr>
          <p:cNvSpPr txBox="1"/>
          <p:nvPr/>
        </p:nvSpPr>
        <p:spPr bwMode="gray">
          <a:xfrm>
            <a:off x="1785972" y="5697688"/>
            <a:ext cx="64588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Доступ к </a:t>
            </a:r>
            <a:r>
              <a:rPr lang="ru-RU" sz="1400" dirty="0">
                <a:solidFill>
                  <a:srgbClr val="054797"/>
                </a:solidFill>
                <a:latin typeface="Arial" panose="020B0604020202020204" pitchFamily="34" charset="0"/>
              </a:rPr>
              <a:t>точным данным</a:t>
            </a:r>
            <a:r>
              <a:rPr lang="en-US" sz="1400" dirty="0">
                <a:solidFill>
                  <a:srgbClr val="054797"/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для более глубокого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понимания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и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снижения углеродного следа</a:t>
            </a:r>
            <a:endParaRPr lang="en-US" sz="14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29" name="Picture 28" descr="A gold circle with black text and a ribbon&#10;&#10;Description automatically generated">
            <a:extLst>
              <a:ext uri="{FF2B5EF4-FFF2-40B4-BE49-F238E27FC236}">
                <a16:creationId xmlns:a16="http://schemas.microsoft.com/office/drawing/2014/main" id="{402BD223-F181-650A-411F-1CA1896B2D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7520" y="2593113"/>
            <a:ext cx="2161920" cy="1921707"/>
          </a:xfrm>
          <a:prstGeom prst="rect">
            <a:avLst/>
          </a:prstGeom>
        </p:spPr>
      </p:pic>
      <p:pic>
        <p:nvPicPr>
          <p:cNvPr id="32" name="Picture 31" descr="A logo of a global compact company&#10;&#10;Description automatically generated">
            <a:extLst>
              <a:ext uri="{FF2B5EF4-FFF2-40B4-BE49-F238E27FC236}">
                <a16:creationId xmlns:a16="http://schemas.microsoft.com/office/drawing/2014/main" id="{2B7F77D0-4BB3-C211-F6F6-C7A6AB5F34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16634" y="4236238"/>
            <a:ext cx="2616881" cy="185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18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92" y="731056"/>
            <a:ext cx="11613559" cy="693734"/>
          </a:xfrm>
        </p:spPr>
        <p:txBody>
          <a:bodyPr/>
          <a:lstStyle/>
          <a:p>
            <a:r>
              <a:rPr lang="ru-RU" dirty="0"/>
              <a:t>Корпоративный комплаенс</a:t>
            </a:r>
            <a:r>
              <a:rPr lang="en-US" dirty="0"/>
              <a:t>: </a:t>
            </a:r>
            <a:r>
              <a:rPr lang="ru-RU" dirty="0"/>
              <a:t>ключевые принципы нашей работы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650380-66BE-4BD4-962D-391444458B8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9.202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A4142D-4092-458E-BB22-308CC6995BD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/>
                <a:cs typeface="Arial"/>
              </a:rPr>
              <a:t>Confidential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0BC1351B-E719-6621-481D-9F78FE4FE178}"/>
              </a:ext>
            </a:extLst>
          </p:cNvPr>
          <p:cNvSpPr txBox="1">
            <a:spLocks/>
          </p:cNvSpPr>
          <p:nvPr/>
        </p:nvSpPr>
        <p:spPr bwMode="gray">
          <a:xfrm>
            <a:off x="794" y="1352740"/>
            <a:ext cx="1177925" cy="936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E9A0F2CD-681D-16D1-FD9D-D5CA63FBD702}"/>
              </a:ext>
            </a:extLst>
          </p:cNvPr>
          <p:cNvSpPr txBox="1">
            <a:spLocks/>
          </p:cNvSpPr>
          <p:nvPr/>
        </p:nvSpPr>
        <p:spPr bwMode="gray">
          <a:xfrm>
            <a:off x="794" y="1352740"/>
            <a:ext cx="6480000" cy="936000"/>
          </a:xfrm>
          <a:prstGeom prst="parallelogram">
            <a:avLst>
              <a:gd name="adj" fmla="val 99083"/>
            </a:avLst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КОРПОРАТИВНЫЙ КОМПЛАЕНС ОЗНАЧАЕТ ЗАКОННОЕ ПОВЕДЕНИЕ,</a:t>
            </a:r>
            <a:r>
              <a:rPr kumimoji="0" lang="nl-BE" sz="14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ru-RU" sz="14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КОТОРОЕ СООТВЕТСТВУЕТ ДЕЙСТВУЮЩИМ ПРАВИЛАМ</a:t>
            </a:r>
            <a:endParaRPr kumimoji="0" lang="en-US" sz="14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F46172C0-22F8-79FE-F1DC-06959E978221}"/>
              </a:ext>
            </a:extLst>
          </p:cNvPr>
          <p:cNvSpPr txBox="1">
            <a:spLocks/>
          </p:cNvSpPr>
          <p:nvPr/>
        </p:nvSpPr>
        <p:spPr bwMode="gray">
          <a:xfrm>
            <a:off x="5713940" y="1352740"/>
            <a:ext cx="6480000" cy="936000"/>
          </a:xfrm>
          <a:prstGeom prst="parallelogram">
            <a:avLst>
              <a:gd name="adj" fmla="val 99083"/>
            </a:avLst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50" dirty="0">
                <a:solidFill>
                  <a:prstClr val="white"/>
                </a:solidFill>
                <a:latin typeface="Arial"/>
                <a:cs typeface="Arial"/>
              </a:rPr>
              <a:t>НИ ОДНА КОММЕРЧЕСКАЯ СДЕЛКА НЕ МОЖЕТ БЫТЬ СОПРЯЖЕНА С НЕЗАКОННЫМ ЛИБО НЕЭТИЧНЫМ ПО</a:t>
            </a:r>
            <a:r>
              <a:rPr kumimoji="0" lang="ru-RU" sz="14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В</a:t>
            </a:r>
            <a:r>
              <a:rPr lang="ru-RU" sz="1450" dirty="0">
                <a:solidFill>
                  <a:prstClr val="white"/>
                </a:solidFill>
                <a:latin typeface="Arial"/>
                <a:cs typeface="Arial"/>
              </a:rPr>
              <a:t>ЕДЕНИЕМ</a:t>
            </a:r>
            <a:endParaRPr kumimoji="0" lang="en-US" sz="14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0C19FB1-283D-AC74-BFDB-232F006AC260}"/>
              </a:ext>
            </a:extLst>
          </p:cNvPr>
          <p:cNvSpPr txBox="1">
            <a:spLocks/>
          </p:cNvSpPr>
          <p:nvPr/>
        </p:nvSpPr>
        <p:spPr bwMode="gray">
          <a:xfrm>
            <a:off x="11122086" y="1352740"/>
            <a:ext cx="1071854" cy="936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D38780-7356-AF9D-D36E-5DCF9B25F09C}"/>
              </a:ext>
            </a:extLst>
          </p:cNvPr>
          <p:cNvSpPr/>
          <p:nvPr/>
        </p:nvSpPr>
        <p:spPr>
          <a:xfrm>
            <a:off x="386978" y="2748366"/>
            <a:ext cx="11441602" cy="1660217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" name="Off-page Connector 4">
            <a:extLst>
              <a:ext uri="{FF2B5EF4-FFF2-40B4-BE49-F238E27FC236}">
                <a16:creationId xmlns:a16="http://schemas.microsoft.com/office/drawing/2014/main" id="{FF28629B-3C53-919A-5F73-888B32889BF9}"/>
              </a:ext>
            </a:extLst>
          </p:cNvPr>
          <p:cNvSpPr/>
          <p:nvPr/>
        </p:nvSpPr>
        <p:spPr>
          <a:xfrm>
            <a:off x="570420" y="2466016"/>
            <a:ext cx="1615041" cy="2664424"/>
          </a:xfrm>
          <a:prstGeom prst="flowChartOffpageConnecto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398A6234-F814-2080-053F-204677C9DDC3}"/>
              </a:ext>
            </a:extLst>
          </p:cNvPr>
          <p:cNvSpPr/>
          <p:nvPr/>
        </p:nvSpPr>
        <p:spPr>
          <a:xfrm>
            <a:off x="2185463" y="2466016"/>
            <a:ext cx="146823" cy="282350"/>
          </a:xfrm>
          <a:prstGeom prst="rtTriangle">
            <a:avLst/>
          </a:prstGeom>
          <a:solidFill>
            <a:srgbClr val="497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0" name="Off-page Connector 8">
            <a:extLst>
              <a:ext uri="{FF2B5EF4-FFF2-40B4-BE49-F238E27FC236}">
                <a16:creationId xmlns:a16="http://schemas.microsoft.com/office/drawing/2014/main" id="{9EEFB22B-EB22-C2E1-65CF-79CF1FBCB46E}"/>
              </a:ext>
            </a:extLst>
          </p:cNvPr>
          <p:cNvSpPr/>
          <p:nvPr/>
        </p:nvSpPr>
        <p:spPr>
          <a:xfrm>
            <a:off x="2441562" y="2466016"/>
            <a:ext cx="1615041" cy="2664424"/>
          </a:xfrm>
          <a:prstGeom prst="flowChartOffpage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63634C72-B5F9-4DA4-C8DF-E2CC1CC9CB7E}"/>
              </a:ext>
            </a:extLst>
          </p:cNvPr>
          <p:cNvSpPr/>
          <p:nvPr/>
        </p:nvSpPr>
        <p:spPr>
          <a:xfrm>
            <a:off x="4056604" y="2466016"/>
            <a:ext cx="146823" cy="282350"/>
          </a:xfrm>
          <a:prstGeom prst="rtTriangle">
            <a:avLst/>
          </a:prstGeom>
          <a:solidFill>
            <a:srgbClr val="1F3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2" name="Off-page Connector 11">
            <a:extLst>
              <a:ext uri="{FF2B5EF4-FFF2-40B4-BE49-F238E27FC236}">
                <a16:creationId xmlns:a16="http://schemas.microsoft.com/office/drawing/2014/main" id="{6B9A7E68-BE94-4C59-1B4C-55DB49EAD4CA}"/>
              </a:ext>
            </a:extLst>
          </p:cNvPr>
          <p:cNvSpPr/>
          <p:nvPr/>
        </p:nvSpPr>
        <p:spPr>
          <a:xfrm>
            <a:off x="4303560" y="2466016"/>
            <a:ext cx="1615041" cy="2664424"/>
          </a:xfrm>
          <a:prstGeom prst="flowChartOffpage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8" name="Right Triangle 37">
            <a:extLst>
              <a:ext uri="{FF2B5EF4-FFF2-40B4-BE49-F238E27FC236}">
                <a16:creationId xmlns:a16="http://schemas.microsoft.com/office/drawing/2014/main" id="{EA2AA2BA-F455-5FA6-C160-820820530681}"/>
              </a:ext>
            </a:extLst>
          </p:cNvPr>
          <p:cNvSpPr/>
          <p:nvPr/>
        </p:nvSpPr>
        <p:spPr>
          <a:xfrm>
            <a:off x="5918602" y="2466016"/>
            <a:ext cx="146823" cy="28235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Off-page Connector 14">
            <a:extLst>
              <a:ext uri="{FF2B5EF4-FFF2-40B4-BE49-F238E27FC236}">
                <a16:creationId xmlns:a16="http://schemas.microsoft.com/office/drawing/2014/main" id="{D3F83AE5-4310-8F1C-060C-39F8681DC484}"/>
              </a:ext>
            </a:extLst>
          </p:cNvPr>
          <p:cNvSpPr/>
          <p:nvPr/>
        </p:nvSpPr>
        <p:spPr>
          <a:xfrm>
            <a:off x="6183847" y="2466016"/>
            <a:ext cx="1615041" cy="2664424"/>
          </a:xfrm>
          <a:prstGeom prst="flowChartOffpage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E1DE7AB-9D44-528D-649B-06FF1C8E5492}"/>
              </a:ext>
            </a:extLst>
          </p:cNvPr>
          <p:cNvSpPr/>
          <p:nvPr/>
        </p:nvSpPr>
        <p:spPr>
          <a:xfrm>
            <a:off x="7798888" y="2466016"/>
            <a:ext cx="146823" cy="282350"/>
          </a:xfrm>
          <a:prstGeom prst="rtTriangle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Off-page Connector 17">
            <a:extLst>
              <a:ext uri="{FF2B5EF4-FFF2-40B4-BE49-F238E27FC236}">
                <a16:creationId xmlns:a16="http://schemas.microsoft.com/office/drawing/2014/main" id="{87DC7185-4623-A705-AC3A-AD63F5DBA3AC}"/>
              </a:ext>
            </a:extLst>
          </p:cNvPr>
          <p:cNvSpPr/>
          <p:nvPr/>
        </p:nvSpPr>
        <p:spPr>
          <a:xfrm>
            <a:off x="8064133" y="2466016"/>
            <a:ext cx="1615041" cy="2664424"/>
          </a:xfrm>
          <a:prstGeom prst="flowChartOffpageConnector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42" name="Right Triangle 41">
            <a:extLst>
              <a:ext uri="{FF2B5EF4-FFF2-40B4-BE49-F238E27FC236}">
                <a16:creationId xmlns:a16="http://schemas.microsoft.com/office/drawing/2014/main" id="{FF08F479-BC0C-B0D3-C6C8-C1551CD454DA}"/>
              </a:ext>
            </a:extLst>
          </p:cNvPr>
          <p:cNvSpPr/>
          <p:nvPr/>
        </p:nvSpPr>
        <p:spPr>
          <a:xfrm>
            <a:off x="9679174" y="2466016"/>
            <a:ext cx="146823" cy="282350"/>
          </a:xfrm>
          <a:prstGeom prst="rt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A04F0C3-E466-6E80-7862-676636E1AD3D}"/>
              </a:ext>
            </a:extLst>
          </p:cNvPr>
          <p:cNvSpPr txBox="1"/>
          <p:nvPr/>
        </p:nvSpPr>
        <p:spPr>
          <a:xfrm>
            <a:off x="670059" y="3059668"/>
            <a:ext cx="1415772" cy="73866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Недопущение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картельных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сговоров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E6387A02-A1E1-02E4-7C44-DC21AC19CC87}"/>
              </a:ext>
            </a:extLst>
          </p:cNvPr>
          <p:cNvSpPr txBox="1">
            <a:spLocks/>
          </p:cNvSpPr>
          <p:nvPr/>
        </p:nvSpPr>
        <p:spPr>
          <a:xfrm>
            <a:off x="570420" y="5820478"/>
            <a:ext cx="1615041" cy="761753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Приверженность принципам добросовестной конкуренции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69A1209-6B84-BCB9-59D4-81C0F0236669}"/>
              </a:ext>
            </a:extLst>
          </p:cNvPr>
          <p:cNvSpPr txBox="1"/>
          <p:nvPr/>
        </p:nvSpPr>
        <p:spPr>
          <a:xfrm>
            <a:off x="2541203" y="3188681"/>
            <a:ext cx="1415772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Недопущение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коррупции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5B15DF37-A8F5-EB25-11EF-EB09533C37A7}"/>
              </a:ext>
            </a:extLst>
          </p:cNvPr>
          <p:cNvSpPr txBox="1">
            <a:spLocks/>
          </p:cNvSpPr>
          <p:nvPr/>
        </p:nvSpPr>
        <p:spPr>
          <a:xfrm>
            <a:off x="2441562" y="5820478"/>
            <a:ext cx="1615041" cy="392421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Честность коммерческих сделок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EE1A336-5AE7-C390-69D3-C4ECE8A3581A}"/>
              </a:ext>
            </a:extLst>
          </p:cNvPr>
          <p:cNvSpPr txBox="1"/>
          <p:nvPr/>
        </p:nvSpPr>
        <p:spPr>
          <a:xfrm>
            <a:off x="4403194" y="3085144"/>
            <a:ext cx="1415772" cy="73866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Недопущение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конфликта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интересов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992592B8-7240-1E8B-D74D-6018F4DB91A5}"/>
              </a:ext>
            </a:extLst>
          </p:cNvPr>
          <p:cNvSpPr txBox="1">
            <a:spLocks/>
          </p:cNvSpPr>
          <p:nvPr/>
        </p:nvSpPr>
        <p:spPr>
          <a:xfrm>
            <a:off x="4303560" y="5820478"/>
            <a:ext cx="1615041" cy="761753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Разграничение личной и коммерческой деятельности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24AABA4-C7E9-AFB6-2D2F-1054F52AA9EE}"/>
              </a:ext>
            </a:extLst>
          </p:cNvPr>
          <p:cNvSpPr txBox="1"/>
          <p:nvPr/>
        </p:nvSpPr>
        <p:spPr>
          <a:xfrm>
            <a:off x="6283480" y="3059564"/>
            <a:ext cx="1415772" cy="73866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Недопущение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ложной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информации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FF5ACC6B-62A2-7CED-1DBE-D14A32DE6CBC}"/>
              </a:ext>
            </a:extLst>
          </p:cNvPr>
          <p:cNvSpPr txBox="1">
            <a:spLocks/>
          </p:cNvSpPr>
          <p:nvPr/>
        </p:nvSpPr>
        <p:spPr>
          <a:xfrm>
            <a:off x="6183847" y="5820478"/>
            <a:ext cx="1615041" cy="392421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Содействие органам власти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2EA993D-4636-674A-04E5-BC36592A75C3}"/>
              </a:ext>
            </a:extLst>
          </p:cNvPr>
          <p:cNvSpPr txBox="1"/>
          <p:nvPr/>
        </p:nvSpPr>
        <p:spPr>
          <a:xfrm>
            <a:off x="8394164" y="3188681"/>
            <a:ext cx="930831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Услови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Poppins" pitchFamily="2" charset="77"/>
              </a:rPr>
              <a:t>работы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E24FEC1-D6D8-D6A0-D83B-4D3F7A2D5435}"/>
              </a:ext>
            </a:extLst>
          </p:cNvPr>
          <p:cNvSpPr txBox="1"/>
          <p:nvPr/>
        </p:nvSpPr>
        <p:spPr>
          <a:xfrm>
            <a:off x="892447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505054C-9E3C-58D1-7AD0-8C6107434ADB}"/>
              </a:ext>
            </a:extLst>
          </p:cNvPr>
          <p:cNvSpPr txBox="1"/>
          <p:nvPr/>
        </p:nvSpPr>
        <p:spPr>
          <a:xfrm>
            <a:off x="2763589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C99358B-67D9-91FC-7A64-3E2CCF73DEBE}"/>
              </a:ext>
            </a:extLst>
          </p:cNvPr>
          <p:cNvSpPr txBox="1"/>
          <p:nvPr/>
        </p:nvSpPr>
        <p:spPr>
          <a:xfrm>
            <a:off x="4625588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3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424C5A6-DB56-EF3B-1688-16DDE5A0C427}"/>
              </a:ext>
            </a:extLst>
          </p:cNvPr>
          <p:cNvSpPr txBox="1"/>
          <p:nvPr/>
        </p:nvSpPr>
        <p:spPr>
          <a:xfrm>
            <a:off x="6505874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4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C9B6DD-1B3D-E977-678D-30BDCCB134C3}"/>
              </a:ext>
            </a:extLst>
          </p:cNvPr>
          <p:cNvSpPr txBox="1"/>
          <p:nvPr/>
        </p:nvSpPr>
        <p:spPr>
          <a:xfrm>
            <a:off x="8377016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5</a:t>
            </a:r>
          </a:p>
        </p:txBody>
      </p:sp>
      <p:pic>
        <p:nvPicPr>
          <p:cNvPr id="66" name="Picture 65" descr="A yellow scales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1F72C13-8308-4725-7737-2D717B548D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67714" y="5245159"/>
            <a:ext cx="620449" cy="470450"/>
          </a:xfrm>
          <a:prstGeom prst="rect">
            <a:avLst/>
          </a:prstGeom>
        </p:spPr>
      </p:pic>
      <p:pic>
        <p:nvPicPr>
          <p:cNvPr id="67" name="Picture 66" descr="A yellow building with columns&#10;&#10;Description automatically generated with low confidence">
            <a:extLst>
              <a:ext uri="{FF2B5EF4-FFF2-40B4-BE49-F238E27FC236}">
                <a16:creationId xmlns:a16="http://schemas.microsoft.com/office/drawing/2014/main" id="{53586080-B7E8-0823-8A74-9B82BABD5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141" y="5245159"/>
            <a:ext cx="620449" cy="500685"/>
          </a:xfrm>
          <a:prstGeom prst="rect">
            <a:avLst/>
          </a:prstGeom>
        </p:spPr>
      </p:pic>
      <p:pic>
        <p:nvPicPr>
          <p:cNvPr id="68" name="Picture 67" descr="A yellow and black handshake&#10;&#10;Description automatically generated with medium confidence">
            <a:extLst>
              <a:ext uri="{FF2B5EF4-FFF2-40B4-BE49-F238E27FC236}">
                <a16:creationId xmlns:a16="http://schemas.microsoft.com/office/drawing/2014/main" id="{C0E7B0E5-0A2C-7746-90AD-C14192A26D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0038" y="5276893"/>
            <a:ext cx="778086" cy="468951"/>
          </a:xfrm>
          <a:prstGeom prst="rect">
            <a:avLst/>
          </a:prstGeom>
        </p:spPr>
      </p:pic>
      <p:pic>
        <p:nvPicPr>
          <p:cNvPr id="69" name="Picture 68" descr="A picture containing yellow, cartoon, design&#10;&#10;Description automatically generated">
            <a:extLst>
              <a:ext uri="{FF2B5EF4-FFF2-40B4-BE49-F238E27FC236}">
                <a16:creationId xmlns:a16="http://schemas.microsoft.com/office/drawing/2014/main" id="{8AE7FBE8-0DEC-60B9-94B0-9021ACBCEEB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203" y="5225863"/>
            <a:ext cx="620449" cy="487159"/>
          </a:xfrm>
          <a:prstGeom prst="rect">
            <a:avLst/>
          </a:prstGeom>
        </p:spPr>
      </p:pic>
      <p:pic>
        <p:nvPicPr>
          <p:cNvPr id="70" name="Picture 69" descr="A picture containing symbol, font, logo, graphics&#10;&#10;Description automatically generated">
            <a:extLst>
              <a:ext uri="{FF2B5EF4-FFF2-40B4-BE49-F238E27FC236}">
                <a16:creationId xmlns:a16="http://schemas.microsoft.com/office/drawing/2014/main" id="{AA771DD6-F960-C7CD-109B-792B606DCC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5901" y="5245159"/>
            <a:ext cx="457617" cy="565194"/>
          </a:xfrm>
          <a:prstGeom prst="rect">
            <a:avLst/>
          </a:prstGeom>
        </p:spPr>
      </p:pic>
      <p:sp>
        <p:nvSpPr>
          <p:cNvPr id="71" name="Off-page Connector 17">
            <a:extLst>
              <a:ext uri="{FF2B5EF4-FFF2-40B4-BE49-F238E27FC236}">
                <a16:creationId xmlns:a16="http://schemas.microsoft.com/office/drawing/2014/main" id="{48526D65-81A4-ED51-2530-D311796BD379}"/>
              </a:ext>
            </a:extLst>
          </p:cNvPr>
          <p:cNvSpPr/>
          <p:nvPr/>
        </p:nvSpPr>
        <p:spPr>
          <a:xfrm>
            <a:off x="9960072" y="2466016"/>
            <a:ext cx="1615041" cy="2664424"/>
          </a:xfrm>
          <a:prstGeom prst="flowChartOffpageConnector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2" name="Right Triangle 71">
            <a:extLst>
              <a:ext uri="{FF2B5EF4-FFF2-40B4-BE49-F238E27FC236}">
                <a16:creationId xmlns:a16="http://schemas.microsoft.com/office/drawing/2014/main" id="{3C9F6BBA-2223-80CD-F516-4059ECE372B5}"/>
              </a:ext>
            </a:extLst>
          </p:cNvPr>
          <p:cNvSpPr/>
          <p:nvPr/>
        </p:nvSpPr>
        <p:spPr>
          <a:xfrm>
            <a:off x="11575113" y="2466016"/>
            <a:ext cx="146823" cy="282350"/>
          </a:xfrm>
          <a:prstGeom prst="rtTriangle">
            <a:avLst/>
          </a:prstGeom>
          <a:solidFill>
            <a:srgbClr val="BB8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B558F9A-CFE9-BD84-D46A-33236B45AFB1}"/>
              </a:ext>
            </a:extLst>
          </p:cNvPr>
          <p:cNvSpPr txBox="1"/>
          <p:nvPr/>
        </p:nvSpPr>
        <p:spPr>
          <a:xfrm>
            <a:off x="10046983" y="3080959"/>
            <a:ext cx="1429494" cy="73866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Эксплуатация</a:t>
            </a:r>
            <a:endParaRPr lang="nl-BE" sz="1400" b="1" dirty="0">
              <a:solidFill>
                <a:schemeClr val="bg1"/>
              </a:solidFill>
              <a:latin typeface="Arial" panose="020B0604020202020204" pitchFamily="34" charset="0"/>
              <a:cs typeface="Poppins" pitchFamily="2" charset="77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природы</a:t>
            </a:r>
            <a:endParaRPr lang="nl-BE" sz="1400" b="1" dirty="0">
              <a:solidFill>
                <a:schemeClr val="bg1"/>
              </a:solidFill>
              <a:latin typeface="Arial" panose="020B0604020202020204" pitchFamily="34" charset="0"/>
              <a:cs typeface="Poppins" pitchFamily="2" charset="77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недопустима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Poppins" pitchFamily="2" charset="77"/>
            </a:endParaRPr>
          </a:p>
        </p:txBody>
      </p:sp>
      <p:sp>
        <p:nvSpPr>
          <p:cNvPr id="74" name="Subtitle 2">
            <a:extLst>
              <a:ext uri="{FF2B5EF4-FFF2-40B4-BE49-F238E27FC236}">
                <a16:creationId xmlns:a16="http://schemas.microsoft.com/office/drawing/2014/main" id="{B4512073-16BB-53C4-5C69-5BB46BF8EF85}"/>
              </a:ext>
            </a:extLst>
          </p:cNvPr>
          <p:cNvSpPr txBox="1">
            <a:spLocks/>
          </p:cNvSpPr>
          <p:nvPr/>
        </p:nvSpPr>
        <p:spPr>
          <a:xfrm>
            <a:off x="9914933" y="5820478"/>
            <a:ext cx="1761864" cy="761753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Обязательство по обеспечению успешной деятельности на устойчивой основе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FF3D4A5-3143-44CF-D55D-07B7E18FDDA8}"/>
              </a:ext>
            </a:extLst>
          </p:cNvPr>
          <p:cNvSpPr txBox="1"/>
          <p:nvPr/>
        </p:nvSpPr>
        <p:spPr>
          <a:xfrm>
            <a:off x="10282099" y="3974755"/>
            <a:ext cx="97098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Poppins" pitchFamily="2" charset="77"/>
              </a:rPr>
              <a:t>06</a:t>
            </a:r>
          </a:p>
        </p:txBody>
      </p:sp>
      <p:pic>
        <p:nvPicPr>
          <p:cNvPr id="76" name="Picture 75" descr="A yellow globe with a feather&#10;&#10;Description automatically generated with low confidence">
            <a:extLst>
              <a:ext uri="{FF2B5EF4-FFF2-40B4-BE49-F238E27FC236}">
                <a16:creationId xmlns:a16="http://schemas.microsoft.com/office/drawing/2014/main" id="{C32CC0F7-3B22-2F46-A3A6-A44C2AAB52F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6733" y="5180898"/>
            <a:ext cx="598264" cy="577087"/>
          </a:xfrm>
          <a:prstGeom prst="rect">
            <a:avLst/>
          </a:prstGeom>
        </p:spPr>
      </p:pic>
      <p:sp>
        <p:nvSpPr>
          <p:cNvPr id="77" name="Subtitle 2">
            <a:extLst>
              <a:ext uri="{FF2B5EF4-FFF2-40B4-BE49-F238E27FC236}">
                <a16:creationId xmlns:a16="http://schemas.microsoft.com/office/drawing/2014/main" id="{AE92AC52-2354-CAE0-4B42-5C355F2D7A2C}"/>
              </a:ext>
            </a:extLst>
          </p:cNvPr>
          <p:cNvSpPr txBox="1">
            <a:spLocks/>
          </p:cNvSpPr>
          <p:nvPr/>
        </p:nvSpPr>
        <p:spPr>
          <a:xfrm>
            <a:off x="8054987" y="5820478"/>
            <a:ext cx="1615041" cy="392421"/>
          </a:xfrm>
          <a:prstGeom prst="rect">
            <a:avLst/>
          </a:prstGeom>
        </p:spPr>
        <p:txBody>
          <a:bodyPr vert="horz" wrap="square" lIns="22866" tIns="11433" rIns="22866" bIns="11433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Уважение прав человека</a:t>
            </a:r>
            <a:endParaRPr lang="en-US" sz="1200" dirty="0">
              <a:solidFill>
                <a:schemeClr val="accent4"/>
              </a:solidFill>
              <a:latin typeface="Arial" panose="020B0604020202020204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79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A77B415-FE37-4A4F-935D-897DCEC5F95F}" type="datetime1">
              <a:rPr lang="en-GB" smtClean="0"/>
              <a:t>11/09/2023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/>
              <a:t>Confidenti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A4142D-4092-458E-BB22-308CC6995BD3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9" name="Bildplatzhalter 8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9" t="-176"/>
          <a:stretch/>
        </p:blipFill>
        <p:spPr/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ы рады ответить </a:t>
            </a:r>
            <a:br>
              <a:rPr lang="ru-RU" dirty="0"/>
            </a:br>
            <a:r>
              <a:rPr lang="ru-RU" dirty="0"/>
              <a:t>на ваши вопросы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Kurt Wouters</a:t>
            </a:r>
          </a:p>
          <a:p>
            <a:r>
              <a:rPr lang="en-GB" dirty="0"/>
              <a:t>Branch manager moscow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K</a:t>
            </a:r>
            <a:r>
              <a:rPr lang="en-GB" dirty="0"/>
              <a:t>urt.Wouters@ru.rhenus.com</a:t>
            </a:r>
          </a:p>
          <a:p>
            <a:r>
              <a:rPr lang="en-GB" dirty="0"/>
              <a:t>+7 495 229 34 92</a:t>
            </a:r>
          </a:p>
          <a:p>
            <a:r>
              <a:rPr lang="en-GB" dirty="0"/>
              <a:t>+7 916 923 33 94</a:t>
            </a:r>
          </a:p>
        </p:txBody>
      </p:sp>
    </p:spTree>
    <p:extLst>
      <p:ext uri="{BB962C8B-B14F-4D97-AF65-F5344CB8AC3E}">
        <p14:creationId xmlns:p14="http://schemas.microsoft.com/office/powerpoint/2010/main" val="330292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0E9B8B1-637A-44AF-AEB2-274678AA2690}"/>
              </a:ext>
            </a:extLst>
          </p:cNvPr>
          <p:cNvSpPr/>
          <p:nvPr/>
        </p:nvSpPr>
        <p:spPr>
          <a:xfrm>
            <a:off x="42892" y="-15861"/>
            <a:ext cx="12342953" cy="6857106"/>
          </a:xfrm>
          <a:prstGeom prst="rect">
            <a:avLst/>
          </a:prstGeom>
          <a:solidFill>
            <a:srgbClr val="004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Subtext">
            <a:extLst>
              <a:ext uri="{FF2B5EF4-FFF2-40B4-BE49-F238E27FC236}">
                <a16:creationId xmlns:a16="http://schemas.microsoft.com/office/drawing/2014/main" id="{FE17F989-496C-412D-B0D2-EC96E77E0FDC}"/>
              </a:ext>
            </a:extLst>
          </p:cNvPr>
          <p:cNvSpPr/>
          <p:nvPr/>
        </p:nvSpPr>
        <p:spPr>
          <a:xfrm>
            <a:off x="288344" y="1879779"/>
            <a:ext cx="58115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1200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С нами вы в надежных руках. Мы входим в международную группу компаний RETHMANN, которая предлагает перспективные решения для логистики, вторичной переработки, сельского хозяйства, пищевой и энергетической отраслей, а также для мобильности и общественного транспорта.</a:t>
            </a:r>
            <a:endParaRPr lang="en-GB" altLang="zh-CN" sz="1200" dirty="0">
              <a:solidFill>
                <a:schemeClr val="lt1"/>
              </a:solidFill>
              <a:latin typeface="Arial" panose="020B0604020202020204" pitchFamily="34" charset="0"/>
              <a:ea typeface="华文细黑"/>
              <a:cs typeface="Helvetica Light"/>
            </a:endParaRPr>
          </a:p>
        </p:txBody>
      </p:sp>
      <p:sp>
        <p:nvSpPr>
          <p:cNvPr id="8" name="Rechteck: eine Ecke abgeschnitten 7">
            <a:extLst>
              <a:ext uri="{FF2B5EF4-FFF2-40B4-BE49-F238E27FC236}">
                <a16:creationId xmlns:a16="http://schemas.microsoft.com/office/drawing/2014/main" id="{9CBB64BF-2E15-4A24-AFCD-23597FCA1814}"/>
              </a:ext>
            </a:extLst>
          </p:cNvPr>
          <p:cNvSpPr/>
          <p:nvPr/>
        </p:nvSpPr>
        <p:spPr>
          <a:xfrm rot="5400000">
            <a:off x="441155" y="3549704"/>
            <a:ext cx="2734908" cy="2734908"/>
          </a:xfrm>
          <a:prstGeom prst="snip1Rect">
            <a:avLst>
              <a:gd name="adj" fmla="val 25489"/>
            </a:avLst>
          </a:prstGeom>
          <a:solidFill>
            <a:srgbClr val="00469B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57CB897-2CC3-4D6E-A705-6C80198F4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1707-6D35-4872-89D4-575331FDCCDA}" type="slidenum">
              <a:rPr lang="de-DE" smtClean="0">
                <a:solidFill>
                  <a:srgbClr val="CFCFD1"/>
                </a:solidFill>
              </a:rPr>
              <a:t>2</a:t>
            </a:fld>
            <a:endParaRPr lang="de-DE" dirty="0">
              <a:solidFill>
                <a:srgbClr val="CFCFD1"/>
              </a:solidFill>
            </a:endParaRPr>
          </a:p>
        </p:txBody>
      </p:sp>
      <p:cxnSp>
        <p:nvCxnSpPr>
          <p:cNvPr id="133" name="Gerade Verbindung 234">
            <a:extLst>
              <a:ext uri="{FF2B5EF4-FFF2-40B4-BE49-F238E27FC236}">
                <a16:creationId xmlns:a16="http://schemas.microsoft.com/office/drawing/2014/main" id="{605BF637-313A-4B58-AEC3-244864A1EBDE}"/>
              </a:ext>
            </a:extLst>
          </p:cNvPr>
          <p:cNvCxnSpPr>
            <a:cxnSpLocks/>
          </p:cNvCxnSpPr>
          <p:nvPr/>
        </p:nvCxnSpPr>
        <p:spPr bwMode="gray">
          <a:xfrm>
            <a:off x="-1066661" y="3429000"/>
            <a:ext cx="14120561" cy="0"/>
          </a:xfrm>
          <a:prstGeom prst="line">
            <a:avLst/>
          </a:prstGeom>
          <a:ln w="6350" cap="flat" cmpd="sng" algn="ctr">
            <a:solidFill>
              <a:srgbClr val="CFCFD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9125793-1885-4274-BA48-221A35065B9F}"/>
              </a:ext>
            </a:extLst>
          </p:cNvPr>
          <p:cNvGrpSpPr/>
          <p:nvPr/>
        </p:nvGrpSpPr>
        <p:grpSpPr>
          <a:xfrm>
            <a:off x="451742" y="3321063"/>
            <a:ext cx="3225978" cy="2773616"/>
            <a:chOff x="451801" y="3321049"/>
            <a:chExt cx="3226398" cy="2773977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D5D35657-F593-46C2-97EA-716293E4CA13}"/>
                </a:ext>
              </a:extLst>
            </p:cNvPr>
            <p:cNvGrpSpPr/>
            <p:nvPr/>
          </p:nvGrpSpPr>
          <p:grpSpPr>
            <a:xfrm>
              <a:off x="451801" y="3321049"/>
              <a:ext cx="3226398" cy="2773977"/>
              <a:chOff x="451801" y="3321049"/>
              <a:chExt cx="3226398" cy="2773977"/>
            </a:xfrm>
          </p:grpSpPr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3A7A4886-67CA-4046-AF44-4E6907542BD1}"/>
                  </a:ext>
                </a:extLst>
              </p:cNvPr>
              <p:cNvGrpSpPr/>
              <p:nvPr/>
            </p:nvGrpSpPr>
            <p:grpSpPr>
              <a:xfrm>
                <a:off x="451801" y="3578987"/>
                <a:ext cx="3226398" cy="2516039"/>
                <a:chOff x="451801" y="3578987"/>
                <a:chExt cx="3226398" cy="2516039"/>
              </a:xfrm>
            </p:grpSpPr>
            <p:grpSp>
              <p:nvGrpSpPr>
                <p:cNvPr id="28" name="Gruppieren 27">
                  <a:extLst>
                    <a:ext uri="{FF2B5EF4-FFF2-40B4-BE49-F238E27FC236}">
                      <a16:creationId xmlns:a16="http://schemas.microsoft.com/office/drawing/2014/main" id="{F01D73A9-37F8-4342-A7A0-F40824DC6D0B}"/>
                    </a:ext>
                  </a:extLst>
                </p:cNvPr>
                <p:cNvGrpSpPr/>
                <p:nvPr/>
              </p:nvGrpSpPr>
              <p:grpSpPr>
                <a:xfrm>
                  <a:off x="554457" y="4939967"/>
                  <a:ext cx="2446743" cy="1155059"/>
                  <a:chOff x="830682" y="4907118"/>
                  <a:chExt cx="2446743" cy="1155059"/>
                </a:xfrm>
              </p:grpSpPr>
              <p:sp>
                <p:nvSpPr>
                  <p:cNvPr id="29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    <a:extLst>
                      <a:ext uri="{FF2B5EF4-FFF2-40B4-BE49-F238E27FC236}">
                        <a16:creationId xmlns:a16="http://schemas.microsoft.com/office/drawing/2014/main" id="{F3895408-2B0A-48CB-BCDE-15F1E05794C3}"/>
                      </a:ext>
                    </a:extLst>
                  </p:cNvPr>
                  <p:cNvSpPr txBox="1"/>
                  <p:nvPr/>
                </p:nvSpPr>
                <p:spPr>
                  <a:xfrm>
                    <a:off x="1341313" y="5144800"/>
                    <a:ext cx="1936112" cy="307777"/>
                  </a:xfrm>
                  <a:prstGeom prst="rect">
                    <a:avLst/>
                  </a:prstGeom>
                  <a:solidFill>
                    <a:srgbClr val="00469B"/>
                  </a:solidFill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kumimoji="1" lang="en-GB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39</a:t>
                    </a:r>
                    <a:r>
                      <a:rPr kumimoji="1" lang="ru-RU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 </a:t>
                    </a:r>
                    <a:r>
                      <a:rPr kumimoji="1" lang="en-GB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000 </a:t>
                    </a:r>
                    <a:r>
                      <a:rPr kumimoji="1" lang="ru-RU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сотрудников</a:t>
                    </a:r>
                    <a:endParaRPr kumimoji="1" lang="zh-CN" altLang="en-US" sz="14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endParaRPr>
                  </a:p>
                </p:txBody>
              </p:sp>
              <p:sp>
                <p:nvSpPr>
                  <p:cNvPr id="30" name="Freeform 47">
                    <a:extLst>
                      <a:ext uri="{FF2B5EF4-FFF2-40B4-BE49-F238E27FC236}">
                        <a16:creationId xmlns:a16="http://schemas.microsoft.com/office/drawing/2014/main" id="{DE3B2EE2-99B3-489D-98E9-7C52C4B070B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30682" y="4907118"/>
                    <a:ext cx="525474" cy="461665"/>
                  </a:xfrm>
                  <a:custGeom>
                    <a:avLst/>
                    <a:gdLst>
                      <a:gd name="T0" fmla="*/ 221804 w 498"/>
                      <a:gd name="T1" fmla="*/ 194813 h 435"/>
                      <a:gd name="T2" fmla="*/ 221804 w 498"/>
                      <a:gd name="T3" fmla="*/ 194813 h 435"/>
                      <a:gd name="T4" fmla="*/ 217341 w 498"/>
                      <a:gd name="T5" fmla="*/ 147232 h 435"/>
                      <a:gd name="T6" fmla="*/ 189671 w 498"/>
                      <a:gd name="T7" fmla="*/ 131521 h 435"/>
                      <a:gd name="T8" fmla="*/ 166018 w 498"/>
                      <a:gd name="T9" fmla="*/ 103691 h 435"/>
                      <a:gd name="T10" fmla="*/ 174051 w 498"/>
                      <a:gd name="T11" fmla="*/ 87980 h 435"/>
                      <a:gd name="T12" fmla="*/ 182084 w 498"/>
                      <a:gd name="T13" fmla="*/ 71372 h 435"/>
                      <a:gd name="T14" fmla="*/ 178068 w 498"/>
                      <a:gd name="T15" fmla="*/ 67781 h 435"/>
                      <a:gd name="T16" fmla="*/ 182084 w 498"/>
                      <a:gd name="T17" fmla="*/ 51621 h 435"/>
                      <a:gd name="T18" fmla="*/ 154415 w 498"/>
                      <a:gd name="T19" fmla="*/ 27830 h 435"/>
                      <a:gd name="T20" fmla="*/ 126745 w 498"/>
                      <a:gd name="T21" fmla="*/ 51621 h 435"/>
                      <a:gd name="T22" fmla="*/ 130762 w 498"/>
                      <a:gd name="T23" fmla="*/ 67781 h 435"/>
                      <a:gd name="T24" fmla="*/ 126745 w 498"/>
                      <a:gd name="T25" fmla="*/ 71372 h 435"/>
                      <a:gd name="T26" fmla="*/ 134778 w 498"/>
                      <a:gd name="T27" fmla="*/ 87980 h 435"/>
                      <a:gd name="T28" fmla="*/ 138795 w 498"/>
                      <a:gd name="T29" fmla="*/ 103691 h 435"/>
                      <a:gd name="T30" fmla="*/ 130762 w 498"/>
                      <a:gd name="T31" fmla="*/ 123441 h 435"/>
                      <a:gd name="T32" fmla="*/ 170035 w 498"/>
                      <a:gd name="T33" fmla="*/ 163392 h 435"/>
                      <a:gd name="T34" fmla="*/ 170035 w 498"/>
                      <a:gd name="T35" fmla="*/ 194813 h 435"/>
                      <a:gd name="T36" fmla="*/ 221804 w 498"/>
                      <a:gd name="T37" fmla="*/ 194813 h 435"/>
                      <a:gd name="T38" fmla="*/ 115142 w 498"/>
                      <a:gd name="T39" fmla="*/ 135561 h 435"/>
                      <a:gd name="T40" fmla="*/ 115142 w 498"/>
                      <a:gd name="T41" fmla="*/ 135561 h 435"/>
                      <a:gd name="T42" fmla="*/ 83455 w 498"/>
                      <a:gd name="T43" fmla="*/ 103691 h 435"/>
                      <a:gd name="T44" fmla="*/ 95059 w 498"/>
                      <a:gd name="T45" fmla="*/ 75412 h 435"/>
                      <a:gd name="T46" fmla="*/ 103092 w 498"/>
                      <a:gd name="T47" fmla="*/ 59701 h 435"/>
                      <a:gd name="T48" fmla="*/ 99075 w 498"/>
                      <a:gd name="T49" fmla="*/ 51621 h 435"/>
                      <a:gd name="T50" fmla="*/ 103092 w 498"/>
                      <a:gd name="T51" fmla="*/ 31870 h 435"/>
                      <a:gd name="T52" fmla="*/ 67389 w 498"/>
                      <a:gd name="T53" fmla="*/ 0 h 435"/>
                      <a:gd name="T54" fmla="*/ 31686 w 498"/>
                      <a:gd name="T55" fmla="*/ 31870 h 435"/>
                      <a:gd name="T56" fmla="*/ 31686 w 498"/>
                      <a:gd name="T57" fmla="*/ 51621 h 435"/>
                      <a:gd name="T58" fmla="*/ 31686 w 498"/>
                      <a:gd name="T59" fmla="*/ 59701 h 435"/>
                      <a:gd name="T60" fmla="*/ 39719 w 498"/>
                      <a:gd name="T61" fmla="*/ 75412 h 435"/>
                      <a:gd name="T62" fmla="*/ 47753 w 498"/>
                      <a:gd name="T63" fmla="*/ 103691 h 435"/>
                      <a:gd name="T64" fmla="*/ 20083 w 498"/>
                      <a:gd name="T65" fmla="*/ 135561 h 435"/>
                      <a:gd name="T66" fmla="*/ 0 w 498"/>
                      <a:gd name="T67" fmla="*/ 155312 h 435"/>
                      <a:gd name="T68" fmla="*/ 0 w 498"/>
                      <a:gd name="T69" fmla="*/ 194813 h 435"/>
                      <a:gd name="T70" fmla="*/ 154415 w 498"/>
                      <a:gd name="T71" fmla="*/ 194813 h 435"/>
                      <a:gd name="T72" fmla="*/ 154415 w 498"/>
                      <a:gd name="T73" fmla="*/ 163392 h 435"/>
                      <a:gd name="T74" fmla="*/ 115142 w 498"/>
                      <a:gd name="T75" fmla="*/ 135561 h 435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0" t="0" r="r" b="b"/>
                    <a:pathLst>
                      <a:path w="498" h="435">
                        <a:moveTo>
                          <a:pt x="497" y="434"/>
                        </a:moveTo>
                        <a:lnTo>
                          <a:pt x="497" y="434"/>
                        </a:lnTo>
                        <a:cubicBezTo>
                          <a:pt x="497" y="434"/>
                          <a:pt x="497" y="337"/>
                          <a:pt x="487" y="328"/>
                        </a:cubicBezTo>
                        <a:cubicBezTo>
                          <a:pt x="479" y="319"/>
                          <a:pt x="462" y="302"/>
                          <a:pt x="425" y="293"/>
                        </a:cubicBezTo>
                        <a:cubicBezTo>
                          <a:pt x="390" y="275"/>
                          <a:pt x="372" y="257"/>
                          <a:pt x="372" y="231"/>
                        </a:cubicBezTo>
                        <a:cubicBezTo>
                          <a:pt x="372" y="213"/>
                          <a:pt x="390" y="222"/>
                          <a:pt x="390" y="196"/>
                        </a:cubicBezTo>
                        <a:cubicBezTo>
                          <a:pt x="390" y="178"/>
                          <a:pt x="408" y="196"/>
                          <a:pt x="408" y="159"/>
                        </a:cubicBezTo>
                        <a:cubicBezTo>
                          <a:pt x="408" y="151"/>
                          <a:pt x="399" y="151"/>
                          <a:pt x="399" y="151"/>
                        </a:cubicBezTo>
                        <a:cubicBezTo>
                          <a:pt x="399" y="151"/>
                          <a:pt x="408" y="133"/>
                          <a:pt x="408" y="115"/>
                        </a:cubicBezTo>
                        <a:cubicBezTo>
                          <a:pt x="408" y="98"/>
                          <a:pt x="399" y="62"/>
                          <a:pt x="346" y="62"/>
                        </a:cubicBezTo>
                        <a:cubicBezTo>
                          <a:pt x="293" y="62"/>
                          <a:pt x="284" y="98"/>
                          <a:pt x="284" y="115"/>
                        </a:cubicBezTo>
                        <a:cubicBezTo>
                          <a:pt x="284" y="133"/>
                          <a:pt x="293" y="151"/>
                          <a:pt x="293" y="151"/>
                        </a:cubicBezTo>
                        <a:cubicBezTo>
                          <a:pt x="293" y="151"/>
                          <a:pt x="284" y="151"/>
                          <a:pt x="284" y="159"/>
                        </a:cubicBezTo>
                        <a:cubicBezTo>
                          <a:pt x="284" y="196"/>
                          <a:pt x="293" y="178"/>
                          <a:pt x="302" y="196"/>
                        </a:cubicBezTo>
                        <a:cubicBezTo>
                          <a:pt x="302" y="222"/>
                          <a:pt x="311" y="213"/>
                          <a:pt x="311" y="231"/>
                        </a:cubicBezTo>
                        <a:cubicBezTo>
                          <a:pt x="311" y="249"/>
                          <a:pt x="311" y="266"/>
                          <a:pt x="293" y="275"/>
                        </a:cubicBezTo>
                        <a:cubicBezTo>
                          <a:pt x="372" y="319"/>
                          <a:pt x="381" y="319"/>
                          <a:pt x="381" y="364"/>
                        </a:cubicBezTo>
                        <a:cubicBezTo>
                          <a:pt x="381" y="434"/>
                          <a:pt x="381" y="434"/>
                          <a:pt x="381" y="434"/>
                        </a:cubicBezTo>
                        <a:lnTo>
                          <a:pt x="497" y="434"/>
                        </a:lnTo>
                        <a:close/>
                        <a:moveTo>
                          <a:pt x="258" y="302"/>
                        </a:moveTo>
                        <a:lnTo>
                          <a:pt x="258" y="302"/>
                        </a:lnTo>
                        <a:cubicBezTo>
                          <a:pt x="204" y="284"/>
                          <a:pt x="187" y="266"/>
                          <a:pt x="187" y="231"/>
                        </a:cubicBezTo>
                        <a:cubicBezTo>
                          <a:pt x="187" y="204"/>
                          <a:pt x="204" y="213"/>
                          <a:pt x="213" y="168"/>
                        </a:cubicBezTo>
                        <a:cubicBezTo>
                          <a:pt x="213" y="159"/>
                          <a:pt x="231" y="168"/>
                          <a:pt x="231" y="133"/>
                        </a:cubicBezTo>
                        <a:cubicBezTo>
                          <a:pt x="231" y="115"/>
                          <a:pt x="222" y="115"/>
                          <a:pt x="222" y="115"/>
                        </a:cubicBezTo>
                        <a:cubicBezTo>
                          <a:pt x="222" y="115"/>
                          <a:pt x="222" y="89"/>
                          <a:pt x="231" y="71"/>
                        </a:cubicBezTo>
                        <a:cubicBezTo>
                          <a:pt x="231" y="53"/>
                          <a:pt x="213" y="0"/>
                          <a:pt x="151" y="0"/>
                        </a:cubicBezTo>
                        <a:cubicBezTo>
                          <a:pt x="80" y="0"/>
                          <a:pt x="71" y="53"/>
                          <a:pt x="71" y="71"/>
                        </a:cubicBezTo>
                        <a:cubicBezTo>
                          <a:pt x="71" y="89"/>
                          <a:pt x="71" y="115"/>
                          <a:pt x="71" y="115"/>
                        </a:cubicBezTo>
                        <a:cubicBezTo>
                          <a:pt x="71" y="115"/>
                          <a:pt x="71" y="115"/>
                          <a:pt x="71" y="133"/>
                        </a:cubicBezTo>
                        <a:cubicBezTo>
                          <a:pt x="71" y="168"/>
                          <a:pt x="80" y="159"/>
                          <a:pt x="89" y="168"/>
                        </a:cubicBezTo>
                        <a:cubicBezTo>
                          <a:pt x="89" y="213"/>
                          <a:pt x="107" y="204"/>
                          <a:pt x="107" y="231"/>
                        </a:cubicBezTo>
                        <a:cubicBezTo>
                          <a:pt x="107" y="266"/>
                          <a:pt x="89" y="284"/>
                          <a:pt x="45" y="302"/>
                        </a:cubicBezTo>
                        <a:cubicBezTo>
                          <a:pt x="27" y="310"/>
                          <a:pt x="0" y="319"/>
                          <a:pt x="0" y="346"/>
                        </a:cubicBezTo>
                        <a:cubicBezTo>
                          <a:pt x="0" y="434"/>
                          <a:pt x="0" y="434"/>
                          <a:pt x="0" y="434"/>
                        </a:cubicBezTo>
                        <a:cubicBezTo>
                          <a:pt x="346" y="434"/>
                          <a:pt x="346" y="434"/>
                          <a:pt x="346" y="434"/>
                        </a:cubicBezTo>
                        <a:cubicBezTo>
                          <a:pt x="346" y="434"/>
                          <a:pt x="346" y="381"/>
                          <a:pt x="346" y="364"/>
                        </a:cubicBezTo>
                        <a:cubicBezTo>
                          <a:pt x="346" y="346"/>
                          <a:pt x="302" y="328"/>
                          <a:pt x="258" y="302"/>
                        </a:cubicBezTo>
                        <a:close/>
                      </a:path>
                    </a:pathLst>
                  </a:custGeom>
                  <a:solidFill>
                    <a:schemeClr val="lt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="" xmlns:a14="http://schemas.microsoft.com/office/drawing/2010/main" w="9525" cap="flat">
                        <a:solidFill>
                          <a:srgbClr val="808080"/>
                        </a:solidFill>
                        <a:bevel/>
                        <a:headEnd/>
                        <a:tailEnd/>
                      </a14:hiddenLine>
                    </a:ext>
                    <a:ext uri="{AF507438-7753-43e0-B8FC-AC1667EBCBE1}">
                      <a14:hiddenEffects xmlns="" xmlns:a14="http://schemas.microsoft.com/office/drawing/2010/main">
                        <a:effectLst>
                          <a:outerShdw blurRad="63500" dist="38099" dir="2700000" algn="ctr" rotWithShape="0">
                            <a:srgbClr val="000000">
                              <a:alpha val="74997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45713" tIns="22856" rIns="45713" bIns="22856" anchor="ctr"/>
                  <a:lstStyle/>
                  <a:p>
                    <a:pPr eaLnBrk="1" hangingPunct="1">
                      <a:defRPr/>
                    </a:pPr>
                    <a:endParaRPr lang="id-ID"/>
                  </a:p>
                </p:txBody>
              </p:sp>
              <p:sp>
                <p:nvSpPr>
                  <p:cNvPr id="100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    <a:extLst>
                      <a:ext uri="{FF2B5EF4-FFF2-40B4-BE49-F238E27FC236}">
                        <a16:creationId xmlns:a16="http://schemas.microsoft.com/office/drawing/2014/main" id="{A7425577-2AEA-4EC8-BAA2-C7AA48D8AA3D}"/>
                      </a:ext>
                    </a:extLst>
                  </p:cNvPr>
                  <p:cNvSpPr txBox="1"/>
                  <p:nvPr/>
                </p:nvSpPr>
                <p:spPr>
                  <a:xfrm>
                    <a:off x="1341313" y="5754400"/>
                    <a:ext cx="1936112" cy="307777"/>
                  </a:xfrm>
                  <a:prstGeom prst="rect">
                    <a:avLst/>
                  </a:prstGeom>
                  <a:solidFill>
                    <a:srgbClr val="00469B"/>
                  </a:solidFill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kumimoji="1" lang="en-GB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8,6 </a:t>
                    </a:r>
                    <a:r>
                      <a:rPr kumimoji="1" lang="ru-RU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华文细黑"/>
                        <a:cs typeface="Helvetica Light"/>
                      </a:rPr>
                      <a:t>млрд</a:t>
                    </a:r>
                    <a:endParaRPr kumimoji="1" lang="zh-CN" altLang="en-US" sz="14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endParaRPr>
                  </a:p>
                </p:txBody>
              </p:sp>
            </p:grpSp>
            <p:sp>
              <p:nvSpPr>
                <p:cNvPr id="32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  <a:extLst>
                    <a:ext uri="{FF2B5EF4-FFF2-40B4-BE49-F238E27FC236}">
                      <a16:creationId xmlns:a16="http://schemas.microsoft.com/office/drawing/2014/main" id="{62F262B1-FB61-447B-B596-8F0F00C78778}"/>
                    </a:ext>
                  </a:extLst>
                </p:cNvPr>
                <p:cNvSpPr txBox="1"/>
                <p:nvPr/>
              </p:nvSpPr>
              <p:spPr>
                <a:xfrm>
                  <a:off x="451801" y="3578987"/>
                  <a:ext cx="3226398" cy="2616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ABB00"/>
                      </a:solidFill>
                    </a14:hiddenFill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r>
                    <a:rPr kumimoji="1" lang="ru-RU" altLang="zh-CN" sz="1100" dirty="0">
                      <a:solidFill>
                        <a:schemeClr val="lt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rPr>
                    <a:t>Комплексные логистические услуги</a:t>
                  </a:r>
                  <a:endParaRPr kumimoji="1" lang="en-GB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endParaRPr>
                </a:p>
              </p:txBody>
            </p:sp>
            <p:pic>
              <p:nvPicPr>
                <p:cNvPr id="80" name="Logo" descr="Ein Bild, das Zeichnung, Teller enthält.&#10;&#10;Automatisch generierte Beschreibung">
                  <a:extLst>
                    <a:ext uri="{FF2B5EF4-FFF2-40B4-BE49-F238E27FC236}">
                      <a16:creationId xmlns:a16="http://schemas.microsoft.com/office/drawing/2014/main" id="{4A9F5A04-C60D-47DD-860F-332A33AA26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7815" y="4112910"/>
                  <a:ext cx="2706743" cy="589690"/>
                </a:xfrm>
                <a:prstGeom prst="rect">
                  <a:avLst/>
                </a:prstGeom>
              </p:spPr>
            </p:pic>
          </p:grpSp>
          <p:grpSp>
            <p:nvGrpSpPr>
              <p:cNvPr id="96" name="Gruppieren 95">
                <a:extLst>
                  <a:ext uri="{FF2B5EF4-FFF2-40B4-BE49-F238E27FC236}">
                    <a16:creationId xmlns:a16="http://schemas.microsoft.com/office/drawing/2014/main" id="{2BF0AA32-09BA-4F60-9F0B-69858D6D9DE5}"/>
                  </a:ext>
                </a:extLst>
              </p:cNvPr>
              <p:cNvGrpSpPr/>
              <p:nvPr/>
            </p:nvGrpSpPr>
            <p:grpSpPr>
              <a:xfrm>
                <a:off x="556161" y="3321049"/>
                <a:ext cx="212727" cy="212727"/>
                <a:chOff x="10422077" y="5139866"/>
                <a:chExt cx="212727" cy="212727"/>
              </a:xfrm>
            </p:grpSpPr>
            <p:sp>
              <p:nvSpPr>
                <p:cNvPr id="97" name="Ellipse 73">
                  <a:extLst>
                    <a:ext uri="{FF2B5EF4-FFF2-40B4-BE49-F238E27FC236}">
                      <a16:creationId xmlns:a16="http://schemas.microsoft.com/office/drawing/2014/main" id="{E15AEC3E-767B-4146-B11B-EB09CB4E3C8E}"/>
                    </a:ext>
                  </a:extLst>
                </p:cNvPr>
                <p:cNvSpPr/>
                <p:nvPr/>
              </p:nvSpPr>
              <p:spPr bwMode="gray">
                <a:xfrm>
                  <a:off x="10422077" y="5139866"/>
                  <a:ext cx="212727" cy="212727"/>
                </a:xfrm>
                <a:prstGeom prst="ellipse">
                  <a:avLst/>
                </a:prstGeom>
                <a:solidFill>
                  <a:srgbClr val="FABB00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400" dirty="0" err="1"/>
                </a:p>
              </p:txBody>
            </p:sp>
            <p:sp>
              <p:nvSpPr>
                <p:cNvPr id="98" name="Ellipse 74">
                  <a:extLst>
                    <a:ext uri="{FF2B5EF4-FFF2-40B4-BE49-F238E27FC236}">
                      <a16:creationId xmlns:a16="http://schemas.microsoft.com/office/drawing/2014/main" id="{DE106809-C4A7-4512-AD4A-0B3420882F9E}"/>
                    </a:ext>
                  </a:extLst>
                </p:cNvPr>
                <p:cNvSpPr/>
                <p:nvPr/>
              </p:nvSpPr>
              <p:spPr bwMode="gray">
                <a:xfrm>
                  <a:off x="10471168" y="5188957"/>
                  <a:ext cx="114545" cy="114545"/>
                </a:xfrm>
                <a:prstGeom prst="ellipse">
                  <a:avLst/>
                </a:prstGeom>
                <a:solidFill>
                  <a:srgbClr val="FABB00"/>
                </a:solidFill>
                <a:ln>
                  <a:noFill/>
                </a:ln>
                <a:effectLst>
                  <a:outerShdw blurRad="635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400" dirty="0" err="1"/>
                </a:p>
              </p:txBody>
            </p:sp>
          </p:grpSp>
        </p:grp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2BB0CBA8-6498-42A7-AC1E-DE34665262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7367" t="22431" r="28623" b="32235"/>
            <a:stretch/>
          </p:blipFill>
          <p:spPr>
            <a:xfrm>
              <a:off x="566087" y="5522197"/>
              <a:ext cx="482632" cy="572829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A92FC75-8606-458F-899A-41A81EAA0A41}"/>
              </a:ext>
            </a:extLst>
          </p:cNvPr>
          <p:cNvGrpSpPr/>
          <p:nvPr/>
        </p:nvGrpSpPr>
        <p:grpSpPr>
          <a:xfrm>
            <a:off x="4179378" y="3321063"/>
            <a:ext cx="2262320" cy="2426046"/>
            <a:chOff x="4179922" y="3321049"/>
            <a:chExt cx="2262615" cy="2426362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8C142BD4-2BD8-4F78-BF1F-E59FF2AEA823}"/>
                </a:ext>
              </a:extLst>
            </p:cNvPr>
            <p:cNvGrpSpPr/>
            <p:nvPr/>
          </p:nvGrpSpPr>
          <p:grpSpPr>
            <a:xfrm>
              <a:off x="4179922" y="3321049"/>
              <a:ext cx="2262615" cy="2426362"/>
              <a:chOff x="4179922" y="3321049"/>
              <a:chExt cx="2262615" cy="2426362"/>
            </a:xfrm>
          </p:grpSpPr>
          <p:grpSp>
            <p:nvGrpSpPr>
              <p:cNvPr id="57" name="Gruppieren 56">
                <a:extLst>
                  <a:ext uri="{FF2B5EF4-FFF2-40B4-BE49-F238E27FC236}">
                    <a16:creationId xmlns:a16="http://schemas.microsoft.com/office/drawing/2014/main" id="{D9651BC7-4E37-45C9-B470-4D2684A531D7}"/>
                  </a:ext>
                </a:extLst>
              </p:cNvPr>
              <p:cNvGrpSpPr/>
              <p:nvPr/>
            </p:nvGrpSpPr>
            <p:grpSpPr>
              <a:xfrm>
                <a:off x="4247975" y="4862431"/>
                <a:ext cx="1967203" cy="415782"/>
                <a:chOff x="973455" y="4510097"/>
                <a:chExt cx="1967203" cy="415782"/>
              </a:xfrm>
            </p:grpSpPr>
            <p:sp>
              <p:nvSpPr>
                <p:cNvPr id="60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  <a:extLst>
                    <a:ext uri="{FF2B5EF4-FFF2-40B4-BE49-F238E27FC236}">
                      <a16:creationId xmlns:a16="http://schemas.microsoft.com/office/drawing/2014/main" id="{661198E5-22F8-4C4C-BFEB-651938B6CC51}"/>
                    </a:ext>
                  </a:extLst>
                </p:cNvPr>
                <p:cNvSpPr txBox="1"/>
                <p:nvPr/>
              </p:nvSpPr>
              <p:spPr>
                <a:xfrm>
                  <a:off x="1341313" y="4664235"/>
                  <a:ext cx="1599345" cy="2616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ABB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>
                      <a:solidFill>
                        <a:schemeClr val="lt1"/>
                      </a:solidFill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r>
                    <a:rPr kumimoji="1" lang="en-GB" altLang="zh-CN" sz="1100" dirty="0">
                      <a:solidFill>
                        <a:schemeClr val="lt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rPr>
                    <a:t>42</a:t>
                  </a:r>
                  <a:r>
                    <a:rPr kumimoji="1" lang="ru-RU" altLang="zh-CN" sz="1100" dirty="0">
                      <a:solidFill>
                        <a:schemeClr val="lt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rPr>
                    <a:t> </a:t>
                  </a:r>
                  <a:r>
                    <a:rPr kumimoji="1" lang="en-GB" altLang="zh-CN" sz="1100" dirty="0">
                      <a:solidFill>
                        <a:schemeClr val="lt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rPr>
                    <a:t>000 </a:t>
                  </a:r>
                  <a:r>
                    <a:rPr kumimoji="1" lang="ru-RU" altLang="zh-CN" sz="1100" dirty="0">
                      <a:solidFill>
                        <a:schemeClr val="bg1"/>
                      </a:solidFill>
                      <a:latin typeface="Arial" panose="020B0604020202020204" pitchFamily="34" charset="0"/>
                      <a:ea typeface="华文细黑"/>
                      <a:cs typeface="Helvetica Light"/>
                    </a:rPr>
                    <a:t>сотрудников</a:t>
                  </a:r>
                  <a:endParaRPr kumimoji="1" lang="zh-CN" altLang="en-US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endParaRPr>
                </a:p>
              </p:txBody>
            </p:sp>
            <p:sp>
              <p:nvSpPr>
                <p:cNvPr id="61" name="Freeform 47">
                  <a:extLst>
                    <a:ext uri="{FF2B5EF4-FFF2-40B4-BE49-F238E27FC236}">
                      <a16:creationId xmlns:a16="http://schemas.microsoft.com/office/drawing/2014/main" id="{884BB5B6-B037-46F5-9A04-95EC12E466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73455" y="4510097"/>
                  <a:ext cx="380898" cy="334645"/>
                </a:xfrm>
                <a:custGeom>
                  <a:avLst/>
                  <a:gdLst>
                    <a:gd name="T0" fmla="*/ 221804 w 498"/>
                    <a:gd name="T1" fmla="*/ 194813 h 435"/>
                    <a:gd name="T2" fmla="*/ 221804 w 498"/>
                    <a:gd name="T3" fmla="*/ 194813 h 435"/>
                    <a:gd name="T4" fmla="*/ 217341 w 498"/>
                    <a:gd name="T5" fmla="*/ 147232 h 435"/>
                    <a:gd name="T6" fmla="*/ 189671 w 498"/>
                    <a:gd name="T7" fmla="*/ 131521 h 435"/>
                    <a:gd name="T8" fmla="*/ 166018 w 498"/>
                    <a:gd name="T9" fmla="*/ 103691 h 435"/>
                    <a:gd name="T10" fmla="*/ 174051 w 498"/>
                    <a:gd name="T11" fmla="*/ 87980 h 435"/>
                    <a:gd name="T12" fmla="*/ 182084 w 498"/>
                    <a:gd name="T13" fmla="*/ 71372 h 435"/>
                    <a:gd name="T14" fmla="*/ 178068 w 498"/>
                    <a:gd name="T15" fmla="*/ 67781 h 435"/>
                    <a:gd name="T16" fmla="*/ 182084 w 498"/>
                    <a:gd name="T17" fmla="*/ 51621 h 435"/>
                    <a:gd name="T18" fmla="*/ 154415 w 498"/>
                    <a:gd name="T19" fmla="*/ 27830 h 435"/>
                    <a:gd name="T20" fmla="*/ 126745 w 498"/>
                    <a:gd name="T21" fmla="*/ 51621 h 435"/>
                    <a:gd name="T22" fmla="*/ 130762 w 498"/>
                    <a:gd name="T23" fmla="*/ 67781 h 435"/>
                    <a:gd name="T24" fmla="*/ 126745 w 498"/>
                    <a:gd name="T25" fmla="*/ 71372 h 435"/>
                    <a:gd name="T26" fmla="*/ 134778 w 498"/>
                    <a:gd name="T27" fmla="*/ 87980 h 435"/>
                    <a:gd name="T28" fmla="*/ 138795 w 498"/>
                    <a:gd name="T29" fmla="*/ 103691 h 435"/>
                    <a:gd name="T30" fmla="*/ 130762 w 498"/>
                    <a:gd name="T31" fmla="*/ 123441 h 435"/>
                    <a:gd name="T32" fmla="*/ 170035 w 498"/>
                    <a:gd name="T33" fmla="*/ 163392 h 435"/>
                    <a:gd name="T34" fmla="*/ 170035 w 498"/>
                    <a:gd name="T35" fmla="*/ 194813 h 435"/>
                    <a:gd name="T36" fmla="*/ 221804 w 498"/>
                    <a:gd name="T37" fmla="*/ 194813 h 435"/>
                    <a:gd name="T38" fmla="*/ 115142 w 498"/>
                    <a:gd name="T39" fmla="*/ 135561 h 435"/>
                    <a:gd name="T40" fmla="*/ 115142 w 498"/>
                    <a:gd name="T41" fmla="*/ 135561 h 435"/>
                    <a:gd name="T42" fmla="*/ 83455 w 498"/>
                    <a:gd name="T43" fmla="*/ 103691 h 435"/>
                    <a:gd name="T44" fmla="*/ 95059 w 498"/>
                    <a:gd name="T45" fmla="*/ 75412 h 435"/>
                    <a:gd name="T46" fmla="*/ 103092 w 498"/>
                    <a:gd name="T47" fmla="*/ 59701 h 435"/>
                    <a:gd name="T48" fmla="*/ 99075 w 498"/>
                    <a:gd name="T49" fmla="*/ 51621 h 435"/>
                    <a:gd name="T50" fmla="*/ 103092 w 498"/>
                    <a:gd name="T51" fmla="*/ 31870 h 435"/>
                    <a:gd name="T52" fmla="*/ 67389 w 498"/>
                    <a:gd name="T53" fmla="*/ 0 h 435"/>
                    <a:gd name="T54" fmla="*/ 31686 w 498"/>
                    <a:gd name="T55" fmla="*/ 31870 h 435"/>
                    <a:gd name="T56" fmla="*/ 31686 w 498"/>
                    <a:gd name="T57" fmla="*/ 51621 h 435"/>
                    <a:gd name="T58" fmla="*/ 31686 w 498"/>
                    <a:gd name="T59" fmla="*/ 59701 h 435"/>
                    <a:gd name="T60" fmla="*/ 39719 w 498"/>
                    <a:gd name="T61" fmla="*/ 75412 h 435"/>
                    <a:gd name="T62" fmla="*/ 47753 w 498"/>
                    <a:gd name="T63" fmla="*/ 103691 h 435"/>
                    <a:gd name="T64" fmla="*/ 20083 w 498"/>
                    <a:gd name="T65" fmla="*/ 135561 h 435"/>
                    <a:gd name="T66" fmla="*/ 0 w 498"/>
                    <a:gd name="T67" fmla="*/ 155312 h 435"/>
                    <a:gd name="T68" fmla="*/ 0 w 498"/>
                    <a:gd name="T69" fmla="*/ 194813 h 435"/>
                    <a:gd name="T70" fmla="*/ 154415 w 498"/>
                    <a:gd name="T71" fmla="*/ 194813 h 435"/>
                    <a:gd name="T72" fmla="*/ 154415 w 498"/>
                    <a:gd name="T73" fmla="*/ 163392 h 435"/>
                    <a:gd name="T74" fmla="*/ 115142 w 498"/>
                    <a:gd name="T75" fmla="*/ 135561 h 435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498" h="435">
                      <a:moveTo>
                        <a:pt x="497" y="434"/>
                      </a:moveTo>
                      <a:lnTo>
                        <a:pt x="497" y="434"/>
                      </a:lnTo>
                      <a:cubicBezTo>
                        <a:pt x="497" y="434"/>
                        <a:pt x="497" y="337"/>
                        <a:pt x="487" y="328"/>
                      </a:cubicBezTo>
                      <a:cubicBezTo>
                        <a:pt x="479" y="319"/>
                        <a:pt x="462" y="302"/>
                        <a:pt x="425" y="293"/>
                      </a:cubicBezTo>
                      <a:cubicBezTo>
                        <a:pt x="390" y="275"/>
                        <a:pt x="372" y="257"/>
                        <a:pt x="372" y="231"/>
                      </a:cubicBezTo>
                      <a:cubicBezTo>
                        <a:pt x="372" y="213"/>
                        <a:pt x="390" y="222"/>
                        <a:pt x="390" y="196"/>
                      </a:cubicBezTo>
                      <a:cubicBezTo>
                        <a:pt x="390" y="178"/>
                        <a:pt x="408" y="196"/>
                        <a:pt x="408" y="159"/>
                      </a:cubicBezTo>
                      <a:cubicBezTo>
                        <a:pt x="408" y="151"/>
                        <a:pt x="399" y="151"/>
                        <a:pt x="399" y="151"/>
                      </a:cubicBezTo>
                      <a:cubicBezTo>
                        <a:pt x="399" y="151"/>
                        <a:pt x="408" y="133"/>
                        <a:pt x="408" y="115"/>
                      </a:cubicBezTo>
                      <a:cubicBezTo>
                        <a:pt x="408" y="98"/>
                        <a:pt x="399" y="62"/>
                        <a:pt x="346" y="62"/>
                      </a:cubicBezTo>
                      <a:cubicBezTo>
                        <a:pt x="293" y="62"/>
                        <a:pt x="284" y="98"/>
                        <a:pt x="284" y="115"/>
                      </a:cubicBezTo>
                      <a:cubicBezTo>
                        <a:pt x="284" y="133"/>
                        <a:pt x="293" y="151"/>
                        <a:pt x="293" y="151"/>
                      </a:cubicBezTo>
                      <a:cubicBezTo>
                        <a:pt x="293" y="151"/>
                        <a:pt x="284" y="151"/>
                        <a:pt x="284" y="159"/>
                      </a:cubicBezTo>
                      <a:cubicBezTo>
                        <a:pt x="284" y="196"/>
                        <a:pt x="293" y="178"/>
                        <a:pt x="302" y="196"/>
                      </a:cubicBezTo>
                      <a:cubicBezTo>
                        <a:pt x="302" y="222"/>
                        <a:pt x="311" y="213"/>
                        <a:pt x="311" y="231"/>
                      </a:cubicBezTo>
                      <a:cubicBezTo>
                        <a:pt x="311" y="249"/>
                        <a:pt x="311" y="266"/>
                        <a:pt x="293" y="275"/>
                      </a:cubicBezTo>
                      <a:cubicBezTo>
                        <a:pt x="372" y="319"/>
                        <a:pt x="381" y="319"/>
                        <a:pt x="381" y="364"/>
                      </a:cubicBezTo>
                      <a:cubicBezTo>
                        <a:pt x="381" y="434"/>
                        <a:pt x="381" y="434"/>
                        <a:pt x="381" y="434"/>
                      </a:cubicBezTo>
                      <a:lnTo>
                        <a:pt x="497" y="434"/>
                      </a:lnTo>
                      <a:close/>
                      <a:moveTo>
                        <a:pt x="258" y="302"/>
                      </a:moveTo>
                      <a:lnTo>
                        <a:pt x="258" y="302"/>
                      </a:lnTo>
                      <a:cubicBezTo>
                        <a:pt x="204" y="284"/>
                        <a:pt x="187" y="266"/>
                        <a:pt x="187" y="231"/>
                      </a:cubicBezTo>
                      <a:cubicBezTo>
                        <a:pt x="187" y="204"/>
                        <a:pt x="204" y="213"/>
                        <a:pt x="213" y="168"/>
                      </a:cubicBezTo>
                      <a:cubicBezTo>
                        <a:pt x="213" y="159"/>
                        <a:pt x="231" y="168"/>
                        <a:pt x="231" y="133"/>
                      </a:cubicBezTo>
                      <a:cubicBezTo>
                        <a:pt x="231" y="115"/>
                        <a:pt x="222" y="115"/>
                        <a:pt x="222" y="115"/>
                      </a:cubicBezTo>
                      <a:cubicBezTo>
                        <a:pt x="222" y="115"/>
                        <a:pt x="222" y="89"/>
                        <a:pt x="231" y="71"/>
                      </a:cubicBezTo>
                      <a:cubicBezTo>
                        <a:pt x="231" y="53"/>
                        <a:pt x="213" y="0"/>
                        <a:pt x="151" y="0"/>
                      </a:cubicBezTo>
                      <a:cubicBezTo>
                        <a:pt x="80" y="0"/>
                        <a:pt x="71" y="53"/>
                        <a:pt x="71" y="71"/>
                      </a:cubicBezTo>
                      <a:cubicBezTo>
                        <a:pt x="71" y="89"/>
                        <a:pt x="71" y="115"/>
                        <a:pt x="71" y="115"/>
                      </a:cubicBezTo>
                      <a:cubicBezTo>
                        <a:pt x="71" y="115"/>
                        <a:pt x="71" y="115"/>
                        <a:pt x="71" y="133"/>
                      </a:cubicBezTo>
                      <a:cubicBezTo>
                        <a:pt x="71" y="168"/>
                        <a:pt x="80" y="159"/>
                        <a:pt x="89" y="168"/>
                      </a:cubicBezTo>
                      <a:cubicBezTo>
                        <a:pt x="89" y="213"/>
                        <a:pt x="107" y="204"/>
                        <a:pt x="107" y="231"/>
                      </a:cubicBezTo>
                      <a:cubicBezTo>
                        <a:pt x="107" y="266"/>
                        <a:pt x="89" y="284"/>
                        <a:pt x="45" y="302"/>
                      </a:cubicBezTo>
                      <a:cubicBezTo>
                        <a:pt x="27" y="310"/>
                        <a:pt x="0" y="319"/>
                        <a:pt x="0" y="346"/>
                      </a:cubicBezTo>
                      <a:cubicBezTo>
                        <a:pt x="0" y="434"/>
                        <a:pt x="0" y="434"/>
                        <a:pt x="0" y="434"/>
                      </a:cubicBezTo>
                      <a:cubicBezTo>
                        <a:pt x="346" y="434"/>
                        <a:pt x="346" y="434"/>
                        <a:pt x="346" y="434"/>
                      </a:cubicBezTo>
                      <a:cubicBezTo>
                        <a:pt x="346" y="434"/>
                        <a:pt x="346" y="381"/>
                        <a:pt x="346" y="364"/>
                      </a:cubicBezTo>
                      <a:cubicBezTo>
                        <a:pt x="346" y="346"/>
                        <a:pt x="302" y="328"/>
                        <a:pt x="258" y="302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45713" tIns="22856" rIns="45713" bIns="22856" anchor="ctr"/>
                <a:lstStyle/>
                <a:p>
                  <a:pPr eaLnBrk="1" hangingPunct="1">
                    <a:defRPr/>
                  </a:pPr>
                  <a:endParaRPr lang="id-ID"/>
                </a:p>
              </p:txBody>
            </p:sp>
          </p:grpSp>
          <p:sp>
            <p:nvSpPr>
              <p:cNvPr id="59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<a:extLst>
                  <a:ext uri="{FF2B5EF4-FFF2-40B4-BE49-F238E27FC236}">
                    <a16:creationId xmlns:a16="http://schemas.microsoft.com/office/drawing/2014/main" id="{4D9820B8-720C-4317-835C-C109CBE93A25}"/>
                  </a:ext>
                </a:extLst>
              </p:cNvPr>
              <p:cNvSpPr txBox="1"/>
              <p:nvPr/>
            </p:nvSpPr>
            <p:spPr>
              <a:xfrm>
                <a:off x="4179922" y="3587588"/>
                <a:ext cx="2262615" cy="6002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ABB00"/>
                    </a:solidFill>
                  </a14:hiddenFill>
                </a:ext>
              </a:extLst>
            </p:spPr>
            <p:txBody>
              <a:bodyPr wrap="square" rtlCol="0" anchor="ctr">
                <a:spAutoFit/>
              </a:bodyPr>
              <a:lstStyle/>
              <a:p>
                <a:r>
                  <a:rPr kumimoji="1" lang="ru-RU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Поставщик услуг по переработке отходов и сырья, сбору и отчистке воды </a:t>
                </a:r>
                <a:endParaRPr kumimoji="1" lang="en-GB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endParaRPr>
              </a:p>
            </p:txBody>
          </p:sp>
          <p:grpSp>
            <p:nvGrpSpPr>
              <p:cNvPr id="93" name="Gruppieren 92">
                <a:extLst>
                  <a:ext uri="{FF2B5EF4-FFF2-40B4-BE49-F238E27FC236}">
                    <a16:creationId xmlns:a16="http://schemas.microsoft.com/office/drawing/2014/main" id="{3C888206-8964-4A6D-A547-155156779C5E}"/>
                  </a:ext>
                </a:extLst>
              </p:cNvPr>
              <p:cNvGrpSpPr/>
              <p:nvPr/>
            </p:nvGrpSpPr>
            <p:grpSpPr>
              <a:xfrm>
                <a:off x="4231541" y="3321049"/>
                <a:ext cx="212727" cy="212727"/>
                <a:chOff x="10422077" y="5139866"/>
                <a:chExt cx="212727" cy="212727"/>
              </a:xfrm>
            </p:grpSpPr>
            <p:sp>
              <p:nvSpPr>
                <p:cNvPr id="94" name="Ellipse 73">
                  <a:extLst>
                    <a:ext uri="{FF2B5EF4-FFF2-40B4-BE49-F238E27FC236}">
                      <a16:creationId xmlns:a16="http://schemas.microsoft.com/office/drawing/2014/main" id="{8B9DFEDD-7CF8-4148-84EE-03823B85EF78}"/>
                    </a:ext>
                  </a:extLst>
                </p:cNvPr>
                <p:cNvSpPr/>
                <p:nvPr/>
              </p:nvSpPr>
              <p:spPr bwMode="gray">
                <a:xfrm>
                  <a:off x="10422077" y="5139866"/>
                  <a:ext cx="212727" cy="212727"/>
                </a:xfrm>
                <a:prstGeom prst="ellipse">
                  <a:avLst/>
                </a:prstGeom>
                <a:solidFill>
                  <a:schemeClr val="lt1">
                    <a:alpha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400" dirty="0" err="1"/>
                </a:p>
              </p:txBody>
            </p:sp>
            <p:sp>
              <p:nvSpPr>
                <p:cNvPr id="95" name="Ellipse 74">
                  <a:extLst>
                    <a:ext uri="{FF2B5EF4-FFF2-40B4-BE49-F238E27FC236}">
                      <a16:creationId xmlns:a16="http://schemas.microsoft.com/office/drawing/2014/main" id="{BCA650CD-004D-49D9-8F32-8B71ACC06A4B}"/>
                    </a:ext>
                  </a:extLst>
                </p:cNvPr>
                <p:cNvSpPr/>
                <p:nvPr/>
              </p:nvSpPr>
              <p:spPr bwMode="gray">
                <a:xfrm>
                  <a:off x="10471168" y="5188957"/>
                  <a:ext cx="114545" cy="114545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  <a:effectLst>
                  <a:outerShdw blurRad="635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400" dirty="0" err="1"/>
                </a:p>
              </p:txBody>
            </p:sp>
          </p:grpSp>
          <p:pic>
            <p:nvPicPr>
              <p:cNvPr id="72" name="Grafik 71" descr="Ein Bild, das Zeichnung, Hocker, Tisch enthält.&#10;&#10;Automatisch generierte Beschreibung">
                <a:extLst>
                  <a:ext uri="{FF2B5EF4-FFF2-40B4-BE49-F238E27FC236}">
                    <a16:creationId xmlns:a16="http://schemas.microsoft.com/office/drawing/2014/main" id="{6F380143-63C3-473F-B50A-DACE4E719D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63963" y="4410681"/>
                <a:ext cx="1458181" cy="291919"/>
              </a:xfrm>
              <a:prstGeom prst="rect">
                <a:avLst/>
              </a:prstGeom>
            </p:spPr>
          </p:pic>
          <p:sp>
            <p:nvSpPr>
              <p:cNvPr id="122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<a:extLst>
                  <a:ext uri="{FF2B5EF4-FFF2-40B4-BE49-F238E27FC236}">
                    <a16:creationId xmlns:a16="http://schemas.microsoft.com/office/drawing/2014/main" id="{BDFF198D-B5D2-40CC-83AF-720BA986D87E}"/>
                  </a:ext>
                </a:extLst>
              </p:cNvPr>
              <p:cNvSpPr txBox="1"/>
              <p:nvPr/>
            </p:nvSpPr>
            <p:spPr>
              <a:xfrm>
                <a:off x="4615833" y="5485801"/>
                <a:ext cx="1353627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ABB00"/>
                    </a:solidFill>
                  </a14:hiddenFill>
                </a:ext>
                <a:ext uri="{91240B29-F687-4F45-9708-019B960494DF}">
                  <a14:hiddenLine xmlns:a14="http://schemas.microsoft.com/office/drawing/2010/main">
                    <a:solidFill>
                      <a:schemeClr val="lt1"/>
                    </a:solidFill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r>
                  <a:rPr kumimoji="1" lang="nl-BE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12,1 </a:t>
                </a:r>
                <a:r>
                  <a:rPr kumimoji="1" lang="ru-RU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млрд</a:t>
                </a:r>
                <a:endParaRPr kumimoji="1" lang="zh-CN" altLang="en-US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endParaRPr>
              </a:p>
            </p:txBody>
          </p:sp>
        </p:grpSp>
        <p:pic>
          <p:nvPicPr>
            <p:cNvPr id="130" name="Grafik 129">
              <a:extLst>
                <a:ext uri="{FF2B5EF4-FFF2-40B4-BE49-F238E27FC236}">
                  <a16:creationId xmlns:a16="http://schemas.microsoft.com/office/drawing/2014/main" id="{B6901404-EB7A-49F7-B210-101206A2DB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7367" t="22431" r="28623" b="32235"/>
            <a:stretch/>
          </p:blipFill>
          <p:spPr>
            <a:xfrm>
              <a:off x="4247975" y="5317278"/>
              <a:ext cx="345305" cy="409838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F80CFDC-8863-44E2-8A74-85FEFE021B5A}"/>
              </a:ext>
            </a:extLst>
          </p:cNvPr>
          <p:cNvGrpSpPr/>
          <p:nvPr/>
        </p:nvGrpSpPr>
        <p:grpSpPr>
          <a:xfrm>
            <a:off x="6907296" y="3321063"/>
            <a:ext cx="2262320" cy="2426046"/>
            <a:chOff x="6908195" y="3321049"/>
            <a:chExt cx="2262615" cy="2426362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F9062F3F-5607-4DED-AB6B-03C952813D1C}"/>
                </a:ext>
              </a:extLst>
            </p:cNvPr>
            <p:cNvGrpSpPr/>
            <p:nvPr/>
          </p:nvGrpSpPr>
          <p:grpSpPr>
            <a:xfrm>
              <a:off x="6989981" y="4862431"/>
              <a:ext cx="1973723" cy="411977"/>
              <a:chOff x="1160315" y="4510097"/>
              <a:chExt cx="1973723" cy="411977"/>
            </a:xfrm>
          </p:grpSpPr>
          <p:sp>
            <p:nvSpPr>
              <p:cNvPr id="69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<a:extLst>
                  <a:ext uri="{FF2B5EF4-FFF2-40B4-BE49-F238E27FC236}">
                    <a16:creationId xmlns:a16="http://schemas.microsoft.com/office/drawing/2014/main" id="{6164E0D3-B282-464C-8CD5-78989F2EB8FB}"/>
                  </a:ext>
                </a:extLst>
              </p:cNvPr>
              <p:cNvSpPr txBox="1"/>
              <p:nvPr/>
            </p:nvSpPr>
            <p:spPr>
              <a:xfrm>
                <a:off x="1534693" y="4660430"/>
                <a:ext cx="1599345" cy="2616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ABB00"/>
                    </a:solidFill>
                  </a14:hiddenFill>
                </a:ext>
              </a:extLst>
            </p:spPr>
            <p:txBody>
              <a:bodyPr wrap="square" rtlCol="0">
                <a:spAutoFit/>
              </a:bodyPr>
              <a:lstStyle/>
              <a:p>
                <a:r>
                  <a:rPr kumimoji="1" lang="en-GB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10</a:t>
                </a:r>
                <a:r>
                  <a:rPr kumimoji="1" lang="ru-RU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 </a:t>
                </a:r>
                <a:r>
                  <a:rPr kumimoji="1" lang="en-GB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500 </a:t>
                </a:r>
                <a:r>
                  <a:rPr kumimoji="1" lang="ru-RU" altLang="zh-CN" sz="1100" dirty="0">
                    <a:solidFill>
                      <a:schemeClr val="bg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сотрудников</a:t>
                </a:r>
                <a:endParaRPr kumimoji="1" lang="zh-CN" altLang="en-US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566C1147-F113-4940-9ABB-DAB9B72627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315" y="4510097"/>
                <a:ext cx="380898" cy="334645"/>
              </a:xfrm>
              <a:custGeom>
                <a:avLst/>
                <a:gdLst>
                  <a:gd name="T0" fmla="*/ 221804 w 498"/>
                  <a:gd name="T1" fmla="*/ 194813 h 435"/>
                  <a:gd name="T2" fmla="*/ 221804 w 498"/>
                  <a:gd name="T3" fmla="*/ 194813 h 435"/>
                  <a:gd name="T4" fmla="*/ 217341 w 498"/>
                  <a:gd name="T5" fmla="*/ 147232 h 435"/>
                  <a:gd name="T6" fmla="*/ 189671 w 498"/>
                  <a:gd name="T7" fmla="*/ 131521 h 435"/>
                  <a:gd name="T8" fmla="*/ 166018 w 498"/>
                  <a:gd name="T9" fmla="*/ 103691 h 435"/>
                  <a:gd name="T10" fmla="*/ 174051 w 498"/>
                  <a:gd name="T11" fmla="*/ 87980 h 435"/>
                  <a:gd name="T12" fmla="*/ 182084 w 498"/>
                  <a:gd name="T13" fmla="*/ 71372 h 435"/>
                  <a:gd name="T14" fmla="*/ 178068 w 498"/>
                  <a:gd name="T15" fmla="*/ 67781 h 435"/>
                  <a:gd name="T16" fmla="*/ 182084 w 498"/>
                  <a:gd name="T17" fmla="*/ 51621 h 435"/>
                  <a:gd name="T18" fmla="*/ 154415 w 498"/>
                  <a:gd name="T19" fmla="*/ 27830 h 435"/>
                  <a:gd name="T20" fmla="*/ 126745 w 498"/>
                  <a:gd name="T21" fmla="*/ 51621 h 435"/>
                  <a:gd name="T22" fmla="*/ 130762 w 498"/>
                  <a:gd name="T23" fmla="*/ 67781 h 435"/>
                  <a:gd name="T24" fmla="*/ 126745 w 498"/>
                  <a:gd name="T25" fmla="*/ 71372 h 435"/>
                  <a:gd name="T26" fmla="*/ 134778 w 498"/>
                  <a:gd name="T27" fmla="*/ 87980 h 435"/>
                  <a:gd name="T28" fmla="*/ 138795 w 498"/>
                  <a:gd name="T29" fmla="*/ 103691 h 435"/>
                  <a:gd name="T30" fmla="*/ 130762 w 498"/>
                  <a:gd name="T31" fmla="*/ 123441 h 435"/>
                  <a:gd name="T32" fmla="*/ 170035 w 498"/>
                  <a:gd name="T33" fmla="*/ 163392 h 435"/>
                  <a:gd name="T34" fmla="*/ 170035 w 498"/>
                  <a:gd name="T35" fmla="*/ 194813 h 435"/>
                  <a:gd name="T36" fmla="*/ 221804 w 498"/>
                  <a:gd name="T37" fmla="*/ 194813 h 435"/>
                  <a:gd name="T38" fmla="*/ 115142 w 498"/>
                  <a:gd name="T39" fmla="*/ 135561 h 435"/>
                  <a:gd name="T40" fmla="*/ 115142 w 498"/>
                  <a:gd name="T41" fmla="*/ 135561 h 435"/>
                  <a:gd name="T42" fmla="*/ 83455 w 498"/>
                  <a:gd name="T43" fmla="*/ 103691 h 435"/>
                  <a:gd name="T44" fmla="*/ 95059 w 498"/>
                  <a:gd name="T45" fmla="*/ 75412 h 435"/>
                  <a:gd name="T46" fmla="*/ 103092 w 498"/>
                  <a:gd name="T47" fmla="*/ 59701 h 435"/>
                  <a:gd name="T48" fmla="*/ 99075 w 498"/>
                  <a:gd name="T49" fmla="*/ 51621 h 435"/>
                  <a:gd name="T50" fmla="*/ 103092 w 498"/>
                  <a:gd name="T51" fmla="*/ 31870 h 435"/>
                  <a:gd name="T52" fmla="*/ 67389 w 498"/>
                  <a:gd name="T53" fmla="*/ 0 h 435"/>
                  <a:gd name="T54" fmla="*/ 31686 w 498"/>
                  <a:gd name="T55" fmla="*/ 31870 h 435"/>
                  <a:gd name="T56" fmla="*/ 31686 w 498"/>
                  <a:gd name="T57" fmla="*/ 51621 h 435"/>
                  <a:gd name="T58" fmla="*/ 31686 w 498"/>
                  <a:gd name="T59" fmla="*/ 59701 h 435"/>
                  <a:gd name="T60" fmla="*/ 39719 w 498"/>
                  <a:gd name="T61" fmla="*/ 75412 h 435"/>
                  <a:gd name="T62" fmla="*/ 47753 w 498"/>
                  <a:gd name="T63" fmla="*/ 103691 h 435"/>
                  <a:gd name="T64" fmla="*/ 20083 w 498"/>
                  <a:gd name="T65" fmla="*/ 135561 h 435"/>
                  <a:gd name="T66" fmla="*/ 0 w 498"/>
                  <a:gd name="T67" fmla="*/ 155312 h 435"/>
                  <a:gd name="T68" fmla="*/ 0 w 498"/>
                  <a:gd name="T69" fmla="*/ 194813 h 435"/>
                  <a:gd name="T70" fmla="*/ 154415 w 498"/>
                  <a:gd name="T71" fmla="*/ 194813 h 435"/>
                  <a:gd name="T72" fmla="*/ 154415 w 498"/>
                  <a:gd name="T73" fmla="*/ 163392 h 435"/>
                  <a:gd name="T74" fmla="*/ 115142 w 498"/>
                  <a:gd name="T75" fmla="*/ 135561 h 4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98" h="435">
                    <a:moveTo>
                      <a:pt x="497" y="434"/>
                    </a:moveTo>
                    <a:lnTo>
                      <a:pt x="497" y="434"/>
                    </a:lnTo>
                    <a:cubicBezTo>
                      <a:pt x="497" y="434"/>
                      <a:pt x="497" y="337"/>
                      <a:pt x="487" y="328"/>
                    </a:cubicBezTo>
                    <a:cubicBezTo>
                      <a:pt x="479" y="319"/>
                      <a:pt x="462" y="302"/>
                      <a:pt x="425" y="293"/>
                    </a:cubicBezTo>
                    <a:cubicBezTo>
                      <a:pt x="390" y="275"/>
                      <a:pt x="372" y="257"/>
                      <a:pt x="372" y="231"/>
                    </a:cubicBezTo>
                    <a:cubicBezTo>
                      <a:pt x="372" y="213"/>
                      <a:pt x="390" y="222"/>
                      <a:pt x="390" y="196"/>
                    </a:cubicBezTo>
                    <a:cubicBezTo>
                      <a:pt x="390" y="178"/>
                      <a:pt x="408" y="196"/>
                      <a:pt x="408" y="159"/>
                    </a:cubicBezTo>
                    <a:cubicBezTo>
                      <a:pt x="408" y="151"/>
                      <a:pt x="399" y="151"/>
                      <a:pt x="399" y="151"/>
                    </a:cubicBezTo>
                    <a:cubicBezTo>
                      <a:pt x="399" y="151"/>
                      <a:pt x="408" y="133"/>
                      <a:pt x="408" y="115"/>
                    </a:cubicBezTo>
                    <a:cubicBezTo>
                      <a:pt x="408" y="98"/>
                      <a:pt x="399" y="62"/>
                      <a:pt x="346" y="62"/>
                    </a:cubicBezTo>
                    <a:cubicBezTo>
                      <a:pt x="293" y="62"/>
                      <a:pt x="284" y="98"/>
                      <a:pt x="284" y="115"/>
                    </a:cubicBezTo>
                    <a:cubicBezTo>
                      <a:pt x="284" y="133"/>
                      <a:pt x="293" y="151"/>
                      <a:pt x="293" y="151"/>
                    </a:cubicBezTo>
                    <a:cubicBezTo>
                      <a:pt x="293" y="151"/>
                      <a:pt x="284" y="151"/>
                      <a:pt x="284" y="159"/>
                    </a:cubicBezTo>
                    <a:cubicBezTo>
                      <a:pt x="284" y="196"/>
                      <a:pt x="293" y="178"/>
                      <a:pt x="302" y="196"/>
                    </a:cubicBezTo>
                    <a:cubicBezTo>
                      <a:pt x="302" y="222"/>
                      <a:pt x="311" y="213"/>
                      <a:pt x="311" y="231"/>
                    </a:cubicBezTo>
                    <a:cubicBezTo>
                      <a:pt x="311" y="249"/>
                      <a:pt x="311" y="266"/>
                      <a:pt x="293" y="275"/>
                    </a:cubicBezTo>
                    <a:cubicBezTo>
                      <a:pt x="372" y="319"/>
                      <a:pt x="381" y="319"/>
                      <a:pt x="381" y="364"/>
                    </a:cubicBezTo>
                    <a:cubicBezTo>
                      <a:pt x="381" y="434"/>
                      <a:pt x="381" y="434"/>
                      <a:pt x="381" y="434"/>
                    </a:cubicBezTo>
                    <a:lnTo>
                      <a:pt x="497" y="434"/>
                    </a:lnTo>
                    <a:close/>
                    <a:moveTo>
                      <a:pt x="258" y="302"/>
                    </a:moveTo>
                    <a:lnTo>
                      <a:pt x="258" y="302"/>
                    </a:lnTo>
                    <a:cubicBezTo>
                      <a:pt x="204" y="284"/>
                      <a:pt x="187" y="266"/>
                      <a:pt x="187" y="231"/>
                    </a:cubicBezTo>
                    <a:cubicBezTo>
                      <a:pt x="187" y="204"/>
                      <a:pt x="204" y="213"/>
                      <a:pt x="213" y="168"/>
                    </a:cubicBezTo>
                    <a:cubicBezTo>
                      <a:pt x="213" y="159"/>
                      <a:pt x="231" y="168"/>
                      <a:pt x="231" y="133"/>
                    </a:cubicBezTo>
                    <a:cubicBezTo>
                      <a:pt x="231" y="115"/>
                      <a:pt x="222" y="115"/>
                      <a:pt x="222" y="115"/>
                    </a:cubicBezTo>
                    <a:cubicBezTo>
                      <a:pt x="222" y="115"/>
                      <a:pt x="222" y="89"/>
                      <a:pt x="231" y="71"/>
                    </a:cubicBezTo>
                    <a:cubicBezTo>
                      <a:pt x="231" y="53"/>
                      <a:pt x="213" y="0"/>
                      <a:pt x="151" y="0"/>
                    </a:cubicBezTo>
                    <a:cubicBezTo>
                      <a:pt x="80" y="0"/>
                      <a:pt x="71" y="53"/>
                      <a:pt x="71" y="71"/>
                    </a:cubicBezTo>
                    <a:cubicBezTo>
                      <a:pt x="71" y="89"/>
                      <a:pt x="71" y="115"/>
                      <a:pt x="71" y="115"/>
                    </a:cubicBezTo>
                    <a:cubicBezTo>
                      <a:pt x="71" y="115"/>
                      <a:pt x="71" y="115"/>
                      <a:pt x="71" y="133"/>
                    </a:cubicBezTo>
                    <a:cubicBezTo>
                      <a:pt x="71" y="168"/>
                      <a:pt x="80" y="159"/>
                      <a:pt x="89" y="168"/>
                    </a:cubicBezTo>
                    <a:cubicBezTo>
                      <a:pt x="89" y="213"/>
                      <a:pt x="107" y="204"/>
                      <a:pt x="107" y="231"/>
                    </a:cubicBezTo>
                    <a:cubicBezTo>
                      <a:pt x="107" y="266"/>
                      <a:pt x="89" y="284"/>
                      <a:pt x="45" y="302"/>
                    </a:cubicBezTo>
                    <a:cubicBezTo>
                      <a:pt x="27" y="310"/>
                      <a:pt x="0" y="319"/>
                      <a:pt x="0" y="346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346" y="434"/>
                      <a:pt x="346" y="434"/>
                      <a:pt x="346" y="434"/>
                    </a:cubicBezTo>
                    <a:cubicBezTo>
                      <a:pt x="346" y="434"/>
                      <a:pt x="346" y="381"/>
                      <a:pt x="346" y="364"/>
                    </a:cubicBezTo>
                    <a:cubicBezTo>
                      <a:pt x="346" y="346"/>
                      <a:pt x="302" y="328"/>
                      <a:pt x="258" y="30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13" tIns="22856" rIns="45713" bIns="22856" anchor="ctr"/>
              <a:lstStyle/>
              <a:p>
                <a:pPr eaLnBrk="1" hangingPunct="1">
                  <a:defRPr/>
                </a:pPr>
                <a:endParaRPr lang="id-ID"/>
              </a:p>
            </p:txBody>
          </p:sp>
        </p:grpSp>
        <p:sp>
          <p:nvSpPr>
            <p:cNvPr id="67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<a:extLst>
                <a:ext uri="{FF2B5EF4-FFF2-40B4-BE49-F238E27FC236}">
                  <a16:creationId xmlns:a16="http://schemas.microsoft.com/office/drawing/2014/main" id="{8B8631B7-A63F-418E-9DB1-55707D507E31}"/>
                </a:ext>
              </a:extLst>
            </p:cNvPr>
            <p:cNvSpPr txBox="1"/>
            <p:nvPr/>
          </p:nvSpPr>
          <p:spPr>
            <a:xfrm>
              <a:off x="6908195" y="3683755"/>
              <a:ext cx="2262615" cy="600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ABB00"/>
                  </a:solidFill>
                </a14:hiddenFill>
              </a:ext>
            </a:extLst>
          </p:spPr>
          <p:txBody>
            <a:bodyPr wrap="square" rtlCol="0" anchor="b">
              <a:spAutoFit/>
            </a:bodyPr>
            <a:lstStyle/>
            <a:p>
              <a:r>
                <a:rPr kumimoji="1" lang="ru-RU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Услуги для пищевой промышленности и новые виды энергии</a:t>
              </a:r>
              <a:endParaRPr kumimoji="1" lang="zh-CN" altLang="en-US" sz="1100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CBF49C1A-0EAC-4373-8850-22E34A13C835}"/>
                </a:ext>
              </a:extLst>
            </p:cNvPr>
            <p:cNvGrpSpPr/>
            <p:nvPr/>
          </p:nvGrpSpPr>
          <p:grpSpPr>
            <a:xfrm>
              <a:off x="6989981" y="3321049"/>
              <a:ext cx="212727" cy="212727"/>
              <a:chOff x="10422077" y="5139866"/>
              <a:chExt cx="212727" cy="212727"/>
            </a:xfrm>
          </p:grpSpPr>
          <p:sp>
            <p:nvSpPr>
              <p:cNvPr id="91" name="Ellipse 73">
                <a:extLst>
                  <a:ext uri="{FF2B5EF4-FFF2-40B4-BE49-F238E27FC236}">
                    <a16:creationId xmlns:a16="http://schemas.microsoft.com/office/drawing/2014/main" id="{9672F627-CEF9-47A9-888E-FBE2CC05157C}"/>
                  </a:ext>
                </a:extLst>
              </p:cNvPr>
              <p:cNvSpPr/>
              <p:nvPr/>
            </p:nvSpPr>
            <p:spPr bwMode="gray">
              <a:xfrm>
                <a:off x="10422077" y="5139866"/>
                <a:ext cx="212727" cy="212727"/>
              </a:xfrm>
              <a:prstGeom prst="ellipse">
                <a:avLst/>
              </a:prstGeom>
              <a:solidFill>
                <a:schemeClr val="lt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/>
              </a:p>
            </p:txBody>
          </p:sp>
          <p:sp>
            <p:nvSpPr>
              <p:cNvPr id="92" name="Ellipse 74">
                <a:extLst>
                  <a:ext uri="{FF2B5EF4-FFF2-40B4-BE49-F238E27FC236}">
                    <a16:creationId xmlns:a16="http://schemas.microsoft.com/office/drawing/2014/main" id="{4726F359-9C2E-4BC8-87DE-F43B8BF9389A}"/>
                  </a:ext>
                </a:extLst>
              </p:cNvPr>
              <p:cNvSpPr/>
              <p:nvPr/>
            </p:nvSpPr>
            <p:spPr bwMode="gray">
              <a:xfrm>
                <a:off x="10471168" y="5188957"/>
                <a:ext cx="114545" cy="114545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algn="ctr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/>
              </a:p>
            </p:txBody>
          </p:sp>
        </p:grpSp>
        <p:pic>
          <p:nvPicPr>
            <p:cNvPr id="71" name="Grafik 70">
              <a:extLst>
                <a:ext uri="{FF2B5EF4-FFF2-40B4-BE49-F238E27FC236}">
                  <a16:creationId xmlns:a16="http://schemas.microsoft.com/office/drawing/2014/main" id="{4A82B7B1-3547-4443-9E2E-3B50547F81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89981" y="4410681"/>
              <a:ext cx="1492899" cy="297919"/>
            </a:xfrm>
            <a:prstGeom prst="rect">
              <a:avLst/>
            </a:prstGeom>
          </p:spPr>
        </p:pic>
        <p:sp>
          <p:nvSpPr>
            <p:cNvPr id="125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<a:extLst>
                <a:ext uri="{FF2B5EF4-FFF2-40B4-BE49-F238E27FC236}">
                  <a16:creationId xmlns:a16="http://schemas.microsoft.com/office/drawing/2014/main" id="{97095F5A-4454-4E08-83C1-47F9F22FAEAE}"/>
                </a:ext>
              </a:extLst>
            </p:cNvPr>
            <p:cNvSpPr txBox="1"/>
            <p:nvPr/>
          </p:nvSpPr>
          <p:spPr>
            <a:xfrm>
              <a:off x="7410177" y="5485801"/>
              <a:ext cx="1353627" cy="261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ABB00"/>
                  </a:solidFill>
                </a14:hiddenFill>
              </a:ext>
            </a:extLst>
          </p:spPr>
          <p:txBody>
            <a:bodyPr wrap="square" rtlCol="0">
              <a:spAutoFit/>
            </a:bodyPr>
            <a:lstStyle/>
            <a:p>
              <a:r>
                <a:rPr kumimoji="1" lang="en-GB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3,8 </a:t>
              </a:r>
              <a:r>
                <a:rPr kumimoji="1" lang="ru-RU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млрд</a:t>
              </a:r>
              <a:endParaRPr kumimoji="1" lang="zh-CN" altLang="en-US" sz="1100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pic>
          <p:nvPicPr>
            <p:cNvPr id="131" name="Grafik 130">
              <a:extLst>
                <a:ext uri="{FF2B5EF4-FFF2-40B4-BE49-F238E27FC236}">
                  <a16:creationId xmlns:a16="http://schemas.microsoft.com/office/drawing/2014/main" id="{9C3EE6B9-CDD5-4919-8148-A2483C7F00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7367" t="22431" r="28623" b="32235"/>
            <a:stretch/>
          </p:blipFill>
          <p:spPr>
            <a:xfrm>
              <a:off x="6998326" y="5317278"/>
              <a:ext cx="345305" cy="409838"/>
            </a:xfrm>
            <a:prstGeom prst="rect">
              <a:avLst/>
            </a:prstGeom>
          </p:spPr>
        </p:pic>
      </p:grpSp>
      <p:sp>
        <p:nvSpPr>
          <p:cNvPr id="44" name="Datumsplatzhalter 43">
            <a:extLst>
              <a:ext uri="{FF2B5EF4-FFF2-40B4-BE49-F238E27FC236}">
                <a16:creationId xmlns:a16="http://schemas.microsoft.com/office/drawing/2014/main" id="{66C53B85-28DA-49D4-A551-1DF6A2C4B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1A75F-8E1D-494A-98E8-83B5D40512B4}" type="datetime1">
              <a:rPr lang="de-DE" sz="1000"/>
              <a:t>11.09.2023</a:t>
            </a:fld>
            <a:endParaRPr lang="de-DE" sz="1000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CEB30B8-3C5B-4803-BA98-429E7F64EDB8}"/>
              </a:ext>
            </a:extLst>
          </p:cNvPr>
          <p:cNvGrpSpPr/>
          <p:nvPr/>
        </p:nvGrpSpPr>
        <p:grpSpPr>
          <a:xfrm>
            <a:off x="9656988" y="3321063"/>
            <a:ext cx="2080813" cy="2426046"/>
            <a:chOff x="9658245" y="3321049"/>
            <a:chExt cx="2081084" cy="2426362"/>
          </a:xfrm>
        </p:grpSpPr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BA3C5754-AC2A-4FC6-A31E-1F6336FC25C3}"/>
                </a:ext>
              </a:extLst>
            </p:cNvPr>
            <p:cNvGrpSpPr/>
            <p:nvPr/>
          </p:nvGrpSpPr>
          <p:grpSpPr>
            <a:xfrm>
              <a:off x="9772126" y="4862431"/>
              <a:ext cx="1967203" cy="415782"/>
              <a:chOff x="973455" y="4510097"/>
              <a:chExt cx="1967203" cy="415782"/>
            </a:xfrm>
          </p:grpSpPr>
          <p:sp>
            <p:nvSpPr>
              <p:cNvPr id="78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  <a:extLst>
                  <a:ext uri="{FF2B5EF4-FFF2-40B4-BE49-F238E27FC236}">
                    <a16:creationId xmlns:a16="http://schemas.microsoft.com/office/drawing/2014/main" id="{8DB9C8FE-C3B0-40E6-B196-0B1A9FEFC6AF}"/>
                  </a:ext>
                </a:extLst>
              </p:cNvPr>
              <p:cNvSpPr txBox="1"/>
              <p:nvPr/>
            </p:nvSpPr>
            <p:spPr>
              <a:xfrm>
                <a:off x="1341313" y="4664235"/>
                <a:ext cx="1599345" cy="2616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ABB00"/>
                    </a:solidFill>
                  </a14:hiddenFill>
                </a:ext>
              </a:extLst>
            </p:spPr>
            <p:txBody>
              <a:bodyPr wrap="square" rtlCol="0">
                <a:spAutoFit/>
              </a:bodyPr>
              <a:lstStyle/>
              <a:p>
                <a:r>
                  <a:rPr kumimoji="1" lang="en-GB" altLang="zh-CN" sz="110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103</a:t>
                </a:r>
                <a:r>
                  <a:rPr kumimoji="1" lang="ru-RU" altLang="zh-CN" sz="110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 </a:t>
                </a:r>
                <a:r>
                  <a:rPr kumimoji="1" lang="en-GB" altLang="zh-CN" sz="1100" dirty="0">
                    <a:solidFill>
                      <a:schemeClr val="lt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600 </a:t>
                </a:r>
                <a:r>
                  <a:rPr kumimoji="1" lang="ru-RU" altLang="zh-CN" sz="1100" dirty="0">
                    <a:solidFill>
                      <a:schemeClr val="bg1"/>
                    </a:solidFill>
                    <a:latin typeface="Arial" panose="020B0604020202020204" pitchFamily="34" charset="0"/>
                    <a:ea typeface="华文细黑"/>
                    <a:cs typeface="Helvetica Light"/>
                  </a:rPr>
                  <a:t>сотрудников</a:t>
                </a:r>
                <a:endParaRPr kumimoji="1" lang="zh-CN" altLang="en-US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endParaRPr>
              </a:p>
            </p:txBody>
          </p:sp>
          <p:sp>
            <p:nvSpPr>
              <p:cNvPr id="79" name="Freeform 47">
                <a:extLst>
                  <a:ext uri="{FF2B5EF4-FFF2-40B4-BE49-F238E27FC236}">
                    <a16:creationId xmlns:a16="http://schemas.microsoft.com/office/drawing/2014/main" id="{C9C5DFA1-5C20-42D5-A49D-CE4599C535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455" y="4510097"/>
                <a:ext cx="380898" cy="334645"/>
              </a:xfrm>
              <a:custGeom>
                <a:avLst/>
                <a:gdLst>
                  <a:gd name="T0" fmla="*/ 221804 w 498"/>
                  <a:gd name="T1" fmla="*/ 194813 h 435"/>
                  <a:gd name="T2" fmla="*/ 221804 w 498"/>
                  <a:gd name="T3" fmla="*/ 194813 h 435"/>
                  <a:gd name="T4" fmla="*/ 217341 w 498"/>
                  <a:gd name="T5" fmla="*/ 147232 h 435"/>
                  <a:gd name="T6" fmla="*/ 189671 w 498"/>
                  <a:gd name="T7" fmla="*/ 131521 h 435"/>
                  <a:gd name="T8" fmla="*/ 166018 w 498"/>
                  <a:gd name="T9" fmla="*/ 103691 h 435"/>
                  <a:gd name="T10" fmla="*/ 174051 w 498"/>
                  <a:gd name="T11" fmla="*/ 87980 h 435"/>
                  <a:gd name="T12" fmla="*/ 182084 w 498"/>
                  <a:gd name="T13" fmla="*/ 71372 h 435"/>
                  <a:gd name="T14" fmla="*/ 178068 w 498"/>
                  <a:gd name="T15" fmla="*/ 67781 h 435"/>
                  <a:gd name="T16" fmla="*/ 182084 w 498"/>
                  <a:gd name="T17" fmla="*/ 51621 h 435"/>
                  <a:gd name="T18" fmla="*/ 154415 w 498"/>
                  <a:gd name="T19" fmla="*/ 27830 h 435"/>
                  <a:gd name="T20" fmla="*/ 126745 w 498"/>
                  <a:gd name="T21" fmla="*/ 51621 h 435"/>
                  <a:gd name="T22" fmla="*/ 130762 w 498"/>
                  <a:gd name="T23" fmla="*/ 67781 h 435"/>
                  <a:gd name="T24" fmla="*/ 126745 w 498"/>
                  <a:gd name="T25" fmla="*/ 71372 h 435"/>
                  <a:gd name="T26" fmla="*/ 134778 w 498"/>
                  <a:gd name="T27" fmla="*/ 87980 h 435"/>
                  <a:gd name="T28" fmla="*/ 138795 w 498"/>
                  <a:gd name="T29" fmla="*/ 103691 h 435"/>
                  <a:gd name="T30" fmla="*/ 130762 w 498"/>
                  <a:gd name="T31" fmla="*/ 123441 h 435"/>
                  <a:gd name="T32" fmla="*/ 170035 w 498"/>
                  <a:gd name="T33" fmla="*/ 163392 h 435"/>
                  <a:gd name="T34" fmla="*/ 170035 w 498"/>
                  <a:gd name="T35" fmla="*/ 194813 h 435"/>
                  <a:gd name="T36" fmla="*/ 221804 w 498"/>
                  <a:gd name="T37" fmla="*/ 194813 h 435"/>
                  <a:gd name="T38" fmla="*/ 115142 w 498"/>
                  <a:gd name="T39" fmla="*/ 135561 h 435"/>
                  <a:gd name="T40" fmla="*/ 115142 w 498"/>
                  <a:gd name="T41" fmla="*/ 135561 h 435"/>
                  <a:gd name="T42" fmla="*/ 83455 w 498"/>
                  <a:gd name="T43" fmla="*/ 103691 h 435"/>
                  <a:gd name="T44" fmla="*/ 95059 w 498"/>
                  <a:gd name="T45" fmla="*/ 75412 h 435"/>
                  <a:gd name="T46" fmla="*/ 103092 w 498"/>
                  <a:gd name="T47" fmla="*/ 59701 h 435"/>
                  <a:gd name="T48" fmla="*/ 99075 w 498"/>
                  <a:gd name="T49" fmla="*/ 51621 h 435"/>
                  <a:gd name="T50" fmla="*/ 103092 w 498"/>
                  <a:gd name="T51" fmla="*/ 31870 h 435"/>
                  <a:gd name="T52" fmla="*/ 67389 w 498"/>
                  <a:gd name="T53" fmla="*/ 0 h 435"/>
                  <a:gd name="T54" fmla="*/ 31686 w 498"/>
                  <a:gd name="T55" fmla="*/ 31870 h 435"/>
                  <a:gd name="T56" fmla="*/ 31686 w 498"/>
                  <a:gd name="T57" fmla="*/ 51621 h 435"/>
                  <a:gd name="T58" fmla="*/ 31686 w 498"/>
                  <a:gd name="T59" fmla="*/ 59701 h 435"/>
                  <a:gd name="T60" fmla="*/ 39719 w 498"/>
                  <a:gd name="T61" fmla="*/ 75412 h 435"/>
                  <a:gd name="T62" fmla="*/ 47753 w 498"/>
                  <a:gd name="T63" fmla="*/ 103691 h 435"/>
                  <a:gd name="T64" fmla="*/ 20083 w 498"/>
                  <a:gd name="T65" fmla="*/ 135561 h 435"/>
                  <a:gd name="T66" fmla="*/ 0 w 498"/>
                  <a:gd name="T67" fmla="*/ 155312 h 435"/>
                  <a:gd name="T68" fmla="*/ 0 w 498"/>
                  <a:gd name="T69" fmla="*/ 194813 h 435"/>
                  <a:gd name="T70" fmla="*/ 154415 w 498"/>
                  <a:gd name="T71" fmla="*/ 194813 h 435"/>
                  <a:gd name="T72" fmla="*/ 154415 w 498"/>
                  <a:gd name="T73" fmla="*/ 163392 h 435"/>
                  <a:gd name="T74" fmla="*/ 115142 w 498"/>
                  <a:gd name="T75" fmla="*/ 135561 h 4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98" h="435">
                    <a:moveTo>
                      <a:pt x="497" y="434"/>
                    </a:moveTo>
                    <a:lnTo>
                      <a:pt x="497" y="434"/>
                    </a:lnTo>
                    <a:cubicBezTo>
                      <a:pt x="497" y="434"/>
                      <a:pt x="497" y="337"/>
                      <a:pt x="487" y="328"/>
                    </a:cubicBezTo>
                    <a:cubicBezTo>
                      <a:pt x="479" y="319"/>
                      <a:pt x="462" y="302"/>
                      <a:pt x="425" y="293"/>
                    </a:cubicBezTo>
                    <a:cubicBezTo>
                      <a:pt x="390" y="275"/>
                      <a:pt x="372" y="257"/>
                      <a:pt x="372" y="231"/>
                    </a:cubicBezTo>
                    <a:cubicBezTo>
                      <a:pt x="372" y="213"/>
                      <a:pt x="390" y="222"/>
                      <a:pt x="390" y="196"/>
                    </a:cubicBezTo>
                    <a:cubicBezTo>
                      <a:pt x="390" y="178"/>
                      <a:pt x="408" y="196"/>
                      <a:pt x="408" y="159"/>
                    </a:cubicBezTo>
                    <a:cubicBezTo>
                      <a:pt x="408" y="151"/>
                      <a:pt x="399" y="151"/>
                      <a:pt x="399" y="151"/>
                    </a:cubicBezTo>
                    <a:cubicBezTo>
                      <a:pt x="399" y="151"/>
                      <a:pt x="408" y="133"/>
                      <a:pt x="408" y="115"/>
                    </a:cubicBezTo>
                    <a:cubicBezTo>
                      <a:pt x="408" y="98"/>
                      <a:pt x="399" y="62"/>
                      <a:pt x="346" y="62"/>
                    </a:cubicBezTo>
                    <a:cubicBezTo>
                      <a:pt x="293" y="62"/>
                      <a:pt x="284" y="98"/>
                      <a:pt x="284" y="115"/>
                    </a:cubicBezTo>
                    <a:cubicBezTo>
                      <a:pt x="284" y="133"/>
                      <a:pt x="293" y="151"/>
                      <a:pt x="293" y="151"/>
                    </a:cubicBezTo>
                    <a:cubicBezTo>
                      <a:pt x="293" y="151"/>
                      <a:pt x="284" y="151"/>
                      <a:pt x="284" y="159"/>
                    </a:cubicBezTo>
                    <a:cubicBezTo>
                      <a:pt x="284" y="196"/>
                      <a:pt x="293" y="178"/>
                      <a:pt x="302" y="196"/>
                    </a:cubicBezTo>
                    <a:cubicBezTo>
                      <a:pt x="302" y="222"/>
                      <a:pt x="311" y="213"/>
                      <a:pt x="311" y="231"/>
                    </a:cubicBezTo>
                    <a:cubicBezTo>
                      <a:pt x="311" y="249"/>
                      <a:pt x="311" y="266"/>
                      <a:pt x="293" y="275"/>
                    </a:cubicBezTo>
                    <a:cubicBezTo>
                      <a:pt x="372" y="319"/>
                      <a:pt x="381" y="319"/>
                      <a:pt x="381" y="364"/>
                    </a:cubicBezTo>
                    <a:cubicBezTo>
                      <a:pt x="381" y="434"/>
                      <a:pt x="381" y="434"/>
                      <a:pt x="381" y="434"/>
                    </a:cubicBezTo>
                    <a:lnTo>
                      <a:pt x="497" y="434"/>
                    </a:lnTo>
                    <a:close/>
                    <a:moveTo>
                      <a:pt x="258" y="302"/>
                    </a:moveTo>
                    <a:lnTo>
                      <a:pt x="258" y="302"/>
                    </a:lnTo>
                    <a:cubicBezTo>
                      <a:pt x="204" y="284"/>
                      <a:pt x="187" y="266"/>
                      <a:pt x="187" y="231"/>
                    </a:cubicBezTo>
                    <a:cubicBezTo>
                      <a:pt x="187" y="204"/>
                      <a:pt x="204" y="213"/>
                      <a:pt x="213" y="168"/>
                    </a:cubicBezTo>
                    <a:cubicBezTo>
                      <a:pt x="213" y="159"/>
                      <a:pt x="231" y="168"/>
                      <a:pt x="231" y="133"/>
                    </a:cubicBezTo>
                    <a:cubicBezTo>
                      <a:pt x="231" y="115"/>
                      <a:pt x="222" y="115"/>
                      <a:pt x="222" y="115"/>
                    </a:cubicBezTo>
                    <a:cubicBezTo>
                      <a:pt x="222" y="115"/>
                      <a:pt x="222" y="89"/>
                      <a:pt x="231" y="71"/>
                    </a:cubicBezTo>
                    <a:cubicBezTo>
                      <a:pt x="231" y="53"/>
                      <a:pt x="213" y="0"/>
                      <a:pt x="151" y="0"/>
                    </a:cubicBezTo>
                    <a:cubicBezTo>
                      <a:pt x="80" y="0"/>
                      <a:pt x="71" y="53"/>
                      <a:pt x="71" y="71"/>
                    </a:cubicBezTo>
                    <a:cubicBezTo>
                      <a:pt x="71" y="89"/>
                      <a:pt x="71" y="115"/>
                      <a:pt x="71" y="115"/>
                    </a:cubicBezTo>
                    <a:cubicBezTo>
                      <a:pt x="71" y="115"/>
                      <a:pt x="71" y="115"/>
                      <a:pt x="71" y="133"/>
                    </a:cubicBezTo>
                    <a:cubicBezTo>
                      <a:pt x="71" y="168"/>
                      <a:pt x="80" y="159"/>
                      <a:pt x="89" y="168"/>
                    </a:cubicBezTo>
                    <a:cubicBezTo>
                      <a:pt x="89" y="213"/>
                      <a:pt x="107" y="204"/>
                      <a:pt x="107" y="231"/>
                    </a:cubicBezTo>
                    <a:cubicBezTo>
                      <a:pt x="107" y="266"/>
                      <a:pt x="89" y="284"/>
                      <a:pt x="45" y="302"/>
                    </a:cubicBezTo>
                    <a:cubicBezTo>
                      <a:pt x="27" y="310"/>
                      <a:pt x="0" y="319"/>
                      <a:pt x="0" y="346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346" y="434"/>
                      <a:pt x="346" y="434"/>
                      <a:pt x="346" y="434"/>
                    </a:cubicBezTo>
                    <a:cubicBezTo>
                      <a:pt x="346" y="434"/>
                      <a:pt x="346" y="381"/>
                      <a:pt x="346" y="364"/>
                    </a:cubicBezTo>
                    <a:cubicBezTo>
                      <a:pt x="346" y="346"/>
                      <a:pt x="302" y="328"/>
                      <a:pt x="258" y="30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13" tIns="22856" rIns="45713" bIns="22856" anchor="ctr"/>
              <a:lstStyle/>
              <a:p>
                <a:pPr eaLnBrk="1" hangingPunct="1">
                  <a:defRPr/>
                </a:pPr>
                <a:endParaRPr lang="id-ID"/>
              </a:p>
            </p:txBody>
          </p:sp>
        </p:grpSp>
        <p:sp>
          <p:nvSpPr>
            <p:cNvPr id="76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<a:extLst>
                <a:ext uri="{FF2B5EF4-FFF2-40B4-BE49-F238E27FC236}">
                  <a16:creationId xmlns:a16="http://schemas.microsoft.com/office/drawing/2014/main" id="{E581A3A2-55B2-4701-A798-D287C01CFC91}"/>
                </a:ext>
              </a:extLst>
            </p:cNvPr>
            <p:cNvSpPr txBox="1"/>
            <p:nvPr/>
          </p:nvSpPr>
          <p:spPr>
            <a:xfrm>
              <a:off x="9658245" y="3705963"/>
              <a:ext cx="1926274" cy="430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ABB00"/>
                  </a:solidFill>
                </a14:hiddenFill>
              </a:ext>
            </a:extLst>
          </p:spPr>
          <p:txBody>
            <a:bodyPr wrap="square" rtlCol="0" anchor="b">
              <a:spAutoFit/>
            </a:bodyPr>
            <a:lstStyle/>
            <a:p>
              <a:r>
                <a:rPr kumimoji="1" lang="ru-RU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Услуги общественного транспорта </a:t>
              </a:r>
              <a:endParaRPr kumimoji="1" lang="zh-CN" altLang="en-US" sz="1100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C00F7396-79FF-4D10-BF71-0CD167BA7C23}"/>
                </a:ext>
              </a:extLst>
            </p:cNvPr>
            <p:cNvGrpSpPr/>
            <p:nvPr/>
          </p:nvGrpSpPr>
          <p:grpSpPr>
            <a:xfrm>
              <a:off x="9747468" y="3321049"/>
              <a:ext cx="212727" cy="212727"/>
              <a:chOff x="10422077" y="5139866"/>
              <a:chExt cx="212727" cy="212727"/>
            </a:xfrm>
          </p:grpSpPr>
          <p:sp>
            <p:nvSpPr>
              <p:cNvPr id="88" name="Ellipse 73">
                <a:extLst>
                  <a:ext uri="{FF2B5EF4-FFF2-40B4-BE49-F238E27FC236}">
                    <a16:creationId xmlns:a16="http://schemas.microsoft.com/office/drawing/2014/main" id="{3F6FAD03-4877-434E-BEFF-D1E33CA35CD1}"/>
                  </a:ext>
                </a:extLst>
              </p:cNvPr>
              <p:cNvSpPr/>
              <p:nvPr/>
            </p:nvSpPr>
            <p:spPr bwMode="gray">
              <a:xfrm>
                <a:off x="10422077" y="5139866"/>
                <a:ext cx="212727" cy="212727"/>
              </a:xfrm>
              <a:prstGeom prst="ellipse">
                <a:avLst/>
              </a:prstGeom>
              <a:solidFill>
                <a:schemeClr val="lt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/>
              </a:p>
            </p:txBody>
          </p:sp>
          <p:sp>
            <p:nvSpPr>
              <p:cNvPr id="89" name="Ellipse 74">
                <a:extLst>
                  <a:ext uri="{FF2B5EF4-FFF2-40B4-BE49-F238E27FC236}">
                    <a16:creationId xmlns:a16="http://schemas.microsoft.com/office/drawing/2014/main" id="{2B7FB45A-9785-44F7-A1D9-9191B581D628}"/>
                  </a:ext>
                </a:extLst>
              </p:cNvPr>
              <p:cNvSpPr/>
              <p:nvPr/>
            </p:nvSpPr>
            <p:spPr bwMode="gray">
              <a:xfrm>
                <a:off x="10471168" y="5188957"/>
                <a:ext cx="114545" cy="114545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algn="ctr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/>
              </a:p>
            </p:txBody>
          </p:sp>
        </p:grpSp>
        <p:pic>
          <p:nvPicPr>
            <p:cNvPr id="86" name="Grafik 85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CD8B03B4-A014-4EAF-8E82-CACF529F0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7876" y="4300924"/>
              <a:ext cx="1353627" cy="401676"/>
            </a:xfrm>
            <a:prstGeom prst="rect">
              <a:avLst/>
            </a:prstGeom>
          </p:spPr>
        </p:pic>
        <p:sp>
          <p:nvSpPr>
            <p:cNvPr id="128" name="Website" descr="e7d195523061f1c031c703ae827a41d82d848b4543d3ea7289D8E8F86A53FC6163EC8A81A8A66F8C4722339FE4B4358C18D1CC4D5B5DBA40FE7B27962A37062774402BE64D77ED352C2DED658BBCE19289E7D83AAB72A1F7E3C67126F704BDE7739E46631D9447F68D7E611681FADEA0FE078F4FADC54E4E53D655AE4265604830106AAC1BC1CA86">
              <a:extLst>
                <a:ext uri="{FF2B5EF4-FFF2-40B4-BE49-F238E27FC236}">
                  <a16:creationId xmlns:a16="http://schemas.microsoft.com/office/drawing/2014/main" id="{30997BE3-36B4-4774-9669-004D019842F8}"/>
                </a:ext>
              </a:extLst>
            </p:cNvPr>
            <p:cNvSpPr txBox="1"/>
            <p:nvPr/>
          </p:nvSpPr>
          <p:spPr>
            <a:xfrm>
              <a:off x="10139984" y="5485801"/>
              <a:ext cx="1353627" cy="261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ABB00"/>
                  </a:solidFill>
                </a14:hiddenFill>
              </a:ext>
            </a:extLst>
          </p:spPr>
          <p:txBody>
            <a:bodyPr wrap="square" rtlCol="0">
              <a:spAutoFit/>
            </a:bodyPr>
            <a:lstStyle/>
            <a:p>
              <a:r>
                <a:rPr kumimoji="1" lang="en-GB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9,3 </a:t>
              </a:r>
              <a:r>
                <a:rPr kumimoji="1" lang="ru-RU" altLang="zh-CN" sz="1100" dirty="0">
                  <a:solidFill>
                    <a:schemeClr val="lt1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млрд</a:t>
              </a:r>
              <a:endParaRPr kumimoji="1" lang="zh-CN" altLang="en-US" sz="1100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pic>
          <p:nvPicPr>
            <p:cNvPr id="132" name="Grafik 131">
              <a:extLst>
                <a:ext uri="{FF2B5EF4-FFF2-40B4-BE49-F238E27FC236}">
                  <a16:creationId xmlns:a16="http://schemas.microsoft.com/office/drawing/2014/main" id="{2F63F316-5F85-44F2-A8DD-B9830903FC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7367" t="22431" r="28623" b="32235"/>
            <a:stretch/>
          </p:blipFill>
          <p:spPr>
            <a:xfrm>
              <a:off x="9770470" y="5317278"/>
              <a:ext cx="345305" cy="409838"/>
            </a:xfrm>
            <a:prstGeom prst="rect">
              <a:avLst/>
            </a:prstGeom>
          </p:spPr>
        </p:pic>
      </p:grpSp>
      <p:sp>
        <p:nvSpPr>
          <p:cNvPr id="62" name="Titel 1">
            <a:extLst>
              <a:ext uri="{FF2B5EF4-FFF2-40B4-BE49-F238E27FC236}">
                <a16:creationId xmlns:a16="http://schemas.microsoft.com/office/drawing/2014/main" id="{8C3921BA-481E-4785-89DB-0345C190F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793" y="731407"/>
            <a:ext cx="11469599" cy="69364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kumimoji="1" lang="ru-RU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крепкая семья</a:t>
            </a:r>
            <a:r>
              <a:rPr kumimoji="1" lang="en-GB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:</a:t>
            </a:r>
            <a:br>
              <a:rPr kumimoji="1" lang="en-GB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</a:br>
            <a:r>
              <a:rPr kumimoji="1" lang="en-GB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RHENUS </a:t>
            </a:r>
            <a:r>
              <a:rPr kumimoji="1" lang="ru-RU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В СОСТАВЕ группы компаний</a:t>
            </a:r>
            <a:br>
              <a:rPr kumimoji="1" lang="en-GB" altLang="zh-CN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</a:br>
            <a:endParaRPr lang="de-DE" dirty="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64" name="Logo" descr="Ein Bild, das Zeichnung, Teller enthält.&#10;&#10;Automatisch generierte Beschreibung">
            <a:extLst>
              <a:ext uri="{FF2B5EF4-FFF2-40B4-BE49-F238E27FC236}">
                <a16:creationId xmlns:a16="http://schemas.microsoft.com/office/drawing/2014/main" id="{4712616E-BE98-4324-ADBE-C78F7ED019E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8670" y="241721"/>
            <a:ext cx="1838473" cy="4005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8689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75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Umsatz-Graph">
            <a:extLst>
              <a:ext uri="{FF2B5EF4-FFF2-40B4-BE49-F238E27FC236}">
                <a16:creationId xmlns:a16="http://schemas.microsoft.com/office/drawing/2014/main" id="{86CDF24D-8A12-4038-99BD-959C08BAAF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7442641"/>
              </p:ext>
            </p:extLst>
          </p:nvPr>
        </p:nvGraphicFramePr>
        <p:xfrm>
          <a:off x="4851517" y="1127748"/>
          <a:ext cx="6908863" cy="5643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Subtext">
            <a:extLst>
              <a:ext uri="{FF2B5EF4-FFF2-40B4-BE49-F238E27FC236}">
                <a16:creationId xmlns:a16="http://schemas.microsoft.com/office/drawing/2014/main" id="{BAFC03FE-15C9-42B4-BE42-8E543CE21A75}"/>
              </a:ext>
            </a:extLst>
          </p:cNvPr>
          <p:cNvSpPr/>
          <p:nvPr/>
        </p:nvSpPr>
        <p:spPr>
          <a:xfrm>
            <a:off x="448915" y="1944665"/>
            <a:ext cx="6154225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altLang="zh-CN" sz="12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Логистический эксперт, бизнес с семейными корнями, партнер, нацеленный на результат.</a:t>
            </a:r>
            <a:r>
              <a:rPr lang="en-US" altLang="zh-CN" sz="12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lang="ru-RU" altLang="zh-CN" sz="12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Мы предлагаем индивидуальные решения по поставкам, производству и дистрибуции.</a:t>
            </a:r>
            <a:r>
              <a:rPr lang="en-US" altLang="zh-CN" sz="12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lang="ru-RU" altLang="zh-CN" sz="12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Успех вашего бизнеса – с нашей экспертной поддержкой. </a:t>
            </a:r>
          </a:p>
        </p:txBody>
      </p:sp>
      <p:sp>
        <p:nvSpPr>
          <p:cNvPr id="34" name="Headline">
            <a:extLst>
              <a:ext uri="{FF2B5EF4-FFF2-40B4-BE49-F238E27FC236}">
                <a16:creationId xmlns:a16="http://schemas.microsoft.com/office/drawing/2014/main" id="{FCE5361F-8E38-4E43-BFBB-907F9BB79F41}"/>
              </a:ext>
            </a:extLst>
          </p:cNvPr>
          <p:cNvSpPr txBox="1"/>
          <p:nvPr/>
        </p:nvSpPr>
        <p:spPr>
          <a:xfrm>
            <a:off x="9863978" y="5754880"/>
            <a:ext cx="1592681" cy="36928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kumimoji="1" lang="en-GB" altLang="zh-CN" b="1" dirty="0">
                <a:solidFill>
                  <a:schemeClr val="lt1"/>
                </a:solidFill>
                <a:latin typeface="Arial" panose="020B0604020202020204" pitchFamily="34" charset="0"/>
                <a:ea typeface="华文细黑"/>
                <a:cs typeface="Helvetica Light"/>
              </a:rPr>
              <a:t>TURNOVER</a:t>
            </a:r>
          </a:p>
        </p:txBody>
      </p:sp>
      <p:sp>
        <p:nvSpPr>
          <p:cNvPr id="18" name="Keyfacts" descr="e7d195523061f1c031c703ae827a41d82d848b4543d3ea7289D8E8F86A53FC6163EC8A81A8A66F8C4722339FE4B4358C18D1CC4D5B5DBA40FE7B27962A37062774402BE64D77ED352C2DED658BBCE1928CFF104E7BB3718C01652FDF2CE490928B77507065D9E83018EC5B77139743D956E13E248A933F577B72B3303CEC6D112724479753043E26">
            <a:extLst>
              <a:ext uri="{FF2B5EF4-FFF2-40B4-BE49-F238E27FC236}">
                <a16:creationId xmlns:a16="http://schemas.microsoft.com/office/drawing/2014/main" id="{C2F9C9DB-5D2C-45BD-A334-3A243630F6FD}"/>
              </a:ext>
            </a:extLst>
          </p:cNvPr>
          <p:cNvSpPr txBox="1"/>
          <p:nvPr/>
        </p:nvSpPr>
        <p:spPr>
          <a:xfrm>
            <a:off x="448915" y="3590246"/>
            <a:ext cx="2553272" cy="184641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GB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1912</a:t>
            </a:r>
            <a:r>
              <a:rPr kumimoji="1" lang="en-GB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ru-RU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год основания</a:t>
            </a:r>
            <a:endParaRPr kumimoji="1" lang="en-GB" altLang="zh-CN" sz="1900" dirty="0">
              <a:solidFill>
                <a:srgbClr val="6E6E6E"/>
              </a:solidFill>
              <a:latin typeface="Arial" panose="020B0604020202020204" pitchFamily="34" charset="0"/>
              <a:ea typeface="华文细黑"/>
              <a:cs typeface="Helvetica Light"/>
            </a:endParaRPr>
          </a:p>
          <a:p>
            <a:pPr>
              <a:lnSpc>
                <a:spcPct val="150000"/>
              </a:lnSpc>
            </a:pPr>
            <a:r>
              <a:rPr kumimoji="1" lang="en-GB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39</a:t>
            </a:r>
            <a:r>
              <a:rPr kumimoji="1" lang="ru-RU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en-GB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000</a:t>
            </a:r>
            <a:r>
              <a:rPr kumimoji="1" lang="en-GB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ru-RU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сотрудников</a:t>
            </a:r>
            <a:r>
              <a:rPr kumimoji="1" lang="en-GB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en-US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1 120</a:t>
            </a:r>
            <a:r>
              <a:rPr kumimoji="1" lang="en-GB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ru-RU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объектов</a:t>
            </a:r>
          </a:p>
          <a:p>
            <a:pPr>
              <a:lnSpc>
                <a:spcPct val="150000"/>
              </a:lnSpc>
            </a:pPr>
            <a:r>
              <a:rPr kumimoji="1" lang="en-GB" altLang="zh-CN" sz="19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60</a:t>
            </a:r>
            <a:r>
              <a:rPr kumimoji="1" lang="en-GB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 </a:t>
            </a:r>
            <a:r>
              <a:rPr kumimoji="1" lang="ru-RU" altLang="zh-CN" sz="1900" dirty="0">
                <a:solidFill>
                  <a:srgbClr val="6E6E6E"/>
                </a:solidFill>
                <a:latin typeface="Arial" panose="020B0604020202020204" pitchFamily="34" charset="0"/>
                <a:ea typeface="华文细黑"/>
                <a:cs typeface="Helvetica Light"/>
              </a:rPr>
              <a:t>стран</a:t>
            </a:r>
            <a:endParaRPr kumimoji="1" lang="en-GB" altLang="zh-CN" sz="1900" dirty="0">
              <a:solidFill>
                <a:srgbClr val="6E6E6E"/>
              </a:solidFill>
              <a:latin typeface="Arial" panose="020B0604020202020204" pitchFamily="34" charset="0"/>
              <a:ea typeface="华文细黑"/>
              <a:cs typeface="Helvetica Light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5327E17-E897-40CD-AB03-5AC293E06D7A}"/>
              </a:ext>
            </a:extLst>
          </p:cNvPr>
          <p:cNvGrpSpPr/>
          <p:nvPr/>
        </p:nvGrpSpPr>
        <p:grpSpPr>
          <a:xfrm>
            <a:off x="6396171" y="2911947"/>
            <a:ext cx="2844642" cy="1322253"/>
            <a:chOff x="6195977" y="2904314"/>
            <a:chExt cx="2845012" cy="1322425"/>
          </a:xfrm>
        </p:grpSpPr>
        <p:cxnSp>
          <p:nvCxnSpPr>
            <p:cNvPr id="31" name="Gerade Verbindung 234">
              <a:extLst>
                <a:ext uri="{FF2B5EF4-FFF2-40B4-BE49-F238E27FC236}">
                  <a16:creationId xmlns:a16="http://schemas.microsoft.com/office/drawing/2014/main" id="{ACEA20B0-9DF4-4DCC-9C2E-318CF45B4C44}"/>
                </a:ext>
              </a:extLst>
            </p:cNvPr>
            <p:cNvCxnSpPr>
              <a:cxnSpLocks/>
              <a:endCxn id="35" idx="0"/>
            </p:cNvCxnSpPr>
            <p:nvPr/>
          </p:nvCxnSpPr>
          <p:spPr bwMode="gray">
            <a:xfrm>
              <a:off x="8934626" y="2990841"/>
              <a:ext cx="0" cy="1023171"/>
            </a:xfrm>
            <a:prstGeom prst="line">
              <a:avLst/>
            </a:prstGeom>
            <a:ln w="6350" cap="flat" cmpd="sng" algn="ctr">
              <a:solidFill>
                <a:srgbClr val="00469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Keyfacts" descr="e7d195523061f1c031c703ae827a41d82d848b4543d3ea7289D8E8F86A53FC6163EC8A81A8A66F8C4722339FE4B4358C18D1CC4D5B5DBA40FE7B27962A37062774402BE64D77ED352C2DED658BBCE1928CFF104E7BB3718C01652FDF2CE490928B77507065D9E83018EC5B77139743D956E13E248A933F577B72B3303CEC6D112724479753043E26">
              <a:extLst>
                <a:ext uri="{FF2B5EF4-FFF2-40B4-BE49-F238E27FC236}">
                  <a16:creationId xmlns:a16="http://schemas.microsoft.com/office/drawing/2014/main" id="{92E881FF-DF35-4CE4-8239-C3D4C323CB5A}"/>
                </a:ext>
              </a:extLst>
            </p:cNvPr>
            <p:cNvSpPr txBox="1"/>
            <p:nvPr/>
          </p:nvSpPr>
          <p:spPr>
            <a:xfrm>
              <a:off x="6195977" y="2904314"/>
              <a:ext cx="2711869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>
                <a:spcAft>
                  <a:spcPts val="0"/>
                </a:spcAft>
              </a:pPr>
              <a:r>
                <a:rPr lang="ru-RU" sz="1200" dirty="0">
                  <a:solidFill>
                    <a:srgbClr val="6E6E6E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  <a:t>Приобретение</a:t>
              </a:r>
              <a:r>
                <a:rPr lang="en-GB" sz="1200" dirty="0">
                  <a:solidFill>
                    <a:srgbClr val="6E6E6E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r>
                <a:rPr lang="en-GB" sz="1200" b="1" dirty="0">
                  <a:solidFill>
                    <a:srgbClr val="00469B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  <a:t>Wincanton Holding</a:t>
              </a:r>
              <a:endParaRPr lang="en-GB" sz="1200" b="1" dirty="0">
                <a:solidFill>
                  <a:srgbClr val="00469B"/>
                </a:solidFill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  <p:sp>
          <p:nvSpPr>
            <p:cNvPr id="35" name="Ellipse 73">
              <a:extLst>
                <a:ext uri="{FF2B5EF4-FFF2-40B4-BE49-F238E27FC236}">
                  <a16:creationId xmlns:a16="http://schemas.microsoft.com/office/drawing/2014/main" id="{5E96FB6F-C7E9-4072-8C43-34F341272D69}"/>
                </a:ext>
              </a:extLst>
            </p:cNvPr>
            <p:cNvSpPr/>
            <p:nvPr/>
          </p:nvSpPr>
          <p:spPr bwMode="gray">
            <a:xfrm>
              <a:off x="8828262" y="4014012"/>
              <a:ext cx="212727" cy="212727"/>
            </a:xfrm>
            <a:prstGeom prst="ellipse">
              <a:avLst/>
            </a:prstGeom>
            <a:solidFill>
              <a:srgbClr val="FABB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  <p:sp>
          <p:nvSpPr>
            <p:cNvPr id="36" name="Ellipse 74">
              <a:extLst>
                <a:ext uri="{FF2B5EF4-FFF2-40B4-BE49-F238E27FC236}">
                  <a16:creationId xmlns:a16="http://schemas.microsoft.com/office/drawing/2014/main" id="{C37FB112-8149-44E8-A4E9-BAF3166BF5E4}"/>
                </a:ext>
              </a:extLst>
            </p:cNvPr>
            <p:cNvSpPr/>
            <p:nvPr/>
          </p:nvSpPr>
          <p:spPr bwMode="gray">
            <a:xfrm>
              <a:off x="8877353" y="4063103"/>
              <a:ext cx="114545" cy="114545"/>
            </a:xfrm>
            <a:prstGeom prst="ellipse">
              <a:avLst/>
            </a:prstGeom>
            <a:solidFill>
              <a:srgbClr val="FABB00"/>
            </a:solidFill>
            <a:ln>
              <a:noFill/>
            </a:ln>
            <a:effectLst>
              <a:outerShdw blurRad="635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</p:grpSp>
      <p:sp>
        <p:nvSpPr>
          <p:cNvPr id="26" name="Titel 1">
            <a:extLst>
              <a:ext uri="{FF2B5EF4-FFF2-40B4-BE49-F238E27FC236}">
                <a16:creationId xmlns:a16="http://schemas.microsoft.com/office/drawing/2014/main" id="{DF0ED406-F4AB-40FC-900C-8C67FB864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ы растем в соответствии с Вашими потребностями</a:t>
            </a:r>
            <a:r>
              <a:rPr kumimoji="1" lang="en-GB" altLang="zh-CN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:</a:t>
            </a:r>
            <a:br>
              <a:rPr kumimoji="1" lang="en-GB" altLang="zh-CN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</a:br>
            <a:r>
              <a:rPr kumimoji="1" lang="en-GB" altLang="zh-CN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RHENUS </a:t>
            </a:r>
            <a:r>
              <a:rPr kumimoji="1" lang="ru-RU" altLang="zh-CN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rPr>
              <a:t>в цифрах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DFABDB7-1AD9-4873-8436-F7F0DB9BF88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7EFAC06-8D2E-4A2F-8F12-79B3410CD9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072A36B2-42BD-429A-B54F-C0239ED0CC51}"/>
              </a:ext>
            </a:extLst>
          </p:cNvPr>
          <p:cNvGrpSpPr/>
          <p:nvPr/>
        </p:nvGrpSpPr>
        <p:grpSpPr>
          <a:xfrm>
            <a:off x="5025939" y="3845666"/>
            <a:ext cx="2844642" cy="904953"/>
            <a:chOff x="6195977" y="3321668"/>
            <a:chExt cx="2845012" cy="905071"/>
          </a:xfrm>
        </p:grpSpPr>
        <p:cxnSp>
          <p:nvCxnSpPr>
            <p:cNvPr id="42" name="Gerade Verbindung 234">
              <a:extLst>
                <a:ext uri="{FF2B5EF4-FFF2-40B4-BE49-F238E27FC236}">
                  <a16:creationId xmlns:a16="http://schemas.microsoft.com/office/drawing/2014/main" id="{A7FB1F70-1521-40CD-9720-32D0B22EBB06}"/>
                </a:ext>
              </a:extLst>
            </p:cNvPr>
            <p:cNvCxnSpPr>
              <a:cxnSpLocks/>
              <a:endCxn id="44" idx="0"/>
            </p:cNvCxnSpPr>
            <p:nvPr/>
          </p:nvCxnSpPr>
          <p:spPr bwMode="gray">
            <a:xfrm>
              <a:off x="8934626" y="3429000"/>
              <a:ext cx="0" cy="585012"/>
            </a:xfrm>
            <a:prstGeom prst="line">
              <a:avLst/>
            </a:prstGeom>
            <a:ln w="6350" cap="flat" cmpd="sng" algn="ctr">
              <a:solidFill>
                <a:srgbClr val="00469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Keyfacts" descr="e7d195523061f1c031c703ae827a41d82d848b4543d3ea7289D8E8F86A53FC6163EC8A81A8A66F8C4722339FE4B4358C18D1CC4D5B5DBA40FE7B27962A37062774402BE64D77ED352C2DED658BBCE1928CFF104E7BB3718C01652FDF2CE490928B77507065D9E83018EC5B77139743D956E13E248A933F577B72B3303CEC6D112724479753043E26">
              <a:extLst>
                <a:ext uri="{FF2B5EF4-FFF2-40B4-BE49-F238E27FC236}">
                  <a16:creationId xmlns:a16="http://schemas.microsoft.com/office/drawing/2014/main" id="{3AB1AC0B-FDCB-4C50-8CB2-099B0A12A136}"/>
                </a:ext>
              </a:extLst>
            </p:cNvPr>
            <p:cNvSpPr txBox="1"/>
            <p:nvPr/>
          </p:nvSpPr>
          <p:spPr>
            <a:xfrm>
              <a:off x="6195977" y="3321668"/>
              <a:ext cx="271186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kumimoji="1"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Оборот </a:t>
              </a:r>
              <a:r>
                <a:rPr kumimoji="1"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Rhenus Group</a:t>
              </a:r>
              <a:r>
                <a:rPr kumimoji="1"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достиг</a:t>
              </a:r>
              <a:r>
                <a:rPr kumimoji="1"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</a:t>
              </a:r>
              <a:br>
                <a:rPr kumimoji="1"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</a:br>
              <a:r>
                <a:rPr kumimoji="1" lang="en-US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3 </a:t>
              </a:r>
              <a:r>
                <a:rPr kumimoji="1" lang="ru-RU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млрд</a:t>
              </a:r>
              <a:r>
                <a:rPr kumimoji="1" lang="en-US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</a:t>
              </a:r>
              <a:r>
                <a:rPr kumimoji="1" lang="ru-RU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евро</a:t>
              </a:r>
              <a:endParaRPr kumimoji="1" lang="en-US" altLang="zh-CN" sz="12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sp>
          <p:nvSpPr>
            <p:cNvPr id="44" name="Ellipse 73">
              <a:extLst>
                <a:ext uri="{FF2B5EF4-FFF2-40B4-BE49-F238E27FC236}">
                  <a16:creationId xmlns:a16="http://schemas.microsoft.com/office/drawing/2014/main" id="{2C5F0065-DEC2-43A2-BB3A-152A8E3CBAB4}"/>
                </a:ext>
              </a:extLst>
            </p:cNvPr>
            <p:cNvSpPr/>
            <p:nvPr/>
          </p:nvSpPr>
          <p:spPr bwMode="gray">
            <a:xfrm>
              <a:off x="8828262" y="4014012"/>
              <a:ext cx="212727" cy="212727"/>
            </a:xfrm>
            <a:prstGeom prst="ellipse">
              <a:avLst/>
            </a:prstGeom>
            <a:solidFill>
              <a:srgbClr val="FABB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  <p:sp>
          <p:nvSpPr>
            <p:cNvPr id="45" name="Ellipse 74">
              <a:extLst>
                <a:ext uri="{FF2B5EF4-FFF2-40B4-BE49-F238E27FC236}">
                  <a16:creationId xmlns:a16="http://schemas.microsoft.com/office/drawing/2014/main" id="{533C3267-4BA7-4EB1-A92E-CF2683E86ECC}"/>
                </a:ext>
              </a:extLst>
            </p:cNvPr>
            <p:cNvSpPr/>
            <p:nvPr/>
          </p:nvSpPr>
          <p:spPr bwMode="gray">
            <a:xfrm>
              <a:off x="8877353" y="4063103"/>
              <a:ext cx="114545" cy="114545"/>
            </a:xfrm>
            <a:prstGeom prst="ellipse">
              <a:avLst/>
            </a:prstGeom>
            <a:solidFill>
              <a:srgbClr val="FABB00"/>
            </a:solidFill>
            <a:ln>
              <a:noFill/>
            </a:ln>
            <a:effectLst>
              <a:outerShdw blurRad="635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FB54EB2-D543-42DF-9E2B-4D7AB35BAE81}"/>
              </a:ext>
            </a:extLst>
          </p:cNvPr>
          <p:cNvGrpSpPr/>
          <p:nvPr/>
        </p:nvGrpSpPr>
        <p:grpSpPr>
          <a:xfrm>
            <a:off x="9007890" y="1172839"/>
            <a:ext cx="2623478" cy="899053"/>
            <a:chOff x="6417169" y="3409606"/>
            <a:chExt cx="2623820" cy="899170"/>
          </a:xfrm>
        </p:grpSpPr>
        <p:cxnSp>
          <p:nvCxnSpPr>
            <p:cNvPr id="47" name="Gerade Verbindung 234">
              <a:extLst>
                <a:ext uri="{FF2B5EF4-FFF2-40B4-BE49-F238E27FC236}">
                  <a16:creationId xmlns:a16="http://schemas.microsoft.com/office/drawing/2014/main" id="{1C593F33-3948-46D1-8319-3CB37307D1EA}"/>
                </a:ext>
              </a:extLst>
            </p:cNvPr>
            <p:cNvCxnSpPr>
              <a:cxnSpLocks/>
              <a:endCxn id="49" idx="0"/>
            </p:cNvCxnSpPr>
            <p:nvPr/>
          </p:nvCxnSpPr>
          <p:spPr bwMode="gray">
            <a:xfrm>
              <a:off x="8934626" y="3529679"/>
              <a:ext cx="0" cy="566370"/>
            </a:xfrm>
            <a:prstGeom prst="line">
              <a:avLst/>
            </a:prstGeom>
            <a:ln w="6350" cap="flat" cmpd="sng" algn="ctr">
              <a:solidFill>
                <a:srgbClr val="00469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Keyfacts" descr="e7d195523061f1c031c703ae827a41d82d848b4543d3ea7289D8E8F86A53FC6163EC8A81A8A66F8C4722339FE4B4358C18D1CC4D5B5DBA40FE7B27962A37062774402BE64D77ED352C2DED658BBCE1928CFF104E7BB3718C01652FDF2CE490928B77507065D9E83018EC5B77139743D956E13E248A933F577B72B3303CEC6D112724479753043E26">
              <a:extLst>
                <a:ext uri="{FF2B5EF4-FFF2-40B4-BE49-F238E27FC236}">
                  <a16:creationId xmlns:a16="http://schemas.microsoft.com/office/drawing/2014/main" id="{370B4129-AFAA-4BDD-A972-0A97FED3A5BE}"/>
                </a:ext>
              </a:extLst>
            </p:cNvPr>
            <p:cNvSpPr txBox="1"/>
            <p:nvPr/>
          </p:nvSpPr>
          <p:spPr>
            <a:xfrm>
              <a:off x="6417169" y="3409606"/>
              <a:ext cx="2490678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kumimoji="1"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Оборот </a:t>
              </a:r>
              <a:r>
                <a:rPr kumimoji="1"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Rhenus Group</a:t>
              </a:r>
              <a:r>
                <a:rPr kumimoji="1"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составил</a:t>
              </a:r>
              <a:r>
                <a:rPr kumimoji="1"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</a:t>
              </a:r>
            </a:p>
            <a:p>
              <a:pPr algn="r"/>
              <a:r>
                <a:rPr kumimoji="1" lang="en-US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8,6 </a:t>
              </a:r>
              <a:r>
                <a:rPr kumimoji="1" lang="ru-RU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млрд евро</a:t>
              </a:r>
              <a:endParaRPr kumimoji="1" lang="en-US" altLang="zh-CN" sz="12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sp>
          <p:nvSpPr>
            <p:cNvPr id="49" name="Ellipse 73">
              <a:extLst>
                <a:ext uri="{FF2B5EF4-FFF2-40B4-BE49-F238E27FC236}">
                  <a16:creationId xmlns:a16="http://schemas.microsoft.com/office/drawing/2014/main" id="{35617961-B9B3-4C48-AAFD-09CF110A98C2}"/>
                </a:ext>
              </a:extLst>
            </p:cNvPr>
            <p:cNvSpPr/>
            <p:nvPr/>
          </p:nvSpPr>
          <p:spPr bwMode="gray">
            <a:xfrm>
              <a:off x="8828262" y="4096049"/>
              <a:ext cx="212727" cy="212727"/>
            </a:xfrm>
            <a:prstGeom prst="ellipse">
              <a:avLst/>
            </a:prstGeom>
            <a:solidFill>
              <a:srgbClr val="FABB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  <p:sp>
          <p:nvSpPr>
            <p:cNvPr id="50" name="Ellipse 74">
              <a:extLst>
                <a:ext uri="{FF2B5EF4-FFF2-40B4-BE49-F238E27FC236}">
                  <a16:creationId xmlns:a16="http://schemas.microsoft.com/office/drawing/2014/main" id="{1BE7D253-0F22-4228-8608-6E925ED3CD07}"/>
                </a:ext>
              </a:extLst>
            </p:cNvPr>
            <p:cNvSpPr/>
            <p:nvPr/>
          </p:nvSpPr>
          <p:spPr bwMode="gray">
            <a:xfrm>
              <a:off x="8877353" y="4145140"/>
              <a:ext cx="114545" cy="114545"/>
            </a:xfrm>
            <a:prstGeom prst="ellipse">
              <a:avLst/>
            </a:prstGeom>
            <a:solidFill>
              <a:srgbClr val="FABB00"/>
            </a:solidFill>
            <a:ln>
              <a:noFill/>
            </a:ln>
            <a:effectLst>
              <a:outerShdw blurRad="635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76C3122-EA31-4999-AFBB-D270B5C6A6AC}"/>
              </a:ext>
            </a:extLst>
          </p:cNvPr>
          <p:cNvGrpSpPr/>
          <p:nvPr/>
        </p:nvGrpSpPr>
        <p:grpSpPr>
          <a:xfrm>
            <a:off x="2332356" y="5098290"/>
            <a:ext cx="2844642" cy="997316"/>
            <a:chOff x="6195977" y="3229293"/>
            <a:chExt cx="2845012" cy="997446"/>
          </a:xfrm>
        </p:grpSpPr>
        <p:cxnSp>
          <p:nvCxnSpPr>
            <p:cNvPr id="25" name="Gerade Verbindung 234">
              <a:extLst>
                <a:ext uri="{FF2B5EF4-FFF2-40B4-BE49-F238E27FC236}">
                  <a16:creationId xmlns:a16="http://schemas.microsoft.com/office/drawing/2014/main" id="{DA663152-4328-4026-9BE7-672BB7C27517}"/>
                </a:ext>
              </a:extLst>
            </p:cNvPr>
            <p:cNvCxnSpPr>
              <a:cxnSpLocks/>
              <a:endCxn id="29" idx="0"/>
            </p:cNvCxnSpPr>
            <p:nvPr/>
          </p:nvCxnSpPr>
          <p:spPr bwMode="gray">
            <a:xfrm>
              <a:off x="8934626" y="3429000"/>
              <a:ext cx="0" cy="585012"/>
            </a:xfrm>
            <a:prstGeom prst="line">
              <a:avLst/>
            </a:prstGeom>
            <a:ln w="6350" cap="flat" cmpd="sng" algn="ctr">
              <a:solidFill>
                <a:srgbClr val="00469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Keyfacts" descr="e7d195523061f1c031c703ae827a41d82d848b4543d3ea7289D8E8F86A53FC6163EC8A81A8A66F8C4722339FE4B4358C18D1CC4D5B5DBA40FE7B27962A37062774402BE64D77ED352C2DED658BBCE1928CFF104E7BB3718C01652FDF2CE490928B77507065D9E83018EC5B77139743D956E13E248A933F577B72B3303CEC6D112724479753043E26">
              <a:extLst>
                <a:ext uri="{FF2B5EF4-FFF2-40B4-BE49-F238E27FC236}">
                  <a16:creationId xmlns:a16="http://schemas.microsoft.com/office/drawing/2014/main" id="{C151F262-6B2C-49D3-9365-FDCC41C1FBA4}"/>
                </a:ext>
              </a:extLst>
            </p:cNvPr>
            <p:cNvSpPr txBox="1"/>
            <p:nvPr/>
          </p:nvSpPr>
          <p:spPr>
            <a:xfrm>
              <a:off x="6195977" y="3229293"/>
              <a:ext cx="2711869" cy="6464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В</a:t>
              </a:r>
              <a:r>
                <a:rPr lang="en-GB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</a:t>
              </a:r>
              <a:r>
                <a:rPr kumimoji="1" lang="en-GB" altLang="zh-CN" sz="1200" b="1" dirty="0">
                  <a:solidFill>
                    <a:srgbClr val="00469B"/>
                  </a:solidFill>
                  <a:latin typeface="Arial" panose="020B0604020202020204" pitchFamily="34" charset="0"/>
                  <a:ea typeface="华文细黑"/>
                </a:rPr>
                <a:t>1998</a:t>
              </a:r>
            </a:p>
            <a:p>
              <a:pPr algn="r"/>
              <a:r>
                <a:rPr lang="en-GB" altLang="zh-CN" sz="1200" dirty="0" err="1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Rethmann</a:t>
              </a:r>
              <a:r>
                <a:rPr lang="en-GB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Group</a:t>
              </a:r>
              <a:r>
                <a:rPr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 </a:t>
              </a:r>
              <a:br>
                <a:rPr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</a:br>
              <a:r>
                <a:rPr lang="ru-RU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приобретает </a:t>
              </a:r>
              <a:r>
                <a:rPr lang="en-US" altLang="zh-CN" sz="1200" dirty="0">
                  <a:solidFill>
                    <a:srgbClr val="6E6E6E"/>
                  </a:solidFill>
                  <a:latin typeface="Arial" panose="020B0604020202020204" pitchFamily="34" charset="0"/>
                  <a:ea typeface="华文细黑"/>
                  <a:cs typeface="Helvetica Light"/>
                </a:rPr>
                <a:t>Rhenus</a:t>
              </a:r>
              <a:endParaRPr kumimoji="1" lang="en-GB" altLang="zh-CN" sz="1200" b="1" dirty="0">
                <a:solidFill>
                  <a:srgbClr val="00469B"/>
                </a:solidFill>
                <a:latin typeface="Arial" panose="020B0604020202020204" pitchFamily="34" charset="0"/>
                <a:ea typeface="华文细黑"/>
                <a:cs typeface="Helvetica Light"/>
              </a:endParaRPr>
            </a:p>
          </p:txBody>
        </p:sp>
        <p:sp>
          <p:nvSpPr>
            <p:cNvPr id="29" name="Ellipse 73">
              <a:extLst>
                <a:ext uri="{FF2B5EF4-FFF2-40B4-BE49-F238E27FC236}">
                  <a16:creationId xmlns:a16="http://schemas.microsoft.com/office/drawing/2014/main" id="{E092338A-77A4-4E94-A249-05081D9AD426}"/>
                </a:ext>
              </a:extLst>
            </p:cNvPr>
            <p:cNvSpPr/>
            <p:nvPr/>
          </p:nvSpPr>
          <p:spPr bwMode="gray">
            <a:xfrm>
              <a:off x="8828262" y="4014012"/>
              <a:ext cx="212727" cy="212727"/>
            </a:xfrm>
            <a:prstGeom prst="ellipse">
              <a:avLst/>
            </a:prstGeom>
            <a:solidFill>
              <a:srgbClr val="FABB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  <p:sp>
          <p:nvSpPr>
            <p:cNvPr id="30" name="Ellipse 74">
              <a:extLst>
                <a:ext uri="{FF2B5EF4-FFF2-40B4-BE49-F238E27FC236}">
                  <a16:creationId xmlns:a16="http://schemas.microsoft.com/office/drawing/2014/main" id="{F675E439-9C01-46B9-944B-A3FC2F751BDB}"/>
                </a:ext>
              </a:extLst>
            </p:cNvPr>
            <p:cNvSpPr/>
            <p:nvPr/>
          </p:nvSpPr>
          <p:spPr bwMode="gray">
            <a:xfrm>
              <a:off x="8877353" y="4063103"/>
              <a:ext cx="114545" cy="114545"/>
            </a:xfrm>
            <a:prstGeom prst="ellipse">
              <a:avLst/>
            </a:prstGeom>
            <a:solidFill>
              <a:srgbClr val="FABB00"/>
            </a:solidFill>
            <a:ln>
              <a:noFill/>
            </a:ln>
            <a:effectLst>
              <a:outerShdw blurRad="635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550340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8" grpId="0">
        <p:bldAsOne/>
      </p:bldGraphic>
      <p:bldP spid="28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is</a:t>
            </a:r>
            <a:r>
              <a:rPr lang="en-US" dirty="0"/>
              <a:t>: </a:t>
            </a:r>
            <a:r>
              <a:rPr lang="ru-RU" dirty="0"/>
              <a:t>ГЛОБАЛЬНЫЙ ПОДХОД С ЛОКАЛЬНЫМ АКЦЕНТОМ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DAE684-4DB2-A8E6-2C3D-98385B1490D0}"/>
              </a:ext>
            </a:extLst>
          </p:cNvPr>
          <p:cNvSpPr txBox="1"/>
          <p:nvPr/>
        </p:nvSpPr>
        <p:spPr bwMode="gray">
          <a:xfrm>
            <a:off x="9780034" y="4832042"/>
            <a:ext cx="1421324" cy="5293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342900" indent="-3429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24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240</a:t>
            </a:r>
            <a:r>
              <a:rPr lang="en-US" sz="1400" b="1" i="0" u="none" baseline="0" dirty="0">
                <a:solidFill>
                  <a:srgbClr val="1F1F1F"/>
                </a:solidFill>
                <a:latin typeface="Arial" panose="020B0604020202020204" pitchFamily="34" charset="0"/>
              </a:rPr>
              <a:t> </a:t>
            </a:r>
            <a:r>
              <a:rPr lang="ru-RU" sz="1400" b="0" i="0" u="non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м</a:t>
            </a:r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лн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€</a:t>
            </a:r>
            <a:endParaRPr lang="ru-RU" sz="1400" b="0" i="0" u="none" baseline="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7434B7-825C-0EDA-A906-ABA2DFFED4CA}"/>
              </a:ext>
            </a:extLst>
          </p:cNvPr>
          <p:cNvSpPr txBox="1"/>
          <p:nvPr/>
        </p:nvSpPr>
        <p:spPr bwMode="gray">
          <a:xfrm>
            <a:off x="9780034" y="5211630"/>
            <a:ext cx="1926454" cy="42790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342900" indent="-3429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24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150,000</a:t>
            </a:r>
            <a:r>
              <a:rPr lang="en-US" sz="1400" b="0" i="0" u="none" baseline="0" dirty="0">
                <a:solidFill>
                  <a:srgbClr val="1F1F1F"/>
                </a:solidFill>
                <a:latin typeface="Arial" panose="020B0604020202020204" pitchFamily="34" charset="0"/>
              </a:rPr>
              <a:t> </a:t>
            </a:r>
            <a:r>
              <a:rPr lang="en-US" sz="1400" b="0" i="0" u="non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TEU</a:t>
            </a:r>
            <a:endParaRPr lang="ru-RU" sz="1400" b="0" i="0" u="none" baseline="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B7C48C5B-BCA5-CCA8-9494-0DEA433459C3}"/>
              </a:ext>
            </a:extLst>
          </p:cNvPr>
          <p:cNvSpPr/>
          <p:nvPr/>
        </p:nvSpPr>
        <p:spPr bwMode="gray">
          <a:xfrm>
            <a:off x="9776421" y="4476809"/>
            <a:ext cx="1927208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2022</a:t>
            </a: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" name="Germany">
            <a:extLst>
              <a:ext uri="{FF2B5EF4-FFF2-40B4-BE49-F238E27FC236}">
                <a16:creationId xmlns:a16="http://schemas.microsoft.com/office/drawing/2014/main" id="{4270D9A2-0533-2872-E8E1-6CE6DD77D506}"/>
              </a:ext>
            </a:extLst>
          </p:cNvPr>
          <p:cNvSpPr>
            <a:spLocks/>
          </p:cNvSpPr>
          <p:nvPr/>
        </p:nvSpPr>
        <p:spPr bwMode="gray">
          <a:xfrm>
            <a:off x="2197564" y="2650994"/>
            <a:ext cx="499317" cy="519915"/>
          </a:xfrm>
          <a:custGeom>
            <a:avLst/>
            <a:gdLst>
              <a:gd name="T0" fmla="*/ 21 w 373"/>
              <a:gd name="T1" fmla="*/ 294 h 393"/>
              <a:gd name="T2" fmla="*/ 62 w 373"/>
              <a:gd name="T3" fmla="*/ 297 h 393"/>
              <a:gd name="T4" fmla="*/ 90 w 373"/>
              <a:gd name="T5" fmla="*/ 305 h 393"/>
              <a:gd name="T6" fmla="*/ 74 w 373"/>
              <a:gd name="T7" fmla="*/ 330 h 393"/>
              <a:gd name="T8" fmla="*/ 75 w 373"/>
              <a:gd name="T9" fmla="*/ 381 h 393"/>
              <a:gd name="T10" fmla="*/ 101 w 373"/>
              <a:gd name="T11" fmla="*/ 378 h 393"/>
              <a:gd name="T12" fmla="*/ 128 w 373"/>
              <a:gd name="T13" fmla="*/ 372 h 393"/>
              <a:gd name="T14" fmla="*/ 148 w 373"/>
              <a:gd name="T15" fmla="*/ 383 h 393"/>
              <a:gd name="T16" fmla="*/ 161 w 373"/>
              <a:gd name="T17" fmla="*/ 382 h 393"/>
              <a:gd name="T18" fmla="*/ 182 w 373"/>
              <a:gd name="T19" fmla="*/ 377 h 393"/>
              <a:gd name="T20" fmla="*/ 224 w 373"/>
              <a:gd name="T21" fmla="*/ 387 h 393"/>
              <a:gd name="T22" fmla="*/ 258 w 373"/>
              <a:gd name="T23" fmla="*/ 372 h 393"/>
              <a:gd name="T24" fmla="*/ 290 w 373"/>
              <a:gd name="T25" fmla="*/ 385 h 393"/>
              <a:gd name="T26" fmla="*/ 282 w 373"/>
              <a:gd name="T27" fmla="*/ 358 h 393"/>
              <a:gd name="T28" fmla="*/ 309 w 373"/>
              <a:gd name="T29" fmla="*/ 335 h 393"/>
              <a:gd name="T30" fmla="*/ 324 w 373"/>
              <a:gd name="T31" fmla="*/ 316 h 393"/>
              <a:gd name="T32" fmla="*/ 301 w 373"/>
              <a:gd name="T33" fmla="*/ 295 h 393"/>
              <a:gd name="T34" fmla="*/ 281 w 373"/>
              <a:gd name="T35" fmla="*/ 285 h 393"/>
              <a:gd name="T36" fmla="*/ 271 w 373"/>
              <a:gd name="T37" fmla="*/ 271 h 393"/>
              <a:gd name="T38" fmla="*/ 263 w 373"/>
              <a:gd name="T39" fmla="*/ 248 h 393"/>
              <a:gd name="T40" fmla="*/ 263 w 373"/>
              <a:gd name="T41" fmla="*/ 239 h 393"/>
              <a:gd name="T42" fmla="*/ 283 w 373"/>
              <a:gd name="T43" fmla="*/ 227 h 393"/>
              <a:gd name="T44" fmla="*/ 308 w 373"/>
              <a:gd name="T45" fmla="*/ 221 h 393"/>
              <a:gd name="T46" fmla="*/ 325 w 373"/>
              <a:gd name="T47" fmla="*/ 210 h 393"/>
              <a:gd name="T48" fmla="*/ 360 w 373"/>
              <a:gd name="T49" fmla="*/ 208 h 393"/>
              <a:gd name="T50" fmla="*/ 369 w 373"/>
              <a:gd name="T51" fmla="*/ 177 h 393"/>
              <a:gd name="T52" fmla="*/ 351 w 373"/>
              <a:gd name="T53" fmla="*/ 157 h 393"/>
              <a:gd name="T54" fmla="*/ 356 w 373"/>
              <a:gd name="T55" fmla="*/ 136 h 393"/>
              <a:gd name="T56" fmla="*/ 352 w 373"/>
              <a:gd name="T57" fmla="*/ 115 h 393"/>
              <a:gd name="T58" fmla="*/ 334 w 373"/>
              <a:gd name="T59" fmla="*/ 106 h 393"/>
              <a:gd name="T60" fmla="*/ 339 w 373"/>
              <a:gd name="T61" fmla="*/ 72 h 393"/>
              <a:gd name="T62" fmla="*/ 321 w 373"/>
              <a:gd name="T63" fmla="*/ 55 h 393"/>
              <a:gd name="T64" fmla="*/ 296 w 373"/>
              <a:gd name="T65" fmla="*/ 35 h 393"/>
              <a:gd name="T66" fmla="*/ 226 w 373"/>
              <a:gd name="T67" fmla="*/ 35 h 393"/>
              <a:gd name="T68" fmla="*/ 202 w 373"/>
              <a:gd name="T69" fmla="*/ 35 h 393"/>
              <a:gd name="T70" fmla="*/ 168 w 373"/>
              <a:gd name="T71" fmla="*/ 22 h 393"/>
              <a:gd name="T72" fmla="*/ 145 w 373"/>
              <a:gd name="T73" fmla="*/ 3 h 393"/>
              <a:gd name="T74" fmla="*/ 112 w 373"/>
              <a:gd name="T75" fmla="*/ 0 h 393"/>
              <a:gd name="T76" fmla="*/ 130 w 373"/>
              <a:gd name="T77" fmla="*/ 49 h 393"/>
              <a:gd name="T78" fmla="*/ 105 w 373"/>
              <a:gd name="T79" fmla="*/ 55 h 393"/>
              <a:gd name="T80" fmla="*/ 82 w 373"/>
              <a:gd name="T81" fmla="*/ 62 h 393"/>
              <a:gd name="T82" fmla="*/ 57 w 373"/>
              <a:gd name="T83" fmla="*/ 85 h 393"/>
              <a:gd name="T84" fmla="*/ 47 w 373"/>
              <a:gd name="T85" fmla="*/ 103 h 393"/>
              <a:gd name="T86" fmla="*/ 30 w 373"/>
              <a:gd name="T87" fmla="*/ 122 h 393"/>
              <a:gd name="T88" fmla="*/ 35 w 373"/>
              <a:gd name="T89" fmla="*/ 153 h 393"/>
              <a:gd name="T90" fmla="*/ 1 w 373"/>
              <a:gd name="T91" fmla="*/ 155 h 393"/>
              <a:gd name="T92" fmla="*/ 0 w 373"/>
              <a:gd name="T93" fmla="*/ 191 h 393"/>
              <a:gd name="T94" fmla="*/ 5 w 373"/>
              <a:gd name="T95" fmla="*/ 216 h 393"/>
              <a:gd name="T96" fmla="*/ 9 w 373"/>
              <a:gd name="T97" fmla="*/ 239 h 393"/>
              <a:gd name="T98" fmla="*/ 17 w 373"/>
              <a:gd name="T99" fmla="*/ 274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73" h="393">
                <a:moveTo>
                  <a:pt x="17" y="274"/>
                </a:moveTo>
                <a:cubicBezTo>
                  <a:pt x="17" y="274"/>
                  <a:pt x="19" y="278"/>
                  <a:pt x="22" y="281"/>
                </a:cubicBezTo>
                <a:cubicBezTo>
                  <a:pt x="25" y="284"/>
                  <a:pt x="21" y="294"/>
                  <a:pt x="21" y="294"/>
                </a:cubicBezTo>
                <a:cubicBezTo>
                  <a:pt x="38" y="294"/>
                  <a:pt x="38" y="294"/>
                  <a:pt x="38" y="294"/>
                </a:cubicBezTo>
                <a:cubicBezTo>
                  <a:pt x="38" y="294"/>
                  <a:pt x="36" y="299"/>
                  <a:pt x="42" y="300"/>
                </a:cubicBezTo>
                <a:cubicBezTo>
                  <a:pt x="48" y="301"/>
                  <a:pt x="62" y="297"/>
                  <a:pt x="62" y="297"/>
                </a:cubicBezTo>
                <a:cubicBezTo>
                  <a:pt x="62" y="301"/>
                  <a:pt x="62" y="301"/>
                  <a:pt x="62" y="301"/>
                </a:cubicBezTo>
                <a:cubicBezTo>
                  <a:pt x="80" y="300"/>
                  <a:pt x="80" y="300"/>
                  <a:pt x="80" y="300"/>
                </a:cubicBezTo>
                <a:cubicBezTo>
                  <a:pt x="90" y="305"/>
                  <a:pt x="90" y="305"/>
                  <a:pt x="90" y="305"/>
                </a:cubicBezTo>
                <a:cubicBezTo>
                  <a:pt x="88" y="311"/>
                  <a:pt x="88" y="311"/>
                  <a:pt x="88" y="311"/>
                </a:cubicBezTo>
                <a:cubicBezTo>
                  <a:pt x="74" y="322"/>
                  <a:pt x="74" y="322"/>
                  <a:pt x="74" y="322"/>
                </a:cubicBezTo>
                <a:cubicBezTo>
                  <a:pt x="74" y="330"/>
                  <a:pt x="74" y="330"/>
                  <a:pt x="74" y="330"/>
                </a:cubicBezTo>
                <a:cubicBezTo>
                  <a:pt x="74" y="330"/>
                  <a:pt x="64" y="349"/>
                  <a:pt x="62" y="360"/>
                </a:cubicBezTo>
                <a:cubicBezTo>
                  <a:pt x="60" y="369"/>
                  <a:pt x="63" y="377"/>
                  <a:pt x="64" y="379"/>
                </a:cubicBezTo>
                <a:cubicBezTo>
                  <a:pt x="75" y="381"/>
                  <a:pt x="75" y="381"/>
                  <a:pt x="75" y="381"/>
                </a:cubicBezTo>
                <a:cubicBezTo>
                  <a:pt x="87" y="381"/>
                  <a:pt x="87" y="381"/>
                  <a:pt x="87" y="381"/>
                </a:cubicBezTo>
                <a:cubicBezTo>
                  <a:pt x="97" y="374"/>
                  <a:pt x="97" y="374"/>
                  <a:pt x="97" y="374"/>
                </a:cubicBezTo>
                <a:cubicBezTo>
                  <a:pt x="101" y="378"/>
                  <a:pt x="101" y="378"/>
                  <a:pt x="101" y="378"/>
                </a:cubicBezTo>
                <a:cubicBezTo>
                  <a:pt x="101" y="378"/>
                  <a:pt x="96" y="366"/>
                  <a:pt x="103" y="365"/>
                </a:cubicBezTo>
                <a:cubicBezTo>
                  <a:pt x="110" y="364"/>
                  <a:pt x="119" y="372"/>
                  <a:pt x="119" y="372"/>
                </a:cubicBezTo>
                <a:cubicBezTo>
                  <a:pt x="128" y="372"/>
                  <a:pt x="128" y="372"/>
                  <a:pt x="128" y="372"/>
                </a:cubicBezTo>
                <a:cubicBezTo>
                  <a:pt x="138" y="375"/>
                  <a:pt x="138" y="375"/>
                  <a:pt x="138" y="375"/>
                </a:cubicBezTo>
                <a:cubicBezTo>
                  <a:pt x="144" y="383"/>
                  <a:pt x="144" y="383"/>
                  <a:pt x="144" y="383"/>
                </a:cubicBezTo>
                <a:cubicBezTo>
                  <a:pt x="148" y="383"/>
                  <a:pt x="148" y="383"/>
                  <a:pt x="148" y="383"/>
                </a:cubicBezTo>
                <a:cubicBezTo>
                  <a:pt x="148" y="383"/>
                  <a:pt x="149" y="384"/>
                  <a:pt x="149" y="385"/>
                </a:cubicBezTo>
                <a:cubicBezTo>
                  <a:pt x="149" y="385"/>
                  <a:pt x="149" y="385"/>
                  <a:pt x="149" y="385"/>
                </a:cubicBezTo>
                <a:cubicBezTo>
                  <a:pt x="151" y="383"/>
                  <a:pt x="155" y="380"/>
                  <a:pt x="161" y="382"/>
                </a:cubicBezTo>
                <a:cubicBezTo>
                  <a:pt x="170" y="383"/>
                  <a:pt x="171" y="393"/>
                  <a:pt x="175" y="392"/>
                </a:cubicBezTo>
                <a:cubicBezTo>
                  <a:pt x="179" y="391"/>
                  <a:pt x="182" y="386"/>
                  <a:pt x="182" y="386"/>
                </a:cubicBezTo>
                <a:cubicBezTo>
                  <a:pt x="182" y="377"/>
                  <a:pt x="182" y="377"/>
                  <a:pt x="182" y="377"/>
                </a:cubicBezTo>
                <a:cubicBezTo>
                  <a:pt x="195" y="378"/>
                  <a:pt x="195" y="378"/>
                  <a:pt x="195" y="378"/>
                </a:cubicBezTo>
                <a:cubicBezTo>
                  <a:pt x="195" y="378"/>
                  <a:pt x="205" y="389"/>
                  <a:pt x="212" y="389"/>
                </a:cubicBezTo>
                <a:cubicBezTo>
                  <a:pt x="218" y="389"/>
                  <a:pt x="224" y="387"/>
                  <a:pt x="224" y="387"/>
                </a:cubicBezTo>
                <a:cubicBezTo>
                  <a:pt x="233" y="379"/>
                  <a:pt x="233" y="379"/>
                  <a:pt x="233" y="379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267" y="373"/>
                  <a:pt x="267" y="373"/>
                  <a:pt x="267" y="373"/>
                </a:cubicBezTo>
                <a:cubicBezTo>
                  <a:pt x="280" y="378"/>
                  <a:pt x="280" y="378"/>
                  <a:pt x="280" y="378"/>
                </a:cubicBezTo>
                <a:cubicBezTo>
                  <a:pt x="280" y="378"/>
                  <a:pt x="288" y="392"/>
                  <a:pt x="290" y="385"/>
                </a:cubicBezTo>
                <a:cubicBezTo>
                  <a:pt x="291" y="379"/>
                  <a:pt x="290" y="369"/>
                  <a:pt x="290" y="369"/>
                </a:cubicBezTo>
                <a:cubicBezTo>
                  <a:pt x="290" y="360"/>
                  <a:pt x="290" y="360"/>
                  <a:pt x="290" y="360"/>
                </a:cubicBezTo>
                <a:cubicBezTo>
                  <a:pt x="282" y="358"/>
                  <a:pt x="282" y="358"/>
                  <a:pt x="282" y="358"/>
                </a:cubicBezTo>
                <a:cubicBezTo>
                  <a:pt x="282" y="358"/>
                  <a:pt x="287" y="345"/>
                  <a:pt x="291" y="344"/>
                </a:cubicBezTo>
                <a:cubicBezTo>
                  <a:pt x="296" y="343"/>
                  <a:pt x="309" y="346"/>
                  <a:pt x="309" y="346"/>
                </a:cubicBezTo>
                <a:cubicBezTo>
                  <a:pt x="309" y="335"/>
                  <a:pt x="309" y="335"/>
                  <a:pt x="309" y="335"/>
                </a:cubicBezTo>
                <a:cubicBezTo>
                  <a:pt x="305" y="328"/>
                  <a:pt x="305" y="328"/>
                  <a:pt x="305" y="328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24" y="316"/>
                  <a:pt x="324" y="316"/>
                  <a:pt x="324" y="316"/>
                </a:cubicBezTo>
                <a:cubicBezTo>
                  <a:pt x="324" y="316"/>
                  <a:pt x="323" y="309"/>
                  <a:pt x="317" y="305"/>
                </a:cubicBezTo>
                <a:cubicBezTo>
                  <a:pt x="312" y="302"/>
                  <a:pt x="307" y="304"/>
                  <a:pt x="307" y="304"/>
                </a:cubicBezTo>
                <a:cubicBezTo>
                  <a:pt x="301" y="295"/>
                  <a:pt x="301" y="295"/>
                  <a:pt x="301" y="295"/>
                </a:cubicBezTo>
                <a:cubicBezTo>
                  <a:pt x="297" y="295"/>
                  <a:pt x="297" y="295"/>
                  <a:pt x="297" y="295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7"/>
                  <a:pt x="288" y="285"/>
                  <a:pt x="281" y="285"/>
                </a:cubicBezTo>
                <a:cubicBezTo>
                  <a:pt x="273" y="284"/>
                  <a:pt x="279" y="279"/>
                  <a:pt x="279" y="279"/>
                </a:cubicBezTo>
                <a:cubicBezTo>
                  <a:pt x="273" y="277"/>
                  <a:pt x="273" y="277"/>
                  <a:pt x="273" y="277"/>
                </a:cubicBezTo>
                <a:cubicBezTo>
                  <a:pt x="271" y="271"/>
                  <a:pt x="271" y="271"/>
                  <a:pt x="271" y="271"/>
                </a:cubicBezTo>
                <a:cubicBezTo>
                  <a:pt x="271" y="271"/>
                  <a:pt x="263" y="265"/>
                  <a:pt x="262" y="263"/>
                </a:cubicBezTo>
                <a:cubicBezTo>
                  <a:pt x="261" y="261"/>
                  <a:pt x="269" y="257"/>
                  <a:pt x="269" y="257"/>
                </a:cubicBezTo>
                <a:cubicBezTo>
                  <a:pt x="263" y="248"/>
                  <a:pt x="263" y="248"/>
                  <a:pt x="263" y="248"/>
                </a:cubicBezTo>
                <a:cubicBezTo>
                  <a:pt x="257" y="247"/>
                  <a:pt x="257" y="247"/>
                  <a:pt x="257" y="247"/>
                </a:cubicBezTo>
                <a:cubicBezTo>
                  <a:pt x="257" y="247"/>
                  <a:pt x="252" y="238"/>
                  <a:pt x="255" y="235"/>
                </a:cubicBezTo>
                <a:cubicBezTo>
                  <a:pt x="259" y="233"/>
                  <a:pt x="259" y="239"/>
                  <a:pt x="263" y="239"/>
                </a:cubicBezTo>
                <a:cubicBezTo>
                  <a:pt x="267" y="238"/>
                  <a:pt x="266" y="233"/>
                  <a:pt x="266" y="233"/>
                </a:cubicBezTo>
                <a:cubicBezTo>
                  <a:pt x="273" y="233"/>
                  <a:pt x="273" y="233"/>
                  <a:pt x="273" y="233"/>
                </a:cubicBezTo>
                <a:cubicBezTo>
                  <a:pt x="273" y="233"/>
                  <a:pt x="275" y="225"/>
                  <a:pt x="283" y="227"/>
                </a:cubicBezTo>
                <a:cubicBezTo>
                  <a:pt x="292" y="229"/>
                  <a:pt x="290" y="233"/>
                  <a:pt x="290" y="233"/>
                </a:cubicBezTo>
                <a:cubicBezTo>
                  <a:pt x="297" y="224"/>
                  <a:pt x="297" y="224"/>
                  <a:pt x="297" y="224"/>
                </a:cubicBezTo>
                <a:cubicBezTo>
                  <a:pt x="308" y="221"/>
                  <a:pt x="308" y="221"/>
                  <a:pt x="308" y="221"/>
                </a:cubicBezTo>
                <a:cubicBezTo>
                  <a:pt x="310" y="217"/>
                  <a:pt x="310" y="217"/>
                  <a:pt x="310" y="217"/>
                </a:cubicBezTo>
                <a:cubicBezTo>
                  <a:pt x="310" y="217"/>
                  <a:pt x="321" y="217"/>
                  <a:pt x="324" y="216"/>
                </a:cubicBezTo>
                <a:cubicBezTo>
                  <a:pt x="327" y="215"/>
                  <a:pt x="325" y="210"/>
                  <a:pt x="325" y="210"/>
                </a:cubicBezTo>
                <a:cubicBezTo>
                  <a:pt x="325" y="210"/>
                  <a:pt x="336" y="211"/>
                  <a:pt x="339" y="208"/>
                </a:cubicBezTo>
                <a:cubicBezTo>
                  <a:pt x="341" y="205"/>
                  <a:pt x="346" y="199"/>
                  <a:pt x="348" y="198"/>
                </a:cubicBezTo>
                <a:cubicBezTo>
                  <a:pt x="350" y="197"/>
                  <a:pt x="355" y="209"/>
                  <a:pt x="360" y="208"/>
                </a:cubicBezTo>
                <a:cubicBezTo>
                  <a:pt x="365" y="207"/>
                  <a:pt x="371" y="195"/>
                  <a:pt x="372" y="191"/>
                </a:cubicBezTo>
                <a:cubicBezTo>
                  <a:pt x="373" y="188"/>
                  <a:pt x="367" y="187"/>
                  <a:pt x="367" y="187"/>
                </a:cubicBezTo>
                <a:cubicBezTo>
                  <a:pt x="367" y="187"/>
                  <a:pt x="371" y="182"/>
                  <a:pt x="369" y="177"/>
                </a:cubicBezTo>
                <a:cubicBezTo>
                  <a:pt x="368" y="171"/>
                  <a:pt x="360" y="177"/>
                  <a:pt x="360" y="177"/>
                </a:cubicBezTo>
                <a:cubicBezTo>
                  <a:pt x="361" y="165"/>
                  <a:pt x="361" y="165"/>
                  <a:pt x="361" y="165"/>
                </a:cubicBezTo>
                <a:cubicBezTo>
                  <a:pt x="361" y="165"/>
                  <a:pt x="352" y="163"/>
                  <a:pt x="351" y="157"/>
                </a:cubicBezTo>
                <a:cubicBezTo>
                  <a:pt x="351" y="152"/>
                  <a:pt x="360" y="146"/>
                  <a:pt x="360" y="146"/>
                </a:cubicBezTo>
                <a:cubicBezTo>
                  <a:pt x="360" y="146"/>
                  <a:pt x="357" y="144"/>
                  <a:pt x="355" y="143"/>
                </a:cubicBezTo>
                <a:cubicBezTo>
                  <a:pt x="353" y="143"/>
                  <a:pt x="356" y="136"/>
                  <a:pt x="356" y="136"/>
                </a:cubicBezTo>
                <a:cubicBezTo>
                  <a:pt x="356" y="136"/>
                  <a:pt x="351" y="135"/>
                  <a:pt x="350" y="132"/>
                </a:cubicBezTo>
                <a:cubicBezTo>
                  <a:pt x="349" y="129"/>
                  <a:pt x="355" y="126"/>
                  <a:pt x="355" y="126"/>
                </a:cubicBezTo>
                <a:cubicBezTo>
                  <a:pt x="355" y="126"/>
                  <a:pt x="355" y="120"/>
                  <a:pt x="352" y="115"/>
                </a:cubicBezTo>
                <a:cubicBezTo>
                  <a:pt x="349" y="111"/>
                  <a:pt x="345" y="115"/>
                  <a:pt x="345" y="115"/>
                </a:cubicBezTo>
                <a:cubicBezTo>
                  <a:pt x="341" y="109"/>
                  <a:pt x="341" y="109"/>
                  <a:pt x="341" y="109"/>
                </a:cubicBezTo>
                <a:cubicBezTo>
                  <a:pt x="341" y="109"/>
                  <a:pt x="337" y="113"/>
                  <a:pt x="334" y="106"/>
                </a:cubicBezTo>
                <a:cubicBezTo>
                  <a:pt x="331" y="99"/>
                  <a:pt x="337" y="98"/>
                  <a:pt x="343" y="93"/>
                </a:cubicBezTo>
                <a:cubicBezTo>
                  <a:pt x="349" y="89"/>
                  <a:pt x="347" y="87"/>
                  <a:pt x="345" y="79"/>
                </a:cubicBezTo>
                <a:cubicBezTo>
                  <a:pt x="342" y="70"/>
                  <a:pt x="337" y="78"/>
                  <a:pt x="339" y="72"/>
                </a:cubicBezTo>
                <a:cubicBezTo>
                  <a:pt x="340" y="69"/>
                  <a:pt x="339" y="65"/>
                  <a:pt x="338" y="62"/>
                </a:cubicBezTo>
                <a:cubicBezTo>
                  <a:pt x="334" y="60"/>
                  <a:pt x="334" y="60"/>
                  <a:pt x="334" y="60"/>
                </a:cubicBezTo>
                <a:cubicBezTo>
                  <a:pt x="321" y="55"/>
                  <a:pt x="321" y="55"/>
                  <a:pt x="321" y="55"/>
                </a:cubicBezTo>
                <a:cubicBezTo>
                  <a:pt x="321" y="55"/>
                  <a:pt x="323" y="50"/>
                  <a:pt x="318" y="44"/>
                </a:cubicBezTo>
                <a:cubicBezTo>
                  <a:pt x="313" y="38"/>
                  <a:pt x="301" y="41"/>
                  <a:pt x="301" y="41"/>
                </a:cubicBezTo>
                <a:cubicBezTo>
                  <a:pt x="296" y="35"/>
                  <a:pt x="296" y="35"/>
                  <a:pt x="296" y="35"/>
                </a:cubicBezTo>
                <a:cubicBezTo>
                  <a:pt x="296" y="35"/>
                  <a:pt x="270" y="23"/>
                  <a:pt x="265" y="26"/>
                </a:cubicBezTo>
                <a:cubicBezTo>
                  <a:pt x="260" y="29"/>
                  <a:pt x="253" y="36"/>
                  <a:pt x="253" y="36"/>
                </a:cubicBezTo>
                <a:cubicBezTo>
                  <a:pt x="226" y="35"/>
                  <a:pt x="226" y="35"/>
                  <a:pt x="226" y="35"/>
                </a:cubicBezTo>
                <a:cubicBezTo>
                  <a:pt x="226" y="47"/>
                  <a:pt x="226" y="47"/>
                  <a:pt x="226" y="47"/>
                </a:cubicBezTo>
                <a:cubicBezTo>
                  <a:pt x="200" y="46"/>
                  <a:pt x="200" y="46"/>
                  <a:pt x="200" y="46"/>
                </a:cubicBezTo>
                <a:cubicBezTo>
                  <a:pt x="200" y="46"/>
                  <a:pt x="198" y="38"/>
                  <a:pt x="202" y="35"/>
                </a:cubicBezTo>
                <a:cubicBezTo>
                  <a:pt x="206" y="32"/>
                  <a:pt x="209" y="20"/>
                  <a:pt x="209" y="20"/>
                </a:cubicBezTo>
                <a:cubicBezTo>
                  <a:pt x="196" y="27"/>
                  <a:pt x="196" y="27"/>
                  <a:pt x="196" y="27"/>
                </a:cubicBezTo>
                <a:cubicBezTo>
                  <a:pt x="168" y="22"/>
                  <a:pt x="168" y="22"/>
                  <a:pt x="168" y="22"/>
                </a:cubicBezTo>
                <a:cubicBezTo>
                  <a:pt x="168" y="22"/>
                  <a:pt x="160" y="14"/>
                  <a:pt x="156" y="4"/>
                </a:cubicBezTo>
                <a:cubicBezTo>
                  <a:pt x="154" y="5"/>
                  <a:pt x="153" y="6"/>
                  <a:pt x="153" y="6"/>
                </a:cubicBezTo>
                <a:cubicBezTo>
                  <a:pt x="153" y="6"/>
                  <a:pt x="152" y="2"/>
                  <a:pt x="145" y="3"/>
                </a:cubicBezTo>
                <a:cubicBezTo>
                  <a:pt x="137" y="3"/>
                  <a:pt x="135" y="5"/>
                  <a:pt x="135" y="5"/>
                </a:cubicBezTo>
                <a:cubicBezTo>
                  <a:pt x="135" y="5"/>
                  <a:pt x="127" y="0"/>
                  <a:pt x="123" y="0"/>
                </a:cubicBezTo>
                <a:cubicBezTo>
                  <a:pt x="119" y="0"/>
                  <a:pt x="112" y="0"/>
                  <a:pt x="112" y="0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42" y="58"/>
                  <a:pt x="142" y="58"/>
                  <a:pt x="142" y="58"/>
                </a:cubicBezTo>
                <a:cubicBezTo>
                  <a:pt x="123" y="51"/>
                  <a:pt x="123" y="51"/>
                  <a:pt x="123" y="51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105" y="55"/>
                  <a:pt x="110" y="70"/>
                  <a:pt x="104" y="72"/>
                </a:cubicBezTo>
                <a:cubicBezTo>
                  <a:pt x="98" y="74"/>
                  <a:pt x="88" y="72"/>
                  <a:pt x="88" y="72"/>
                </a:cubicBezTo>
                <a:cubicBezTo>
                  <a:pt x="82" y="62"/>
                  <a:pt x="82" y="62"/>
                  <a:pt x="82" y="62"/>
                </a:cubicBezTo>
                <a:cubicBezTo>
                  <a:pt x="82" y="62"/>
                  <a:pt x="55" y="59"/>
                  <a:pt x="54" y="64"/>
                </a:cubicBezTo>
                <a:cubicBezTo>
                  <a:pt x="53" y="69"/>
                  <a:pt x="53" y="82"/>
                  <a:pt x="53" y="82"/>
                </a:cubicBezTo>
                <a:cubicBezTo>
                  <a:pt x="57" y="85"/>
                  <a:pt x="57" y="85"/>
                  <a:pt x="57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5"/>
                  <a:pt x="59" y="95"/>
                  <a:pt x="59" y="95"/>
                </a:cubicBezTo>
                <a:cubicBezTo>
                  <a:pt x="59" y="95"/>
                  <a:pt x="48" y="99"/>
                  <a:pt x="47" y="103"/>
                </a:cubicBezTo>
                <a:cubicBezTo>
                  <a:pt x="45" y="107"/>
                  <a:pt x="49" y="115"/>
                  <a:pt x="49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29" y="119"/>
                  <a:pt x="30" y="122"/>
                </a:cubicBezTo>
                <a:cubicBezTo>
                  <a:pt x="31" y="125"/>
                  <a:pt x="45" y="130"/>
                  <a:pt x="45" y="134"/>
                </a:cubicBezTo>
                <a:cubicBezTo>
                  <a:pt x="45" y="138"/>
                  <a:pt x="37" y="142"/>
                  <a:pt x="37" y="142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29" y="152"/>
                  <a:pt x="29" y="152"/>
                  <a:pt x="29" y="152"/>
                </a:cubicBezTo>
                <a:cubicBezTo>
                  <a:pt x="29" y="152"/>
                  <a:pt x="27" y="157"/>
                  <a:pt x="25" y="160"/>
                </a:cubicBezTo>
                <a:cubicBezTo>
                  <a:pt x="23" y="163"/>
                  <a:pt x="1" y="155"/>
                  <a:pt x="1" y="155"/>
                </a:cubicBezTo>
                <a:cubicBezTo>
                  <a:pt x="7" y="170"/>
                  <a:pt x="7" y="170"/>
                  <a:pt x="7" y="170"/>
                </a:cubicBezTo>
                <a:cubicBezTo>
                  <a:pt x="7" y="170"/>
                  <a:pt x="12" y="178"/>
                  <a:pt x="11" y="181"/>
                </a:cubicBezTo>
                <a:cubicBezTo>
                  <a:pt x="11" y="185"/>
                  <a:pt x="0" y="191"/>
                  <a:pt x="0" y="191"/>
                </a:cubicBezTo>
                <a:cubicBezTo>
                  <a:pt x="0" y="191"/>
                  <a:pt x="5" y="197"/>
                  <a:pt x="4" y="199"/>
                </a:cubicBezTo>
                <a:cubicBezTo>
                  <a:pt x="3" y="201"/>
                  <a:pt x="0" y="215"/>
                  <a:pt x="0" y="215"/>
                </a:cubicBezTo>
                <a:cubicBezTo>
                  <a:pt x="5" y="216"/>
                  <a:pt x="5" y="216"/>
                  <a:pt x="5" y="216"/>
                </a:cubicBezTo>
                <a:cubicBezTo>
                  <a:pt x="5" y="216"/>
                  <a:pt x="14" y="219"/>
                  <a:pt x="15" y="225"/>
                </a:cubicBezTo>
                <a:cubicBezTo>
                  <a:pt x="15" y="231"/>
                  <a:pt x="18" y="238"/>
                  <a:pt x="18" y="238"/>
                </a:cubicBezTo>
                <a:cubicBezTo>
                  <a:pt x="9" y="239"/>
                  <a:pt x="9" y="239"/>
                  <a:pt x="9" y="239"/>
                </a:cubicBezTo>
                <a:cubicBezTo>
                  <a:pt x="9" y="239"/>
                  <a:pt x="4" y="247"/>
                  <a:pt x="7" y="253"/>
                </a:cubicBezTo>
                <a:cubicBezTo>
                  <a:pt x="11" y="259"/>
                  <a:pt x="21" y="261"/>
                  <a:pt x="22" y="265"/>
                </a:cubicBezTo>
                <a:cubicBezTo>
                  <a:pt x="23" y="270"/>
                  <a:pt x="17" y="274"/>
                  <a:pt x="17" y="274"/>
                </a:cubicBezTo>
                <a:close/>
              </a:path>
            </a:pathLst>
          </a:custGeom>
          <a:solidFill>
            <a:schemeClr val="accent1"/>
          </a:solidFill>
          <a:ln w="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7" name="Group 82">
            <a:extLst>
              <a:ext uri="{FF2B5EF4-FFF2-40B4-BE49-F238E27FC236}">
                <a16:creationId xmlns:a16="http://schemas.microsoft.com/office/drawing/2014/main" id="{DA2D2DB1-E7A4-5527-1F77-2827F3E8CA34}"/>
              </a:ext>
            </a:extLst>
          </p:cNvPr>
          <p:cNvGrpSpPr/>
          <p:nvPr/>
        </p:nvGrpSpPr>
        <p:grpSpPr>
          <a:xfrm>
            <a:off x="1281927" y="1111487"/>
            <a:ext cx="9631970" cy="5249813"/>
            <a:chOff x="5439729" y="1126149"/>
            <a:chExt cx="4911391" cy="2758480"/>
          </a:xfrm>
          <a:solidFill>
            <a:schemeClr val="accent1"/>
          </a:solidFill>
          <a:effectLst/>
        </p:grpSpPr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B98BECAF-D726-FC2C-C890-CEDCF5BBA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50253" y="3224722"/>
              <a:ext cx="329909" cy="22529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13C4EA6-1120-8974-736E-AF1E2C00CB37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2423" y="2738661"/>
              <a:ext cx="19510" cy="42575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6138DA8-F70E-74F6-E922-FF2170150EA4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9367" y="2268566"/>
              <a:ext cx="532111" cy="299797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10E12FA2-B078-235E-C915-900527F49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8907323" y="3066839"/>
              <a:ext cx="273150" cy="535730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F169BD6-A78C-01A4-DDC3-7FE8C0E47D7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31962" y="1741706"/>
              <a:ext cx="258961" cy="370754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02DF76F2-F31A-C0F2-9F23-9B292B05207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16310" y="2953309"/>
              <a:ext cx="150764" cy="143690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E04A3302-E306-5876-D073-7CE8A7575B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0282" y="2027310"/>
              <a:ext cx="501958" cy="282057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3201ACE-BFC7-0D3A-5BEC-A62265151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7257777" y="2366134"/>
              <a:ext cx="454069" cy="271413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23CE3014-F60C-C194-5B01-1508512F51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63157" y="2387421"/>
              <a:ext cx="597738" cy="227063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AF7FA4EE-899D-BB11-0772-A71DB765A8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3462" y="2563041"/>
              <a:ext cx="122385" cy="255447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342AF37-82C3-2702-AC38-DB923B9B543C}"/>
                </a:ext>
              </a:extLst>
            </p:cNvPr>
            <p:cNvSpPr>
              <a:spLocks/>
            </p:cNvSpPr>
            <p:nvPr/>
          </p:nvSpPr>
          <p:spPr bwMode="gray">
            <a:xfrm>
              <a:off x="8776069" y="3175051"/>
              <a:ext cx="278472" cy="533956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091FC0F-D860-19E3-F84D-17A03E16B4FF}"/>
                </a:ext>
              </a:extLst>
            </p:cNvPr>
            <p:cNvSpPr>
              <a:spLocks/>
            </p:cNvSpPr>
            <p:nvPr/>
          </p:nvSpPr>
          <p:spPr bwMode="gray">
            <a:xfrm>
              <a:off x="7717167" y="2429996"/>
              <a:ext cx="248319" cy="15788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8D597415-F655-F838-3920-07F4FBD66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9455399" y="2997656"/>
              <a:ext cx="53210" cy="120628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117CD2C2-6C3B-D9DE-1032-BCBACC12E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7745" y="2559493"/>
              <a:ext cx="202203" cy="186264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740DE13-2730-60BE-2043-550D8B6CE4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4440" y="2185192"/>
              <a:ext cx="129479" cy="709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75BB9191-8D41-26B3-8758-BBB3B1081CC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1657" y="1477388"/>
              <a:ext cx="312172" cy="445261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20EDC967-AB0A-30CA-1366-6A4449FCF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8242183" y="3567092"/>
              <a:ext cx="76269" cy="136594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EA6EE795-C107-6052-32A3-A322B1BA9D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55692" y="2330655"/>
              <a:ext cx="393764" cy="276735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A054219E-9E1D-82E7-099A-FB58B0E16D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1963" y="2215347"/>
              <a:ext cx="94006" cy="54992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934ACCFD-C694-7FA3-A79E-921CE68F80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7743" y="2124877"/>
              <a:ext cx="161406" cy="65636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3D8A84E5-FA90-B884-579F-AAEE0ED014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2423" y="2749305"/>
              <a:ext cx="666913" cy="57298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FEC99A76-1E35-CD33-B3CE-CBB357C68D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32526" y="1791377"/>
              <a:ext cx="136575" cy="53927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A8A996-D6E8-978A-E159-CF96A57834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2239" y="1126149"/>
              <a:ext cx="4068881" cy="129497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13F46A3-2A6C-D440-876D-F9D4AA52A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8844" y="2171001"/>
              <a:ext cx="276698" cy="164977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AD73913B-9FDB-20E7-4486-7C8D36A56D83}"/>
                </a:ext>
              </a:extLst>
            </p:cNvPr>
            <p:cNvSpPr>
              <a:spLocks/>
            </p:cNvSpPr>
            <p:nvPr/>
          </p:nvSpPr>
          <p:spPr bwMode="gray">
            <a:xfrm>
              <a:off x="7293251" y="2963952"/>
              <a:ext cx="30153" cy="63862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6A6D31AD-60B6-8646-0417-CA06564B6325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9729" y="2390969"/>
              <a:ext cx="102875" cy="18449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9FF8965-EAED-5EEB-7158-E21CF114F7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31475" y="1942161"/>
              <a:ext cx="280246" cy="202229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5B47105F-24DD-66B7-62D9-C788C6D6C6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39435" y="3235365"/>
              <a:ext cx="321039" cy="541052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A8C12C6-D17B-D168-5D16-384BD9EBD11F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5913" y="2573685"/>
              <a:ext cx="471805" cy="47364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4CCF896-C1E2-F93E-3A90-C9EF41E1AB2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21270" y="3288583"/>
              <a:ext cx="42570" cy="283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98B695AE-94B4-F6FC-714F-F4AC309B9D4F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2915" y="3006526"/>
              <a:ext cx="242997" cy="30334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EF91CAE-4779-62A1-B8AE-5100CBC8DF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3797" y="1159853"/>
              <a:ext cx="611928" cy="67232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7B5BF28-D276-52FD-2647-EA0170972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850" y="1990058"/>
              <a:ext cx="122385" cy="94019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5A08E02-A294-FC1A-86D9-B8B775BB3142}"/>
                </a:ext>
              </a:extLst>
            </p:cNvPr>
            <p:cNvSpPr>
              <a:spLocks/>
            </p:cNvSpPr>
            <p:nvPr/>
          </p:nvSpPr>
          <p:spPr bwMode="gray">
            <a:xfrm>
              <a:off x="8180104" y="2809619"/>
              <a:ext cx="264281" cy="14901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5F728E04-4D2D-D82A-9FBD-91660C1907B4}"/>
                </a:ext>
              </a:extLst>
            </p:cNvPr>
            <p:cNvSpPr>
              <a:spLocks/>
            </p:cNvSpPr>
            <p:nvPr/>
          </p:nvSpPr>
          <p:spPr bwMode="gray">
            <a:xfrm>
              <a:off x="8595151" y="2880576"/>
              <a:ext cx="285567" cy="674098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C6F8BA4-070A-6ACB-3CC2-B599C4DFFA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0953" y="2335976"/>
              <a:ext cx="51437" cy="6031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8043C31B-4C5F-A26A-18C9-F20E3DC14F36}"/>
                </a:ext>
              </a:extLst>
            </p:cNvPr>
            <p:cNvSpPr>
              <a:spLocks/>
            </p:cNvSpPr>
            <p:nvPr/>
          </p:nvSpPr>
          <p:spPr bwMode="gray">
            <a:xfrm>
              <a:off x="8196068" y="2032632"/>
              <a:ext cx="943611" cy="374302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2C380787-ED5F-5384-00B5-A0E0F7D3FD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7988" y="2163905"/>
              <a:ext cx="97553" cy="106437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FE46FACA-2D63-D422-9F64-01C1B0152B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2117" y="2602067"/>
              <a:ext cx="14191" cy="12418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08F261D2-DF81-AA55-A3E9-0A1B42C1DBD2}"/>
                </a:ext>
              </a:extLst>
            </p:cNvPr>
            <p:cNvSpPr>
              <a:spLocks/>
            </p:cNvSpPr>
            <p:nvPr/>
          </p:nvSpPr>
          <p:spPr bwMode="gray">
            <a:xfrm>
              <a:off x="8893133" y="3669981"/>
              <a:ext cx="138349" cy="196908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2AA05A07-1345-E41A-D6E7-59D29E254A9E}"/>
                </a:ext>
              </a:extLst>
            </p:cNvPr>
            <p:cNvSpPr>
              <a:spLocks/>
            </p:cNvSpPr>
            <p:nvPr/>
          </p:nvSpPr>
          <p:spPr bwMode="gray">
            <a:xfrm>
              <a:off x="9215948" y="3646920"/>
              <a:ext cx="308625" cy="237709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4B35300-4F1C-7B29-3ADC-8D8F6533D9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4807" y="2378551"/>
              <a:ext cx="74496" cy="56766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48F8C759-B3C2-57C3-271F-E5A318463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344" y="2105365"/>
              <a:ext cx="23058" cy="19514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D33C9BC-2CC6-30A1-7BF5-B0276F3054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2392" y="1885395"/>
              <a:ext cx="152538" cy="8869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7FE0F052-ADC7-4173-402A-45404E091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8446" y="2202930"/>
              <a:ext cx="7095" cy="1064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552B424-8354-EAC7-74A5-5680754B25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73556" y="2658834"/>
              <a:ext cx="47890" cy="709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A38C31FB-D420-552E-A2A9-7A264F4FF17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8844" y="1830402"/>
              <a:ext cx="191560" cy="81601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5A05B2C5-A730-A256-2510-453E9585B654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8792" y="3098771"/>
              <a:ext cx="269603" cy="31221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6C771FC-F44E-972E-EA19-99647955B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68604" y="2351942"/>
              <a:ext cx="301530" cy="1401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54340BB5-81DE-F89A-9E66-DE2A2FA4C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6034" y="2825584"/>
              <a:ext cx="62079" cy="54992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5F4C3F47-583A-FEA8-89D6-09947FD2AB8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94421" y="2518693"/>
              <a:ext cx="122385" cy="19158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2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56342FE8-246D-0CE0-9FCF-67F2624F226B}"/>
                </a:ext>
              </a:extLst>
            </p:cNvPr>
            <p:cNvSpPr>
              <a:spLocks/>
            </p:cNvSpPr>
            <p:nvPr/>
          </p:nvSpPr>
          <p:spPr bwMode="gray">
            <a:xfrm>
              <a:off x="9391546" y="2360812"/>
              <a:ext cx="147218" cy="188038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D25A4BC-E83D-7BD4-749C-3136840189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4933" y="1922648"/>
              <a:ext cx="1131624" cy="52331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8D7FA026-A2FF-AF7A-AA64-1082A5AFC9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7745" y="2708504"/>
              <a:ext cx="125933" cy="150786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3580B62D-A36C-327B-617E-94F99F174EB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563593" y="2268566"/>
              <a:ext cx="393764" cy="76811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6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6199B82C-FF81-0A42-7B67-84B3595FA0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8630" y="2210026"/>
              <a:ext cx="349420" cy="374302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7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FB411BA5-C209-2AC8-409F-489D71D0C5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1140" y="2703183"/>
              <a:ext cx="46117" cy="143690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8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9427E6B-D230-1BA8-90E0-115BE1EA90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9239" y="1926196"/>
              <a:ext cx="125933" cy="133046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9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B04E68C5-173B-B87D-8AA0-37C8DE7E38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2393" y="2563041"/>
              <a:ext cx="308625" cy="296249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0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708B108A-77AD-5CE6-FD37-E0174AC40CB1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3647" y="2472570"/>
              <a:ext cx="647402" cy="53040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1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75A59C37-78AB-3047-899C-0CC907E254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43099" y="2609163"/>
              <a:ext cx="877984" cy="1060817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BC75177-E7AE-7AEC-3056-3D10F4ACC6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3552" y="2160356"/>
              <a:ext cx="191560" cy="99341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3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71E31381-A31D-1207-784D-B322BACCF8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23035" y="2401612"/>
              <a:ext cx="239450" cy="248353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8BFE73E2-650F-7220-7C4E-0D87C29A9A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7072" y="2335976"/>
              <a:ext cx="207523" cy="94019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5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ADC881C-17D9-EEE8-50D8-259E703EBC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95815" y="2066337"/>
              <a:ext cx="409726" cy="353014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6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C30D51D-AD33-4BD5-D5A8-692B9A46E8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8048" y="1447232"/>
              <a:ext cx="283793" cy="32285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7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97B0810-EB47-2148-466B-0299246ABB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24807" y="1780733"/>
              <a:ext cx="156086" cy="69184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1755DA98-E96A-135C-7DB5-3A85948351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66519" y="1846368"/>
              <a:ext cx="124159" cy="106437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A637A9A-3BEC-A3C6-C595-693AC535449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6489" y="2073433"/>
              <a:ext cx="189786" cy="86923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8B1F0B0B-58F2-6095-E337-4BAA2331F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643" y="2623355"/>
              <a:ext cx="67401" cy="39028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D8F87843-2406-72FF-C334-46EC55E0F6A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2606" y="2233088"/>
              <a:ext cx="164954" cy="12417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2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B2D477DC-AE6A-607D-60E6-A2E441551C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03406" y="1982963"/>
              <a:ext cx="1645999" cy="127014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3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3936118-9C80-3F03-3DBD-08C9C868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3439" y="3387924"/>
              <a:ext cx="170276" cy="150786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4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F4DE35D9-EEBE-76A4-B851-265789A60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019" y="2316463"/>
              <a:ext cx="177370" cy="101116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5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FFCFCAB7-4C86-7CD1-ABEE-6A0620766C6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7590" y="2275662"/>
              <a:ext cx="118839" cy="106437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6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24AA0225-D622-BA6E-9B11-A8A51324B3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460349" y="2887674"/>
              <a:ext cx="104648" cy="60314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47FAF6EC-2018-5CD0-BD06-6B5FDAB7F1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7528" y="2059241"/>
              <a:ext cx="101100" cy="69184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44B060-4ADA-8D9C-A4AC-209AEFF49370}"/>
                </a:ext>
              </a:extLst>
            </p:cNvPr>
            <p:cNvSpPr>
              <a:spLocks/>
            </p:cNvSpPr>
            <p:nvPr/>
          </p:nvSpPr>
          <p:spPr bwMode="gray">
            <a:xfrm>
              <a:off x="8446159" y="2953309"/>
              <a:ext cx="168501" cy="19158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9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D7FDD92-67E1-16F1-14BC-3CCAA59A46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793" y="1896039"/>
              <a:ext cx="255413" cy="166751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BD789E8-5A37-7959-A2A8-C123A8E53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9061" y="2955083"/>
              <a:ext cx="12416" cy="2483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5B25E588-EA9F-B3FC-ABD5-3AA130F9E1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4933" y="2396290"/>
              <a:ext cx="163181" cy="13127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2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666379-1635-640A-9337-49200D7B44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5540" y="2144390"/>
              <a:ext cx="205750" cy="90471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33BAD11-154A-8B18-3BD4-86DE6A84A54A}"/>
                </a:ext>
              </a:extLst>
            </p:cNvPr>
            <p:cNvSpPr>
              <a:spLocks/>
            </p:cNvSpPr>
            <p:nvPr/>
          </p:nvSpPr>
          <p:spPr bwMode="gray">
            <a:xfrm>
              <a:off x="7000590" y="2415803"/>
              <a:ext cx="99328" cy="95792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96F959AF-D3F2-E58A-11EA-CD02A391BEEE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7864" y="2371456"/>
              <a:ext cx="14191" cy="709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5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922BE968-BE58-37F8-F8FF-9DCF3EEBD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691" y="2371456"/>
              <a:ext cx="65626" cy="10998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6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495300D-8C87-283B-1DE6-39E4DB0F5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117" y="2518693"/>
              <a:ext cx="407952" cy="33172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447" name="Group 340">
              <a:extLst>
                <a:ext uri="{FF2B5EF4-FFF2-40B4-BE49-F238E27FC236}">
                  <a16:creationId xmlns:a16="http://schemas.microsoft.com/office/drawing/2014/main" id="{BAAF69E6-2E63-AF14-431C-D9591146D3F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268048" y="2245510"/>
              <a:ext cx="124159" cy="152559"/>
              <a:chOff x="2184" y="1242"/>
              <a:chExt cx="257" cy="316"/>
            </a:xfrm>
            <a:grpFill/>
          </p:grpSpPr>
          <p:sp>
            <p:nvSpPr>
              <p:cNvPr id="535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E9E9AF6-2E93-D5DB-BE4E-AF0C2E552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36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82A1267-60AE-D1CE-BAFA-C832EC7A95A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448" name="Gruppieren 70">
              <a:extLst>
                <a:ext uri="{FF2B5EF4-FFF2-40B4-BE49-F238E27FC236}">
                  <a16:creationId xmlns:a16="http://schemas.microsoft.com/office/drawing/2014/main" id="{02A74374-178C-70AC-BF54-7D92E6DC5B02}"/>
                </a:ext>
              </a:extLst>
            </p:cNvPr>
            <p:cNvGrpSpPr/>
            <p:nvPr/>
          </p:nvGrpSpPr>
          <p:grpSpPr>
            <a:xfrm>
              <a:off x="5913033" y="1944270"/>
              <a:ext cx="196076" cy="202747"/>
              <a:chOff x="4318001" y="1228725"/>
              <a:chExt cx="2952752" cy="3989388"/>
            </a:xfrm>
            <a:grpFill/>
            <a:effectLst/>
          </p:grpSpPr>
          <p:sp>
            <p:nvSpPr>
              <p:cNvPr id="518" name="Freeform 45">
                <a:extLst>
                  <a:ext uri="{FF2B5EF4-FFF2-40B4-BE49-F238E27FC236}">
                    <a16:creationId xmlns:a16="http://schemas.microsoft.com/office/drawing/2014/main" id="{E8493D8E-5622-2A27-BEE5-CC65A2983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8001" y="4873625"/>
                <a:ext cx="457200" cy="344488"/>
              </a:xfrm>
              <a:custGeom>
                <a:avLst/>
                <a:gdLst>
                  <a:gd name="T0" fmla="*/ 260 w 288"/>
                  <a:gd name="T1" fmla="*/ 164 h 217"/>
                  <a:gd name="T2" fmla="*/ 279 w 288"/>
                  <a:gd name="T3" fmla="*/ 148 h 217"/>
                  <a:gd name="T4" fmla="*/ 282 w 288"/>
                  <a:gd name="T5" fmla="*/ 137 h 217"/>
                  <a:gd name="T6" fmla="*/ 288 w 288"/>
                  <a:gd name="T7" fmla="*/ 127 h 217"/>
                  <a:gd name="T8" fmla="*/ 288 w 288"/>
                  <a:gd name="T9" fmla="*/ 116 h 217"/>
                  <a:gd name="T10" fmla="*/ 264 w 288"/>
                  <a:gd name="T11" fmla="*/ 108 h 217"/>
                  <a:gd name="T12" fmla="*/ 260 w 288"/>
                  <a:gd name="T13" fmla="*/ 95 h 217"/>
                  <a:gd name="T14" fmla="*/ 245 w 288"/>
                  <a:gd name="T15" fmla="*/ 82 h 217"/>
                  <a:gd name="T16" fmla="*/ 260 w 288"/>
                  <a:gd name="T17" fmla="*/ 67 h 217"/>
                  <a:gd name="T18" fmla="*/ 258 w 288"/>
                  <a:gd name="T19" fmla="*/ 50 h 217"/>
                  <a:gd name="T20" fmla="*/ 252 w 288"/>
                  <a:gd name="T21" fmla="*/ 24 h 217"/>
                  <a:gd name="T22" fmla="*/ 237 w 288"/>
                  <a:gd name="T23" fmla="*/ 27 h 217"/>
                  <a:gd name="T24" fmla="*/ 229 w 288"/>
                  <a:gd name="T25" fmla="*/ 19 h 217"/>
                  <a:gd name="T26" fmla="*/ 207 w 288"/>
                  <a:gd name="T27" fmla="*/ 14 h 217"/>
                  <a:gd name="T28" fmla="*/ 195 w 288"/>
                  <a:gd name="T29" fmla="*/ 0 h 217"/>
                  <a:gd name="T30" fmla="*/ 165 w 288"/>
                  <a:gd name="T31" fmla="*/ 0 h 217"/>
                  <a:gd name="T32" fmla="*/ 136 w 288"/>
                  <a:gd name="T33" fmla="*/ 16 h 217"/>
                  <a:gd name="T34" fmla="*/ 101 w 288"/>
                  <a:gd name="T35" fmla="*/ 34 h 217"/>
                  <a:gd name="T36" fmla="*/ 69 w 288"/>
                  <a:gd name="T37" fmla="*/ 50 h 217"/>
                  <a:gd name="T38" fmla="*/ 43 w 288"/>
                  <a:gd name="T39" fmla="*/ 39 h 217"/>
                  <a:gd name="T40" fmla="*/ 1 w 288"/>
                  <a:gd name="T41" fmla="*/ 39 h 217"/>
                  <a:gd name="T42" fmla="*/ 0 w 288"/>
                  <a:gd name="T43" fmla="*/ 67 h 217"/>
                  <a:gd name="T44" fmla="*/ 22 w 288"/>
                  <a:gd name="T45" fmla="*/ 67 h 217"/>
                  <a:gd name="T46" fmla="*/ 56 w 288"/>
                  <a:gd name="T47" fmla="*/ 98 h 217"/>
                  <a:gd name="T48" fmla="*/ 67 w 288"/>
                  <a:gd name="T49" fmla="*/ 128 h 217"/>
                  <a:gd name="T50" fmla="*/ 81 w 288"/>
                  <a:gd name="T51" fmla="*/ 148 h 217"/>
                  <a:gd name="T52" fmla="*/ 96 w 288"/>
                  <a:gd name="T53" fmla="*/ 193 h 217"/>
                  <a:gd name="T54" fmla="*/ 110 w 288"/>
                  <a:gd name="T55" fmla="*/ 193 h 217"/>
                  <a:gd name="T56" fmla="*/ 131 w 288"/>
                  <a:gd name="T57" fmla="*/ 201 h 217"/>
                  <a:gd name="T58" fmla="*/ 131 w 288"/>
                  <a:gd name="T59" fmla="*/ 175 h 217"/>
                  <a:gd name="T60" fmla="*/ 162 w 288"/>
                  <a:gd name="T61" fmla="*/ 175 h 217"/>
                  <a:gd name="T62" fmla="*/ 181 w 288"/>
                  <a:gd name="T63" fmla="*/ 185 h 217"/>
                  <a:gd name="T64" fmla="*/ 187 w 288"/>
                  <a:gd name="T65" fmla="*/ 212 h 217"/>
                  <a:gd name="T66" fmla="*/ 205 w 288"/>
                  <a:gd name="T67" fmla="*/ 201 h 217"/>
                  <a:gd name="T68" fmla="*/ 218 w 288"/>
                  <a:gd name="T69" fmla="*/ 217 h 217"/>
                  <a:gd name="T70" fmla="*/ 253 w 288"/>
                  <a:gd name="T71" fmla="*/ 217 h 217"/>
                  <a:gd name="T72" fmla="*/ 272 w 288"/>
                  <a:gd name="T73" fmla="*/ 194 h 217"/>
                  <a:gd name="T74" fmla="*/ 260 w 288"/>
                  <a:gd name="T75" fmla="*/ 181 h 217"/>
                  <a:gd name="T76" fmla="*/ 260 w 288"/>
                  <a:gd name="T77" fmla="*/ 16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217">
                    <a:moveTo>
                      <a:pt x="260" y="164"/>
                    </a:moveTo>
                    <a:lnTo>
                      <a:pt x="279" y="148"/>
                    </a:lnTo>
                    <a:lnTo>
                      <a:pt x="282" y="137"/>
                    </a:lnTo>
                    <a:lnTo>
                      <a:pt x="288" y="127"/>
                    </a:lnTo>
                    <a:lnTo>
                      <a:pt x="288" y="116"/>
                    </a:lnTo>
                    <a:lnTo>
                      <a:pt x="264" y="108"/>
                    </a:lnTo>
                    <a:lnTo>
                      <a:pt x="260" y="95"/>
                    </a:lnTo>
                    <a:lnTo>
                      <a:pt x="245" y="82"/>
                    </a:lnTo>
                    <a:lnTo>
                      <a:pt x="260" y="67"/>
                    </a:lnTo>
                    <a:lnTo>
                      <a:pt x="258" y="50"/>
                    </a:lnTo>
                    <a:lnTo>
                      <a:pt x="252" y="24"/>
                    </a:lnTo>
                    <a:lnTo>
                      <a:pt x="237" y="27"/>
                    </a:lnTo>
                    <a:lnTo>
                      <a:pt x="229" y="19"/>
                    </a:lnTo>
                    <a:lnTo>
                      <a:pt x="207" y="14"/>
                    </a:lnTo>
                    <a:lnTo>
                      <a:pt x="195" y="0"/>
                    </a:lnTo>
                    <a:lnTo>
                      <a:pt x="165" y="0"/>
                    </a:lnTo>
                    <a:lnTo>
                      <a:pt x="136" y="16"/>
                    </a:lnTo>
                    <a:lnTo>
                      <a:pt x="101" y="34"/>
                    </a:lnTo>
                    <a:lnTo>
                      <a:pt x="69" y="50"/>
                    </a:lnTo>
                    <a:lnTo>
                      <a:pt x="43" y="39"/>
                    </a:lnTo>
                    <a:lnTo>
                      <a:pt x="1" y="39"/>
                    </a:lnTo>
                    <a:lnTo>
                      <a:pt x="0" y="67"/>
                    </a:lnTo>
                    <a:lnTo>
                      <a:pt x="22" y="67"/>
                    </a:lnTo>
                    <a:lnTo>
                      <a:pt x="56" y="98"/>
                    </a:lnTo>
                    <a:lnTo>
                      <a:pt x="67" y="128"/>
                    </a:lnTo>
                    <a:lnTo>
                      <a:pt x="81" y="148"/>
                    </a:lnTo>
                    <a:lnTo>
                      <a:pt x="96" y="193"/>
                    </a:lnTo>
                    <a:lnTo>
                      <a:pt x="110" y="193"/>
                    </a:lnTo>
                    <a:lnTo>
                      <a:pt x="131" y="201"/>
                    </a:lnTo>
                    <a:lnTo>
                      <a:pt x="131" y="175"/>
                    </a:lnTo>
                    <a:lnTo>
                      <a:pt x="162" y="175"/>
                    </a:lnTo>
                    <a:lnTo>
                      <a:pt x="181" y="185"/>
                    </a:lnTo>
                    <a:lnTo>
                      <a:pt x="187" y="212"/>
                    </a:lnTo>
                    <a:lnTo>
                      <a:pt x="205" y="201"/>
                    </a:lnTo>
                    <a:lnTo>
                      <a:pt x="218" y="217"/>
                    </a:lnTo>
                    <a:lnTo>
                      <a:pt x="253" y="217"/>
                    </a:lnTo>
                    <a:lnTo>
                      <a:pt x="272" y="194"/>
                    </a:lnTo>
                    <a:lnTo>
                      <a:pt x="260" y="181"/>
                    </a:lnTo>
                    <a:lnTo>
                      <a:pt x="260" y="1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519" name="Freeform 52">
                <a:extLst>
                  <a:ext uri="{FF2B5EF4-FFF2-40B4-BE49-F238E27FC236}">
                    <a16:creationId xmlns:a16="http://schemas.microsoft.com/office/drawing/2014/main" id="{10756C77-CE70-EC9D-A8BA-E4CB427E2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163" y="2055813"/>
                <a:ext cx="231775" cy="460375"/>
              </a:xfrm>
              <a:custGeom>
                <a:avLst/>
                <a:gdLst>
                  <a:gd name="T0" fmla="*/ 3 w 146"/>
                  <a:gd name="T1" fmla="*/ 199 h 290"/>
                  <a:gd name="T2" fmla="*/ 24 w 146"/>
                  <a:gd name="T3" fmla="*/ 213 h 290"/>
                  <a:gd name="T4" fmla="*/ 39 w 146"/>
                  <a:gd name="T5" fmla="*/ 223 h 290"/>
                  <a:gd name="T6" fmla="*/ 48 w 146"/>
                  <a:gd name="T7" fmla="*/ 236 h 290"/>
                  <a:gd name="T8" fmla="*/ 56 w 146"/>
                  <a:gd name="T9" fmla="*/ 253 h 290"/>
                  <a:gd name="T10" fmla="*/ 69 w 146"/>
                  <a:gd name="T11" fmla="*/ 258 h 290"/>
                  <a:gd name="T12" fmla="*/ 71 w 146"/>
                  <a:gd name="T13" fmla="*/ 276 h 290"/>
                  <a:gd name="T14" fmla="*/ 93 w 146"/>
                  <a:gd name="T15" fmla="*/ 279 h 290"/>
                  <a:gd name="T16" fmla="*/ 106 w 146"/>
                  <a:gd name="T17" fmla="*/ 284 h 290"/>
                  <a:gd name="T18" fmla="*/ 125 w 146"/>
                  <a:gd name="T19" fmla="*/ 290 h 290"/>
                  <a:gd name="T20" fmla="*/ 140 w 146"/>
                  <a:gd name="T21" fmla="*/ 276 h 290"/>
                  <a:gd name="T22" fmla="*/ 136 w 146"/>
                  <a:gd name="T23" fmla="*/ 256 h 290"/>
                  <a:gd name="T24" fmla="*/ 146 w 146"/>
                  <a:gd name="T25" fmla="*/ 247 h 290"/>
                  <a:gd name="T26" fmla="*/ 136 w 146"/>
                  <a:gd name="T27" fmla="*/ 239 h 290"/>
                  <a:gd name="T28" fmla="*/ 140 w 146"/>
                  <a:gd name="T29" fmla="*/ 229 h 290"/>
                  <a:gd name="T30" fmla="*/ 130 w 146"/>
                  <a:gd name="T31" fmla="*/ 224 h 290"/>
                  <a:gd name="T32" fmla="*/ 122 w 146"/>
                  <a:gd name="T33" fmla="*/ 236 h 290"/>
                  <a:gd name="T34" fmla="*/ 108 w 146"/>
                  <a:gd name="T35" fmla="*/ 229 h 290"/>
                  <a:gd name="T36" fmla="*/ 100 w 146"/>
                  <a:gd name="T37" fmla="*/ 219 h 290"/>
                  <a:gd name="T38" fmla="*/ 75 w 146"/>
                  <a:gd name="T39" fmla="*/ 219 h 290"/>
                  <a:gd name="T40" fmla="*/ 64 w 146"/>
                  <a:gd name="T41" fmla="*/ 207 h 290"/>
                  <a:gd name="T42" fmla="*/ 48 w 146"/>
                  <a:gd name="T43" fmla="*/ 213 h 290"/>
                  <a:gd name="T44" fmla="*/ 35 w 146"/>
                  <a:gd name="T45" fmla="*/ 208 h 290"/>
                  <a:gd name="T46" fmla="*/ 39 w 146"/>
                  <a:gd name="T47" fmla="*/ 195 h 290"/>
                  <a:gd name="T48" fmla="*/ 13 w 146"/>
                  <a:gd name="T49" fmla="*/ 195 h 290"/>
                  <a:gd name="T50" fmla="*/ 14 w 146"/>
                  <a:gd name="T51" fmla="*/ 163 h 290"/>
                  <a:gd name="T52" fmla="*/ 10 w 146"/>
                  <a:gd name="T53" fmla="*/ 141 h 290"/>
                  <a:gd name="T54" fmla="*/ 18 w 146"/>
                  <a:gd name="T55" fmla="*/ 75 h 290"/>
                  <a:gd name="T56" fmla="*/ 31 w 146"/>
                  <a:gd name="T57" fmla="*/ 69 h 290"/>
                  <a:gd name="T58" fmla="*/ 51 w 146"/>
                  <a:gd name="T59" fmla="*/ 69 h 290"/>
                  <a:gd name="T60" fmla="*/ 53 w 146"/>
                  <a:gd name="T61" fmla="*/ 56 h 290"/>
                  <a:gd name="T62" fmla="*/ 48 w 146"/>
                  <a:gd name="T63" fmla="*/ 38 h 290"/>
                  <a:gd name="T64" fmla="*/ 43 w 146"/>
                  <a:gd name="T65" fmla="*/ 27 h 290"/>
                  <a:gd name="T66" fmla="*/ 53 w 146"/>
                  <a:gd name="T67" fmla="*/ 17 h 290"/>
                  <a:gd name="T68" fmla="*/ 32 w 146"/>
                  <a:gd name="T69" fmla="*/ 17 h 290"/>
                  <a:gd name="T70" fmla="*/ 18 w 146"/>
                  <a:gd name="T71" fmla="*/ 14 h 290"/>
                  <a:gd name="T72" fmla="*/ 2 w 146"/>
                  <a:gd name="T73" fmla="*/ 0 h 290"/>
                  <a:gd name="T74" fmla="*/ 24 w 146"/>
                  <a:gd name="T75" fmla="*/ 38 h 290"/>
                  <a:gd name="T76" fmla="*/ 23 w 146"/>
                  <a:gd name="T77" fmla="*/ 62 h 290"/>
                  <a:gd name="T78" fmla="*/ 11 w 146"/>
                  <a:gd name="T79" fmla="*/ 73 h 290"/>
                  <a:gd name="T80" fmla="*/ 0 w 146"/>
                  <a:gd name="T81" fmla="*/ 141 h 290"/>
                  <a:gd name="T82" fmla="*/ 8 w 146"/>
                  <a:gd name="T83" fmla="*/ 163 h 290"/>
                  <a:gd name="T84" fmla="*/ 3 w 146"/>
                  <a:gd name="T85" fmla="*/ 199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6" h="290">
                    <a:moveTo>
                      <a:pt x="3" y="199"/>
                    </a:moveTo>
                    <a:lnTo>
                      <a:pt x="24" y="213"/>
                    </a:lnTo>
                    <a:lnTo>
                      <a:pt x="39" y="223"/>
                    </a:lnTo>
                    <a:lnTo>
                      <a:pt x="48" y="236"/>
                    </a:lnTo>
                    <a:lnTo>
                      <a:pt x="56" y="253"/>
                    </a:lnTo>
                    <a:lnTo>
                      <a:pt x="69" y="258"/>
                    </a:lnTo>
                    <a:lnTo>
                      <a:pt x="71" y="276"/>
                    </a:lnTo>
                    <a:lnTo>
                      <a:pt x="93" y="279"/>
                    </a:lnTo>
                    <a:lnTo>
                      <a:pt x="106" y="284"/>
                    </a:lnTo>
                    <a:lnTo>
                      <a:pt x="125" y="290"/>
                    </a:lnTo>
                    <a:lnTo>
                      <a:pt x="140" y="276"/>
                    </a:lnTo>
                    <a:lnTo>
                      <a:pt x="136" y="256"/>
                    </a:lnTo>
                    <a:lnTo>
                      <a:pt x="146" y="247"/>
                    </a:lnTo>
                    <a:lnTo>
                      <a:pt x="136" y="239"/>
                    </a:lnTo>
                    <a:lnTo>
                      <a:pt x="140" y="229"/>
                    </a:lnTo>
                    <a:lnTo>
                      <a:pt x="130" y="224"/>
                    </a:lnTo>
                    <a:lnTo>
                      <a:pt x="122" y="236"/>
                    </a:lnTo>
                    <a:lnTo>
                      <a:pt x="108" y="229"/>
                    </a:lnTo>
                    <a:lnTo>
                      <a:pt x="100" y="219"/>
                    </a:lnTo>
                    <a:lnTo>
                      <a:pt x="75" y="219"/>
                    </a:lnTo>
                    <a:lnTo>
                      <a:pt x="64" y="207"/>
                    </a:lnTo>
                    <a:lnTo>
                      <a:pt x="48" y="213"/>
                    </a:lnTo>
                    <a:lnTo>
                      <a:pt x="35" y="208"/>
                    </a:lnTo>
                    <a:lnTo>
                      <a:pt x="39" y="195"/>
                    </a:lnTo>
                    <a:lnTo>
                      <a:pt x="13" y="195"/>
                    </a:lnTo>
                    <a:lnTo>
                      <a:pt x="14" y="163"/>
                    </a:lnTo>
                    <a:lnTo>
                      <a:pt x="10" y="141"/>
                    </a:lnTo>
                    <a:lnTo>
                      <a:pt x="18" y="75"/>
                    </a:lnTo>
                    <a:lnTo>
                      <a:pt x="31" y="69"/>
                    </a:lnTo>
                    <a:lnTo>
                      <a:pt x="51" y="69"/>
                    </a:lnTo>
                    <a:lnTo>
                      <a:pt x="53" y="56"/>
                    </a:lnTo>
                    <a:lnTo>
                      <a:pt x="48" y="38"/>
                    </a:lnTo>
                    <a:lnTo>
                      <a:pt x="43" y="27"/>
                    </a:lnTo>
                    <a:lnTo>
                      <a:pt x="53" y="17"/>
                    </a:lnTo>
                    <a:lnTo>
                      <a:pt x="32" y="17"/>
                    </a:lnTo>
                    <a:lnTo>
                      <a:pt x="18" y="14"/>
                    </a:lnTo>
                    <a:lnTo>
                      <a:pt x="2" y="0"/>
                    </a:lnTo>
                    <a:lnTo>
                      <a:pt x="24" y="38"/>
                    </a:lnTo>
                    <a:lnTo>
                      <a:pt x="23" y="62"/>
                    </a:lnTo>
                    <a:lnTo>
                      <a:pt x="11" y="73"/>
                    </a:lnTo>
                    <a:lnTo>
                      <a:pt x="0" y="141"/>
                    </a:lnTo>
                    <a:lnTo>
                      <a:pt x="8" y="163"/>
                    </a:lnTo>
                    <a:lnTo>
                      <a:pt x="3" y="199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grpSp>
            <p:nvGrpSpPr>
              <p:cNvPr id="520" name="Group 210">
                <a:extLst>
                  <a:ext uri="{FF2B5EF4-FFF2-40B4-BE49-F238E27FC236}">
                    <a16:creationId xmlns:a16="http://schemas.microsoft.com/office/drawing/2014/main" id="{3844ED49-85D0-05E2-38ED-DAE565706C19}"/>
                  </a:ext>
                </a:extLst>
              </p:cNvPr>
              <p:cNvGrpSpPr/>
              <p:nvPr/>
            </p:nvGrpSpPr>
            <p:grpSpPr>
              <a:xfrm>
                <a:off x="5149851" y="1228725"/>
                <a:ext cx="1317625" cy="265113"/>
                <a:chOff x="5149851" y="1228725"/>
                <a:chExt cx="1317625" cy="265113"/>
              </a:xfrm>
              <a:grpFill/>
            </p:grpSpPr>
            <p:sp>
              <p:nvSpPr>
                <p:cNvPr id="530" name="Freeform 53">
                  <a:extLst>
                    <a:ext uri="{FF2B5EF4-FFF2-40B4-BE49-F238E27FC236}">
                      <a16:creationId xmlns:a16="http://schemas.microsoft.com/office/drawing/2014/main" id="{F79C3B4C-C80A-097F-C777-A556322FD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6376" y="1379538"/>
                  <a:ext cx="44450" cy="50800"/>
                </a:xfrm>
                <a:custGeom>
                  <a:avLst/>
                  <a:gdLst>
                    <a:gd name="T0" fmla="*/ 1 w 28"/>
                    <a:gd name="T1" fmla="*/ 26 h 32"/>
                    <a:gd name="T2" fmla="*/ 8 w 28"/>
                    <a:gd name="T3" fmla="*/ 32 h 32"/>
                    <a:gd name="T4" fmla="*/ 28 w 28"/>
                    <a:gd name="T5" fmla="*/ 24 h 32"/>
                    <a:gd name="T6" fmla="*/ 28 w 28"/>
                    <a:gd name="T7" fmla="*/ 0 h 32"/>
                    <a:gd name="T8" fmla="*/ 8 w 28"/>
                    <a:gd name="T9" fmla="*/ 5 h 32"/>
                    <a:gd name="T10" fmla="*/ 0 w 28"/>
                    <a:gd name="T11" fmla="*/ 13 h 32"/>
                    <a:gd name="T12" fmla="*/ 1 w 28"/>
                    <a:gd name="T13" fmla="*/ 2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2">
                      <a:moveTo>
                        <a:pt x="1" y="26"/>
                      </a:moveTo>
                      <a:lnTo>
                        <a:pt x="8" y="32"/>
                      </a:lnTo>
                      <a:lnTo>
                        <a:pt x="28" y="24"/>
                      </a:lnTo>
                      <a:lnTo>
                        <a:pt x="28" y="0"/>
                      </a:lnTo>
                      <a:lnTo>
                        <a:pt x="8" y="5"/>
                      </a:lnTo>
                      <a:lnTo>
                        <a:pt x="0" y="13"/>
                      </a:lnTo>
                      <a:lnTo>
                        <a:pt x="1" y="2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31" name="Freeform 54">
                  <a:extLst>
                    <a:ext uri="{FF2B5EF4-FFF2-40B4-BE49-F238E27FC236}">
                      <a16:creationId xmlns:a16="http://schemas.microsoft.com/office/drawing/2014/main" id="{B56AE504-F01C-FD7C-42D3-DC942DA8BF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9388" y="1311275"/>
                  <a:ext cx="44450" cy="14288"/>
                </a:xfrm>
                <a:custGeom>
                  <a:avLst/>
                  <a:gdLst>
                    <a:gd name="T0" fmla="*/ 10 w 28"/>
                    <a:gd name="T1" fmla="*/ 0 h 9"/>
                    <a:gd name="T2" fmla="*/ 0 w 28"/>
                    <a:gd name="T3" fmla="*/ 9 h 9"/>
                    <a:gd name="T4" fmla="*/ 13 w 28"/>
                    <a:gd name="T5" fmla="*/ 9 h 9"/>
                    <a:gd name="T6" fmla="*/ 28 w 28"/>
                    <a:gd name="T7" fmla="*/ 0 h 9"/>
                    <a:gd name="T8" fmla="*/ 10 w 28"/>
                    <a:gd name="T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9">
                      <a:moveTo>
                        <a:pt x="10" y="0"/>
                      </a:moveTo>
                      <a:lnTo>
                        <a:pt x="0" y="9"/>
                      </a:lnTo>
                      <a:lnTo>
                        <a:pt x="13" y="9"/>
                      </a:lnTo>
                      <a:lnTo>
                        <a:pt x="28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32" name="Freeform 55">
                  <a:extLst>
                    <a:ext uri="{FF2B5EF4-FFF2-40B4-BE49-F238E27FC236}">
                      <a16:creationId xmlns:a16="http://schemas.microsoft.com/office/drawing/2014/main" id="{19A5A918-14FC-16B1-438F-7E6AFD3A00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9851" y="1270000"/>
                  <a:ext cx="49213" cy="68263"/>
                </a:xfrm>
                <a:custGeom>
                  <a:avLst/>
                  <a:gdLst>
                    <a:gd name="T0" fmla="*/ 21 w 31"/>
                    <a:gd name="T1" fmla="*/ 13 h 43"/>
                    <a:gd name="T2" fmla="*/ 17 w 31"/>
                    <a:gd name="T3" fmla="*/ 0 h 43"/>
                    <a:gd name="T4" fmla="*/ 0 w 31"/>
                    <a:gd name="T5" fmla="*/ 19 h 43"/>
                    <a:gd name="T6" fmla="*/ 10 w 31"/>
                    <a:gd name="T7" fmla="*/ 27 h 43"/>
                    <a:gd name="T8" fmla="*/ 21 w 31"/>
                    <a:gd name="T9" fmla="*/ 43 h 43"/>
                    <a:gd name="T10" fmla="*/ 31 w 31"/>
                    <a:gd name="T11" fmla="*/ 43 h 43"/>
                    <a:gd name="T12" fmla="*/ 25 w 31"/>
                    <a:gd name="T13" fmla="*/ 26 h 43"/>
                    <a:gd name="T14" fmla="*/ 21 w 31"/>
                    <a:gd name="T15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43">
                      <a:moveTo>
                        <a:pt x="21" y="13"/>
                      </a:moveTo>
                      <a:lnTo>
                        <a:pt x="17" y="0"/>
                      </a:lnTo>
                      <a:lnTo>
                        <a:pt x="0" y="19"/>
                      </a:lnTo>
                      <a:lnTo>
                        <a:pt x="10" y="27"/>
                      </a:lnTo>
                      <a:lnTo>
                        <a:pt x="21" y="43"/>
                      </a:lnTo>
                      <a:lnTo>
                        <a:pt x="31" y="43"/>
                      </a:lnTo>
                      <a:lnTo>
                        <a:pt x="25" y="26"/>
                      </a:ln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33" name="Freeform 56">
                  <a:extLst>
                    <a:ext uri="{FF2B5EF4-FFF2-40B4-BE49-F238E27FC236}">
                      <a16:creationId xmlns:a16="http://schemas.microsoft.com/office/drawing/2014/main" id="{D298588C-1456-C485-0FB6-C7E0A552BD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3826" y="1228725"/>
                  <a:ext cx="82550" cy="58738"/>
                </a:xfrm>
                <a:custGeom>
                  <a:avLst/>
                  <a:gdLst>
                    <a:gd name="T0" fmla="*/ 52 w 52"/>
                    <a:gd name="T1" fmla="*/ 8 h 37"/>
                    <a:gd name="T2" fmla="*/ 39 w 52"/>
                    <a:gd name="T3" fmla="*/ 0 h 37"/>
                    <a:gd name="T4" fmla="*/ 10 w 52"/>
                    <a:gd name="T5" fmla="*/ 0 h 37"/>
                    <a:gd name="T6" fmla="*/ 0 w 52"/>
                    <a:gd name="T7" fmla="*/ 10 h 37"/>
                    <a:gd name="T8" fmla="*/ 0 w 52"/>
                    <a:gd name="T9" fmla="*/ 21 h 37"/>
                    <a:gd name="T10" fmla="*/ 16 w 52"/>
                    <a:gd name="T11" fmla="*/ 37 h 37"/>
                    <a:gd name="T12" fmla="*/ 48 w 52"/>
                    <a:gd name="T13" fmla="*/ 34 h 37"/>
                    <a:gd name="T14" fmla="*/ 52 w 52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37">
                      <a:moveTo>
                        <a:pt x="52" y="8"/>
                      </a:moveTo>
                      <a:lnTo>
                        <a:pt x="39" y="0"/>
                      </a:lnTo>
                      <a:lnTo>
                        <a:pt x="10" y="0"/>
                      </a:lnTo>
                      <a:lnTo>
                        <a:pt x="0" y="10"/>
                      </a:lnTo>
                      <a:lnTo>
                        <a:pt x="0" y="21"/>
                      </a:lnTo>
                      <a:lnTo>
                        <a:pt x="16" y="37"/>
                      </a:lnTo>
                      <a:lnTo>
                        <a:pt x="48" y="34"/>
                      </a:lnTo>
                      <a:lnTo>
                        <a:pt x="52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34" name="Freeform 57">
                  <a:extLst>
                    <a:ext uri="{FF2B5EF4-FFF2-40B4-BE49-F238E27FC236}">
                      <a16:creationId xmlns:a16="http://schemas.microsoft.com/office/drawing/2014/main" id="{C3A257A8-6D20-70B7-4D9D-931A3A4F5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0476" y="1395413"/>
                  <a:ext cx="127000" cy="98425"/>
                </a:xfrm>
                <a:custGeom>
                  <a:avLst/>
                  <a:gdLst>
                    <a:gd name="T0" fmla="*/ 74 w 80"/>
                    <a:gd name="T1" fmla="*/ 42 h 62"/>
                    <a:gd name="T2" fmla="*/ 64 w 80"/>
                    <a:gd name="T3" fmla="*/ 16 h 62"/>
                    <a:gd name="T4" fmla="*/ 34 w 80"/>
                    <a:gd name="T5" fmla="*/ 3 h 62"/>
                    <a:gd name="T6" fmla="*/ 11 w 80"/>
                    <a:gd name="T7" fmla="*/ 0 h 62"/>
                    <a:gd name="T8" fmla="*/ 0 w 80"/>
                    <a:gd name="T9" fmla="*/ 17 h 62"/>
                    <a:gd name="T10" fmla="*/ 0 w 80"/>
                    <a:gd name="T11" fmla="*/ 42 h 62"/>
                    <a:gd name="T12" fmla="*/ 19 w 80"/>
                    <a:gd name="T13" fmla="*/ 42 h 62"/>
                    <a:gd name="T14" fmla="*/ 23 w 80"/>
                    <a:gd name="T15" fmla="*/ 53 h 62"/>
                    <a:gd name="T16" fmla="*/ 32 w 80"/>
                    <a:gd name="T17" fmla="*/ 62 h 62"/>
                    <a:gd name="T18" fmla="*/ 47 w 80"/>
                    <a:gd name="T19" fmla="*/ 59 h 62"/>
                    <a:gd name="T20" fmla="*/ 58 w 80"/>
                    <a:gd name="T21" fmla="*/ 56 h 62"/>
                    <a:gd name="T22" fmla="*/ 80 w 80"/>
                    <a:gd name="T23" fmla="*/ 62 h 62"/>
                    <a:gd name="T24" fmla="*/ 74 w 80"/>
                    <a:gd name="T25" fmla="*/ 4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0" h="62">
                      <a:moveTo>
                        <a:pt x="74" y="42"/>
                      </a:moveTo>
                      <a:lnTo>
                        <a:pt x="64" y="16"/>
                      </a:lnTo>
                      <a:lnTo>
                        <a:pt x="34" y="3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42"/>
                      </a:lnTo>
                      <a:lnTo>
                        <a:pt x="19" y="42"/>
                      </a:lnTo>
                      <a:lnTo>
                        <a:pt x="23" y="53"/>
                      </a:lnTo>
                      <a:lnTo>
                        <a:pt x="32" y="62"/>
                      </a:lnTo>
                      <a:lnTo>
                        <a:pt x="47" y="59"/>
                      </a:lnTo>
                      <a:lnTo>
                        <a:pt x="58" y="56"/>
                      </a:lnTo>
                      <a:lnTo>
                        <a:pt x="80" y="62"/>
                      </a:lnTo>
                      <a:lnTo>
                        <a:pt x="74" y="42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sp>
            <p:nvSpPr>
              <p:cNvPr id="521" name="Freeform 59">
                <a:extLst>
                  <a:ext uri="{FF2B5EF4-FFF2-40B4-BE49-F238E27FC236}">
                    <a16:creationId xmlns:a16="http://schemas.microsoft.com/office/drawing/2014/main" id="{8F6781CB-C684-1A55-32E8-A5D2EB3BE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8026" y="1981200"/>
                <a:ext cx="265113" cy="255588"/>
              </a:xfrm>
              <a:custGeom>
                <a:avLst/>
                <a:gdLst>
                  <a:gd name="T0" fmla="*/ 19 w 167"/>
                  <a:gd name="T1" fmla="*/ 124 h 161"/>
                  <a:gd name="T2" fmla="*/ 30 w 167"/>
                  <a:gd name="T3" fmla="*/ 133 h 161"/>
                  <a:gd name="T4" fmla="*/ 37 w 167"/>
                  <a:gd name="T5" fmla="*/ 146 h 161"/>
                  <a:gd name="T6" fmla="*/ 50 w 167"/>
                  <a:gd name="T7" fmla="*/ 135 h 161"/>
                  <a:gd name="T8" fmla="*/ 50 w 167"/>
                  <a:gd name="T9" fmla="*/ 152 h 161"/>
                  <a:gd name="T10" fmla="*/ 59 w 167"/>
                  <a:gd name="T11" fmla="*/ 144 h 161"/>
                  <a:gd name="T12" fmla="*/ 72 w 167"/>
                  <a:gd name="T13" fmla="*/ 154 h 161"/>
                  <a:gd name="T14" fmla="*/ 78 w 167"/>
                  <a:gd name="T15" fmla="*/ 148 h 161"/>
                  <a:gd name="T16" fmla="*/ 85 w 167"/>
                  <a:gd name="T17" fmla="*/ 136 h 161"/>
                  <a:gd name="T18" fmla="*/ 90 w 167"/>
                  <a:gd name="T19" fmla="*/ 127 h 161"/>
                  <a:gd name="T20" fmla="*/ 101 w 167"/>
                  <a:gd name="T21" fmla="*/ 135 h 161"/>
                  <a:gd name="T22" fmla="*/ 103 w 167"/>
                  <a:gd name="T23" fmla="*/ 144 h 161"/>
                  <a:gd name="T24" fmla="*/ 111 w 167"/>
                  <a:gd name="T25" fmla="*/ 144 h 161"/>
                  <a:gd name="T26" fmla="*/ 119 w 167"/>
                  <a:gd name="T27" fmla="*/ 156 h 161"/>
                  <a:gd name="T28" fmla="*/ 139 w 167"/>
                  <a:gd name="T29" fmla="*/ 161 h 161"/>
                  <a:gd name="T30" fmla="*/ 144 w 167"/>
                  <a:gd name="T31" fmla="*/ 152 h 161"/>
                  <a:gd name="T32" fmla="*/ 165 w 167"/>
                  <a:gd name="T33" fmla="*/ 148 h 161"/>
                  <a:gd name="T34" fmla="*/ 167 w 167"/>
                  <a:gd name="T35" fmla="*/ 136 h 161"/>
                  <a:gd name="T36" fmla="*/ 159 w 167"/>
                  <a:gd name="T37" fmla="*/ 138 h 161"/>
                  <a:gd name="T38" fmla="*/ 139 w 167"/>
                  <a:gd name="T39" fmla="*/ 116 h 161"/>
                  <a:gd name="T40" fmla="*/ 138 w 167"/>
                  <a:gd name="T41" fmla="*/ 106 h 161"/>
                  <a:gd name="T42" fmla="*/ 117 w 167"/>
                  <a:gd name="T43" fmla="*/ 100 h 161"/>
                  <a:gd name="T44" fmla="*/ 117 w 167"/>
                  <a:gd name="T45" fmla="*/ 80 h 161"/>
                  <a:gd name="T46" fmla="*/ 131 w 167"/>
                  <a:gd name="T47" fmla="*/ 77 h 161"/>
                  <a:gd name="T48" fmla="*/ 131 w 167"/>
                  <a:gd name="T49" fmla="*/ 58 h 161"/>
                  <a:gd name="T50" fmla="*/ 133 w 167"/>
                  <a:gd name="T51" fmla="*/ 50 h 161"/>
                  <a:gd name="T52" fmla="*/ 119 w 167"/>
                  <a:gd name="T53" fmla="*/ 34 h 161"/>
                  <a:gd name="T54" fmla="*/ 115 w 167"/>
                  <a:gd name="T55" fmla="*/ 16 h 161"/>
                  <a:gd name="T56" fmla="*/ 127 w 167"/>
                  <a:gd name="T57" fmla="*/ 16 h 161"/>
                  <a:gd name="T58" fmla="*/ 131 w 167"/>
                  <a:gd name="T59" fmla="*/ 10 h 161"/>
                  <a:gd name="T60" fmla="*/ 131 w 167"/>
                  <a:gd name="T61" fmla="*/ 3 h 161"/>
                  <a:gd name="T62" fmla="*/ 119 w 167"/>
                  <a:gd name="T63" fmla="*/ 0 h 161"/>
                  <a:gd name="T64" fmla="*/ 114 w 167"/>
                  <a:gd name="T65" fmla="*/ 8 h 161"/>
                  <a:gd name="T66" fmla="*/ 107 w 167"/>
                  <a:gd name="T67" fmla="*/ 8 h 161"/>
                  <a:gd name="T68" fmla="*/ 98 w 167"/>
                  <a:gd name="T69" fmla="*/ 8 h 161"/>
                  <a:gd name="T70" fmla="*/ 98 w 167"/>
                  <a:gd name="T71" fmla="*/ 32 h 161"/>
                  <a:gd name="T72" fmla="*/ 75 w 167"/>
                  <a:gd name="T73" fmla="*/ 27 h 161"/>
                  <a:gd name="T74" fmla="*/ 69 w 167"/>
                  <a:gd name="T75" fmla="*/ 47 h 161"/>
                  <a:gd name="T76" fmla="*/ 50 w 167"/>
                  <a:gd name="T77" fmla="*/ 39 h 161"/>
                  <a:gd name="T78" fmla="*/ 46 w 167"/>
                  <a:gd name="T79" fmla="*/ 50 h 161"/>
                  <a:gd name="T80" fmla="*/ 35 w 167"/>
                  <a:gd name="T81" fmla="*/ 66 h 161"/>
                  <a:gd name="T82" fmla="*/ 24 w 167"/>
                  <a:gd name="T83" fmla="*/ 72 h 161"/>
                  <a:gd name="T84" fmla="*/ 11 w 167"/>
                  <a:gd name="T85" fmla="*/ 50 h 161"/>
                  <a:gd name="T86" fmla="*/ 6 w 167"/>
                  <a:gd name="T87" fmla="*/ 71 h 161"/>
                  <a:gd name="T88" fmla="*/ 0 w 167"/>
                  <a:gd name="T89" fmla="*/ 85 h 161"/>
                  <a:gd name="T90" fmla="*/ 9 w 167"/>
                  <a:gd name="T91" fmla="*/ 88 h 161"/>
                  <a:gd name="T92" fmla="*/ 46 w 167"/>
                  <a:gd name="T93" fmla="*/ 88 h 161"/>
                  <a:gd name="T94" fmla="*/ 53 w 167"/>
                  <a:gd name="T95" fmla="*/ 95 h 161"/>
                  <a:gd name="T96" fmla="*/ 62 w 167"/>
                  <a:gd name="T97" fmla="*/ 119 h 161"/>
                  <a:gd name="T98" fmla="*/ 45 w 167"/>
                  <a:gd name="T99" fmla="*/ 103 h 161"/>
                  <a:gd name="T100" fmla="*/ 13 w 167"/>
                  <a:gd name="T101" fmla="*/ 100 h 161"/>
                  <a:gd name="T102" fmla="*/ 19 w 167"/>
                  <a:gd name="T103" fmla="*/ 114 h 161"/>
                  <a:gd name="T104" fmla="*/ 19 w 167"/>
                  <a:gd name="T105" fmla="*/ 124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7" h="161">
                    <a:moveTo>
                      <a:pt x="19" y="124"/>
                    </a:moveTo>
                    <a:lnTo>
                      <a:pt x="30" y="133"/>
                    </a:lnTo>
                    <a:lnTo>
                      <a:pt x="37" y="146"/>
                    </a:lnTo>
                    <a:lnTo>
                      <a:pt x="50" y="135"/>
                    </a:lnTo>
                    <a:lnTo>
                      <a:pt x="50" y="152"/>
                    </a:lnTo>
                    <a:lnTo>
                      <a:pt x="59" y="144"/>
                    </a:lnTo>
                    <a:lnTo>
                      <a:pt x="72" y="154"/>
                    </a:lnTo>
                    <a:lnTo>
                      <a:pt x="78" y="148"/>
                    </a:lnTo>
                    <a:lnTo>
                      <a:pt x="85" y="136"/>
                    </a:lnTo>
                    <a:lnTo>
                      <a:pt x="90" y="127"/>
                    </a:lnTo>
                    <a:lnTo>
                      <a:pt x="101" y="135"/>
                    </a:lnTo>
                    <a:lnTo>
                      <a:pt x="103" y="144"/>
                    </a:lnTo>
                    <a:lnTo>
                      <a:pt x="111" y="144"/>
                    </a:lnTo>
                    <a:lnTo>
                      <a:pt x="119" y="156"/>
                    </a:lnTo>
                    <a:lnTo>
                      <a:pt x="139" y="161"/>
                    </a:lnTo>
                    <a:lnTo>
                      <a:pt x="144" y="152"/>
                    </a:lnTo>
                    <a:lnTo>
                      <a:pt x="165" y="148"/>
                    </a:lnTo>
                    <a:lnTo>
                      <a:pt x="167" y="136"/>
                    </a:lnTo>
                    <a:lnTo>
                      <a:pt x="159" y="138"/>
                    </a:lnTo>
                    <a:lnTo>
                      <a:pt x="139" y="116"/>
                    </a:lnTo>
                    <a:lnTo>
                      <a:pt x="138" y="106"/>
                    </a:lnTo>
                    <a:lnTo>
                      <a:pt x="117" y="100"/>
                    </a:lnTo>
                    <a:lnTo>
                      <a:pt x="117" y="80"/>
                    </a:lnTo>
                    <a:lnTo>
                      <a:pt x="131" y="77"/>
                    </a:lnTo>
                    <a:lnTo>
                      <a:pt x="131" y="58"/>
                    </a:lnTo>
                    <a:lnTo>
                      <a:pt x="133" y="50"/>
                    </a:lnTo>
                    <a:lnTo>
                      <a:pt x="119" y="34"/>
                    </a:lnTo>
                    <a:lnTo>
                      <a:pt x="115" y="16"/>
                    </a:lnTo>
                    <a:lnTo>
                      <a:pt x="127" y="16"/>
                    </a:lnTo>
                    <a:lnTo>
                      <a:pt x="131" y="10"/>
                    </a:lnTo>
                    <a:lnTo>
                      <a:pt x="131" y="3"/>
                    </a:lnTo>
                    <a:lnTo>
                      <a:pt x="119" y="0"/>
                    </a:lnTo>
                    <a:lnTo>
                      <a:pt x="114" y="8"/>
                    </a:lnTo>
                    <a:lnTo>
                      <a:pt x="107" y="8"/>
                    </a:lnTo>
                    <a:lnTo>
                      <a:pt x="98" y="8"/>
                    </a:lnTo>
                    <a:lnTo>
                      <a:pt x="98" y="32"/>
                    </a:lnTo>
                    <a:lnTo>
                      <a:pt x="75" y="27"/>
                    </a:lnTo>
                    <a:lnTo>
                      <a:pt x="69" y="47"/>
                    </a:lnTo>
                    <a:lnTo>
                      <a:pt x="50" y="39"/>
                    </a:lnTo>
                    <a:lnTo>
                      <a:pt x="46" y="50"/>
                    </a:lnTo>
                    <a:lnTo>
                      <a:pt x="35" y="66"/>
                    </a:lnTo>
                    <a:lnTo>
                      <a:pt x="24" y="72"/>
                    </a:lnTo>
                    <a:lnTo>
                      <a:pt x="11" y="50"/>
                    </a:lnTo>
                    <a:lnTo>
                      <a:pt x="6" y="71"/>
                    </a:lnTo>
                    <a:lnTo>
                      <a:pt x="0" y="85"/>
                    </a:lnTo>
                    <a:lnTo>
                      <a:pt x="9" y="88"/>
                    </a:lnTo>
                    <a:lnTo>
                      <a:pt x="46" y="88"/>
                    </a:lnTo>
                    <a:lnTo>
                      <a:pt x="53" y="95"/>
                    </a:lnTo>
                    <a:lnTo>
                      <a:pt x="62" y="119"/>
                    </a:lnTo>
                    <a:lnTo>
                      <a:pt x="45" y="103"/>
                    </a:lnTo>
                    <a:lnTo>
                      <a:pt x="13" y="100"/>
                    </a:lnTo>
                    <a:lnTo>
                      <a:pt x="19" y="114"/>
                    </a:lnTo>
                    <a:lnTo>
                      <a:pt x="19" y="1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grpSp>
            <p:nvGrpSpPr>
              <p:cNvPr id="522" name="Group 212">
                <a:extLst>
                  <a:ext uri="{FF2B5EF4-FFF2-40B4-BE49-F238E27FC236}">
                    <a16:creationId xmlns:a16="http://schemas.microsoft.com/office/drawing/2014/main" id="{59FD5852-E558-D014-95DE-F4E5B6377463}"/>
                  </a:ext>
                </a:extLst>
              </p:cNvPr>
              <p:cNvGrpSpPr/>
              <p:nvPr/>
            </p:nvGrpSpPr>
            <p:grpSpPr>
              <a:xfrm>
                <a:off x="4446588" y="1955800"/>
                <a:ext cx="504826" cy="157163"/>
                <a:chOff x="4446588" y="1955800"/>
                <a:chExt cx="504826" cy="157163"/>
              </a:xfrm>
              <a:grpFill/>
            </p:grpSpPr>
            <p:sp>
              <p:nvSpPr>
                <p:cNvPr id="524" name="Freeform 60">
                  <a:extLst>
                    <a:ext uri="{FF2B5EF4-FFF2-40B4-BE49-F238E27FC236}">
                      <a16:creationId xmlns:a16="http://schemas.microsoft.com/office/drawing/2014/main" id="{4D66BB11-BD09-18DA-F184-CEAB071138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6588" y="2085975"/>
                  <a:ext cx="53975" cy="26988"/>
                </a:xfrm>
                <a:custGeom>
                  <a:avLst/>
                  <a:gdLst>
                    <a:gd name="T0" fmla="*/ 28 w 34"/>
                    <a:gd name="T1" fmla="*/ 17 h 17"/>
                    <a:gd name="T2" fmla="*/ 23 w 34"/>
                    <a:gd name="T3" fmla="*/ 8 h 17"/>
                    <a:gd name="T4" fmla="*/ 34 w 34"/>
                    <a:gd name="T5" fmla="*/ 0 h 17"/>
                    <a:gd name="T6" fmla="*/ 0 w 34"/>
                    <a:gd name="T7" fmla="*/ 0 h 17"/>
                    <a:gd name="T8" fmla="*/ 0 w 34"/>
                    <a:gd name="T9" fmla="*/ 13 h 17"/>
                    <a:gd name="T10" fmla="*/ 12 w 34"/>
                    <a:gd name="T11" fmla="*/ 17 h 17"/>
                    <a:gd name="T12" fmla="*/ 28 w 34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7">
                      <a:moveTo>
                        <a:pt x="28" y="17"/>
                      </a:moveTo>
                      <a:lnTo>
                        <a:pt x="23" y="8"/>
                      </a:lnTo>
                      <a:lnTo>
                        <a:pt x="34" y="0"/>
                      </a:ln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7"/>
                      </a:lnTo>
                      <a:lnTo>
                        <a:pt x="28" y="17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25" name="Freeform 61">
                  <a:extLst>
                    <a:ext uri="{FF2B5EF4-FFF2-40B4-BE49-F238E27FC236}">
                      <a16:creationId xmlns:a16="http://schemas.microsoft.com/office/drawing/2014/main" id="{6B2827EC-1EBD-8165-082A-04BB13E645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7076" y="2027238"/>
                  <a:ext cx="85725" cy="42863"/>
                </a:xfrm>
                <a:custGeom>
                  <a:avLst/>
                  <a:gdLst>
                    <a:gd name="T0" fmla="*/ 12 w 54"/>
                    <a:gd name="T1" fmla="*/ 13 h 27"/>
                    <a:gd name="T2" fmla="*/ 24 w 54"/>
                    <a:gd name="T3" fmla="*/ 6 h 27"/>
                    <a:gd name="T4" fmla="*/ 54 w 54"/>
                    <a:gd name="T5" fmla="*/ 0 h 27"/>
                    <a:gd name="T6" fmla="*/ 24 w 54"/>
                    <a:gd name="T7" fmla="*/ 0 h 27"/>
                    <a:gd name="T8" fmla="*/ 0 w 54"/>
                    <a:gd name="T9" fmla="*/ 8 h 27"/>
                    <a:gd name="T10" fmla="*/ 0 w 54"/>
                    <a:gd name="T11" fmla="*/ 18 h 27"/>
                    <a:gd name="T12" fmla="*/ 8 w 54"/>
                    <a:gd name="T13" fmla="*/ 27 h 27"/>
                    <a:gd name="T14" fmla="*/ 12 w 54"/>
                    <a:gd name="T15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27">
                      <a:moveTo>
                        <a:pt x="12" y="13"/>
                      </a:moveTo>
                      <a:lnTo>
                        <a:pt x="24" y="6"/>
                      </a:lnTo>
                      <a:lnTo>
                        <a:pt x="54" y="0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26" name="Freeform 62">
                  <a:extLst>
                    <a:ext uri="{FF2B5EF4-FFF2-40B4-BE49-F238E27FC236}">
                      <a16:creationId xmlns:a16="http://schemas.microsoft.com/office/drawing/2014/main" id="{76DCDFC3-2835-C857-EF30-FA1283ED0E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9313" y="1989138"/>
                  <a:ext cx="80963" cy="26988"/>
                </a:xfrm>
                <a:custGeom>
                  <a:avLst/>
                  <a:gdLst>
                    <a:gd name="T0" fmla="*/ 51 w 51"/>
                    <a:gd name="T1" fmla="*/ 8 h 17"/>
                    <a:gd name="T2" fmla="*/ 29 w 51"/>
                    <a:gd name="T3" fmla="*/ 0 h 17"/>
                    <a:gd name="T4" fmla="*/ 4 w 51"/>
                    <a:gd name="T5" fmla="*/ 3 h 17"/>
                    <a:gd name="T6" fmla="*/ 0 w 51"/>
                    <a:gd name="T7" fmla="*/ 17 h 17"/>
                    <a:gd name="T8" fmla="*/ 27 w 51"/>
                    <a:gd name="T9" fmla="*/ 14 h 17"/>
                    <a:gd name="T10" fmla="*/ 51 w 51"/>
                    <a:gd name="T11" fmla="*/ 8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17">
                      <a:moveTo>
                        <a:pt x="51" y="8"/>
                      </a:moveTo>
                      <a:lnTo>
                        <a:pt x="29" y="0"/>
                      </a:lnTo>
                      <a:lnTo>
                        <a:pt x="4" y="3"/>
                      </a:lnTo>
                      <a:lnTo>
                        <a:pt x="0" y="17"/>
                      </a:lnTo>
                      <a:lnTo>
                        <a:pt x="27" y="14"/>
                      </a:lnTo>
                      <a:lnTo>
                        <a:pt x="51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27" name="Freeform 63">
                  <a:extLst>
                    <a:ext uri="{FF2B5EF4-FFF2-40B4-BE49-F238E27FC236}">
                      <a16:creationId xmlns:a16="http://schemas.microsoft.com/office/drawing/2014/main" id="{087053AA-1826-02A1-D436-CD273F33FA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3151" y="1955800"/>
                  <a:ext cx="68263" cy="22225"/>
                </a:xfrm>
                <a:custGeom>
                  <a:avLst/>
                  <a:gdLst>
                    <a:gd name="T0" fmla="*/ 43 w 43"/>
                    <a:gd name="T1" fmla="*/ 0 h 14"/>
                    <a:gd name="T2" fmla="*/ 6 w 43"/>
                    <a:gd name="T3" fmla="*/ 0 h 14"/>
                    <a:gd name="T4" fmla="*/ 0 w 43"/>
                    <a:gd name="T5" fmla="*/ 14 h 14"/>
                    <a:gd name="T6" fmla="*/ 21 w 43"/>
                    <a:gd name="T7" fmla="*/ 11 h 14"/>
                    <a:gd name="T8" fmla="*/ 43 w 43"/>
                    <a:gd name="T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14">
                      <a:moveTo>
                        <a:pt x="43" y="0"/>
                      </a:moveTo>
                      <a:lnTo>
                        <a:pt x="6" y="0"/>
                      </a:lnTo>
                      <a:lnTo>
                        <a:pt x="0" y="14"/>
                      </a:lnTo>
                      <a:lnTo>
                        <a:pt x="21" y="11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28" name="Freeform 64">
                  <a:extLst>
                    <a:ext uri="{FF2B5EF4-FFF2-40B4-BE49-F238E27FC236}">
                      <a16:creationId xmlns:a16="http://schemas.microsoft.com/office/drawing/2014/main" id="{56D099F3-A19A-0F9F-DC5E-C9DDACBAFE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0913" y="1989138"/>
                  <a:ext cx="17463" cy="9525"/>
                </a:xfrm>
                <a:custGeom>
                  <a:avLst/>
                  <a:gdLst>
                    <a:gd name="T0" fmla="*/ 11 w 11"/>
                    <a:gd name="T1" fmla="*/ 0 h 6"/>
                    <a:gd name="T2" fmla="*/ 0 w 11"/>
                    <a:gd name="T3" fmla="*/ 0 h 6"/>
                    <a:gd name="T4" fmla="*/ 0 w 11"/>
                    <a:gd name="T5" fmla="*/ 6 h 6"/>
                    <a:gd name="T6" fmla="*/ 11 w 11"/>
                    <a:gd name="T7" fmla="*/ 5 h 6"/>
                    <a:gd name="T8" fmla="*/ 11 w 1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6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1" y="5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29" name="Freeform 65">
                  <a:extLst>
                    <a:ext uri="{FF2B5EF4-FFF2-40B4-BE49-F238E27FC236}">
                      <a16:creationId xmlns:a16="http://schemas.microsoft.com/office/drawing/2014/main" id="{B55BA44F-F86A-4446-6543-3CAEAF933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5838" y="1978025"/>
                  <a:ext cx="36513" cy="25400"/>
                </a:xfrm>
                <a:custGeom>
                  <a:avLst/>
                  <a:gdLst>
                    <a:gd name="T0" fmla="*/ 13 w 23"/>
                    <a:gd name="T1" fmla="*/ 13 h 16"/>
                    <a:gd name="T2" fmla="*/ 23 w 23"/>
                    <a:gd name="T3" fmla="*/ 4 h 16"/>
                    <a:gd name="T4" fmla="*/ 0 w 23"/>
                    <a:gd name="T5" fmla="*/ 0 h 16"/>
                    <a:gd name="T6" fmla="*/ 4 w 23"/>
                    <a:gd name="T7" fmla="*/ 16 h 16"/>
                    <a:gd name="T8" fmla="*/ 13 w 23"/>
                    <a:gd name="T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6">
                      <a:moveTo>
                        <a:pt x="13" y="13"/>
                      </a:moveTo>
                      <a:lnTo>
                        <a:pt x="23" y="4"/>
                      </a:lnTo>
                      <a:lnTo>
                        <a:pt x="0" y="0"/>
                      </a:lnTo>
                      <a:lnTo>
                        <a:pt x="4" y="16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sp>
            <p:nvSpPr>
              <p:cNvPr id="523" name="Freeform 68">
                <a:extLst>
                  <a:ext uri="{FF2B5EF4-FFF2-40B4-BE49-F238E27FC236}">
                    <a16:creationId xmlns:a16="http://schemas.microsoft.com/office/drawing/2014/main" id="{E5A833EB-0D25-FED4-84EB-6C03C94F7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5830" y="1357322"/>
                <a:ext cx="34923" cy="73024"/>
              </a:xfrm>
              <a:custGeom>
                <a:avLst/>
                <a:gdLst>
                  <a:gd name="T0" fmla="*/ 16 w 22"/>
                  <a:gd name="T1" fmla="*/ 6 h 46"/>
                  <a:gd name="T2" fmla="*/ 22 w 22"/>
                  <a:gd name="T3" fmla="*/ 0 h 46"/>
                  <a:gd name="T4" fmla="*/ 6 w 22"/>
                  <a:gd name="T5" fmla="*/ 0 h 46"/>
                  <a:gd name="T6" fmla="*/ 0 w 22"/>
                  <a:gd name="T7" fmla="*/ 35 h 46"/>
                  <a:gd name="T8" fmla="*/ 0 w 22"/>
                  <a:gd name="T9" fmla="*/ 46 h 46"/>
                  <a:gd name="T10" fmla="*/ 6 w 22"/>
                  <a:gd name="T11" fmla="*/ 24 h 46"/>
                  <a:gd name="T12" fmla="*/ 16 w 22"/>
                  <a:gd name="T1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46">
                    <a:moveTo>
                      <a:pt x="16" y="6"/>
                    </a:moveTo>
                    <a:lnTo>
                      <a:pt x="22" y="0"/>
                    </a:lnTo>
                    <a:lnTo>
                      <a:pt x="6" y="0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6" y="2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grpSp>
          <p:nvGrpSpPr>
            <p:cNvPr id="449" name="Group 334">
              <a:extLst>
                <a:ext uri="{FF2B5EF4-FFF2-40B4-BE49-F238E27FC236}">
                  <a16:creationId xmlns:a16="http://schemas.microsoft.com/office/drawing/2014/main" id="{5D2BD569-74A7-ABE1-D331-57AE285557CA}"/>
                </a:ext>
              </a:extLst>
            </p:cNvPr>
            <p:cNvGrpSpPr/>
            <p:nvPr/>
          </p:nvGrpSpPr>
          <p:grpSpPr>
            <a:xfrm>
              <a:off x="5439729" y="1126149"/>
              <a:ext cx="4911391" cy="1733141"/>
              <a:chOff x="5439729" y="1126149"/>
              <a:chExt cx="4911391" cy="1733141"/>
            </a:xfrm>
            <a:grpFill/>
          </p:grpSpPr>
          <p:sp>
            <p:nvSpPr>
              <p:cNvPr id="450" name="United Kingdo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9E5E33B-1795-7AD2-51C7-58DE217A738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31962" y="1741706"/>
                <a:ext cx="258961" cy="370754"/>
              </a:xfrm>
              <a:custGeom>
                <a:avLst/>
                <a:gdLst>
                  <a:gd name="T0" fmla="*/ 2147483647 w 576"/>
                  <a:gd name="T1" fmla="*/ 2147483647 h 822"/>
                  <a:gd name="T2" fmla="*/ 2147483647 w 576"/>
                  <a:gd name="T3" fmla="*/ 2147483647 h 822"/>
                  <a:gd name="T4" fmla="*/ 2147483647 w 576"/>
                  <a:gd name="T5" fmla="*/ 2147483647 h 822"/>
                  <a:gd name="T6" fmla="*/ 2147483647 w 576"/>
                  <a:gd name="T7" fmla="*/ 2147483647 h 822"/>
                  <a:gd name="T8" fmla="*/ 2147483647 w 576"/>
                  <a:gd name="T9" fmla="*/ 2147483647 h 822"/>
                  <a:gd name="T10" fmla="*/ 2147483647 w 576"/>
                  <a:gd name="T11" fmla="*/ 2147483647 h 822"/>
                  <a:gd name="T12" fmla="*/ 2147483647 w 576"/>
                  <a:gd name="T13" fmla="*/ 2147483647 h 822"/>
                  <a:gd name="T14" fmla="*/ 2147483647 w 576"/>
                  <a:gd name="T15" fmla="*/ 0 h 822"/>
                  <a:gd name="T16" fmla="*/ 2147483647 w 576"/>
                  <a:gd name="T17" fmla="*/ 0 h 822"/>
                  <a:gd name="T18" fmla="*/ 2147483647 w 576"/>
                  <a:gd name="T19" fmla="*/ 2147483647 h 822"/>
                  <a:gd name="T20" fmla="*/ 2147483647 w 576"/>
                  <a:gd name="T21" fmla="*/ 2147483647 h 822"/>
                  <a:gd name="T22" fmla="*/ 2147483647 w 576"/>
                  <a:gd name="T23" fmla="*/ 2147483647 h 822"/>
                  <a:gd name="T24" fmla="*/ 2147483647 w 576"/>
                  <a:gd name="T25" fmla="*/ 2147483647 h 822"/>
                  <a:gd name="T26" fmla="*/ 2147483647 w 576"/>
                  <a:gd name="T27" fmla="*/ 2147483647 h 822"/>
                  <a:gd name="T28" fmla="*/ 2147483647 w 576"/>
                  <a:gd name="T29" fmla="*/ 2147483647 h 822"/>
                  <a:gd name="T30" fmla="*/ 2147483647 w 576"/>
                  <a:gd name="T31" fmla="*/ 2147483647 h 822"/>
                  <a:gd name="T32" fmla="*/ 2147483647 w 576"/>
                  <a:gd name="T33" fmla="*/ 2147483647 h 822"/>
                  <a:gd name="T34" fmla="*/ 2147483647 w 576"/>
                  <a:gd name="T35" fmla="*/ 2147483647 h 822"/>
                  <a:gd name="T36" fmla="*/ 2147483647 w 576"/>
                  <a:gd name="T37" fmla="*/ 2147483647 h 822"/>
                  <a:gd name="T38" fmla="*/ 2147483647 w 576"/>
                  <a:gd name="T39" fmla="*/ 2147483647 h 822"/>
                  <a:gd name="T40" fmla="*/ 2147483647 w 576"/>
                  <a:gd name="T41" fmla="*/ 2147483647 h 822"/>
                  <a:gd name="T42" fmla="*/ 2147483647 w 576"/>
                  <a:gd name="T43" fmla="*/ 2147483647 h 822"/>
                  <a:gd name="T44" fmla="*/ 2147483647 w 576"/>
                  <a:gd name="T45" fmla="*/ 2147483647 h 822"/>
                  <a:gd name="T46" fmla="*/ 2147483647 w 576"/>
                  <a:gd name="T47" fmla="*/ 2147483647 h 822"/>
                  <a:gd name="T48" fmla="*/ 2147483647 w 576"/>
                  <a:gd name="T49" fmla="*/ 2147483647 h 822"/>
                  <a:gd name="T50" fmla="*/ 2147483647 w 576"/>
                  <a:gd name="T51" fmla="*/ 2147483647 h 822"/>
                  <a:gd name="T52" fmla="*/ 2147483647 w 576"/>
                  <a:gd name="T53" fmla="*/ 2147483647 h 822"/>
                  <a:gd name="T54" fmla="*/ 2147483647 w 576"/>
                  <a:gd name="T55" fmla="*/ 2147483647 h 822"/>
                  <a:gd name="T56" fmla="*/ 2147483647 w 576"/>
                  <a:gd name="T57" fmla="*/ 2147483647 h 822"/>
                  <a:gd name="T58" fmla="*/ 2147483647 w 576"/>
                  <a:gd name="T59" fmla="*/ 2147483647 h 822"/>
                  <a:gd name="T60" fmla="*/ 2147483647 w 576"/>
                  <a:gd name="T61" fmla="*/ 2147483647 h 822"/>
                  <a:gd name="T62" fmla="*/ 2147483647 w 576"/>
                  <a:gd name="T63" fmla="*/ 2147483647 h 822"/>
                  <a:gd name="T64" fmla="*/ 2147483647 w 576"/>
                  <a:gd name="T65" fmla="*/ 2147483647 h 822"/>
                  <a:gd name="T66" fmla="*/ 2147483647 w 576"/>
                  <a:gd name="T67" fmla="*/ 2147483647 h 822"/>
                  <a:gd name="T68" fmla="*/ 2147483647 w 576"/>
                  <a:gd name="T69" fmla="*/ 2147483647 h 822"/>
                  <a:gd name="T70" fmla="*/ 2147483647 w 576"/>
                  <a:gd name="T71" fmla="*/ 2147483647 h 822"/>
                  <a:gd name="T72" fmla="*/ 2147483647 w 576"/>
                  <a:gd name="T73" fmla="*/ 2147483647 h 822"/>
                  <a:gd name="T74" fmla="*/ 2147483647 w 576"/>
                  <a:gd name="T75" fmla="*/ 2147483647 h 822"/>
                  <a:gd name="T76" fmla="*/ 2147483647 w 576"/>
                  <a:gd name="T77" fmla="*/ 2147483647 h 822"/>
                  <a:gd name="T78" fmla="*/ 2147483647 w 576"/>
                  <a:gd name="T79" fmla="*/ 2147483647 h 822"/>
                  <a:gd name="T80" fmla="*/ 2147483647 w 576"/>
                  <a:gd name="T81" fmla="*/ 2147483647 h 822"/>
                  <a:gd name="T82" fmla="*/ 2147483647 w 576"/>
                  <a:gd name="T83" fmla="*/ 2147483647 h 822"/>
                  <a:gd name="T84" fmla="*/ 2147483647 w 576"/>
                  <a:gd name="T85" fmla="*/ 2147483647 h 822"/>
                  <a:gd name="T86" fmla="*/ 2147483647 w 576"/>
                  <a:gd name="T87" fmla="*/ 2147483647 h 822"/>
                  <a:gd name="T88" fmla="*/ 2147483647 w 576"/>
                  <a:gd name="T89" fmla="*/ 2147483647 h 822"/>
                  <a:gd name="T90" fmla="*/ 2147483647 w 576"/>
                  <a:gd name="T91" fmla="*/ 2147483647 h 822"/>
                  <a:gd name="T92" fmla="*/ 2147483647 w 576"/>
                  <a:gd name="T93" fmla="*/ 2147483647 h 822"/>
                  <a:gd name="T94" fmla="*/ 2147483647 w 576"/>
                  <a:gd name="T95" fmla="*/ 2147483647 h 822"/>
                  <a:gd name="T96" fmla="*/ 2147483647 w 576"/>
                  <a:gd name="T97" fmla="*/ 2147483647 h 822"/>
                  <a:gd name="T98" fmla="*/ 2147483647 w 576"/>
                  <a:gd name="T99" fmla="*/ 2147483647 h 822"/>
                  <a:gd name="T100" fmla="*/ 2147483647 w 576"/>
                  <a:gd name="T101" fmla="*/ 2147483647 h 822"/>
                  <a:gd name="T102" fmla="*/ 2147483647 w 576"/>
                  <a:gd name="T103" fmla="*/ 2147483647 h 822"/>
                  <a:gd name="T104" fmla="*/ 2147483647 w 576"/>
                  <a:gd name="T105" fmla="*/ 2147483647 h 822"/>
                  <a:gd name="T106" fmla="*/ 2147483647 w 576"/>
                  <a:gd name="T107" fmla="*/ 2147483647 h 822"/>
                  <a:gd name="T108" fmla="*/ 2147483647 w 576"/>
                  <a:gd name="T109" fmla="*/ 2147483647 h 822"/>
                  <a:gd name="T110" fmla="*/ 2147483647 w 576"/>
                  <a:gd name="T111" fmla="*/ 2147483647 h 822"/>
                  <a:gd name="T112" fmla="*/ 2147483647 w 576"/>
                  <a:gd name="T113" fmla="*/ 2147483647 h 822"/>
                  <a:gd name="T114" fmla="*/ 2147483647 w 576"/>
                  <a:gd name="T115" fmla="*/ 2147483647 h 822"/>
                  <a:gd name="T116" fmla="*/ 2147483647 w 576"/>
                  <a:gd name="T117" fmla="*/ 2147483647 h 822"/>
                  <a:gd name="T118" fmla="*/ 2147483647 w 576"/>
                  <a:gd name="T119" fmla="*/ 2147483647 h 822"/>
                  <a:gd name="T120" fmla="*/ 2147483647 w 576"/>
                  <a:gd name="T121" fmla="*/ 2147483647 h 822"/>
                  <a:gd name="T122" fmla="*/ 2147483647 w 576"/>
                  <a:gd name="T123" fmla="*/ 2147483647 h 8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6"/>
                  <a:gd name="T187" fmla="*/ 0 h 822"/>
                  <a:gd name="T188" fmla="*/ 576 w 576"/>
                  <a:gd name="T189" fmla="*/ 822 h 8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6" h="822">
                    <a:moveTo>
                      <a:pt x="162" y="378"/>
                    </a:moveTo>
                    <a:lnTo>
                      <a:pt x="156" y="378"/>
                    </a:lnTo>
                    <a:lnTo>
                      <a:pt x="150" y="384"/>
                    </a:lnTo>
                    <a:lnTo>
                      <a:pt x="150" y="396"/>
                    </a:lnTo>
                    <a:lnTo>
                      <a:pt x="144" y="414"/>
                    </a:lnTo>
                    <a:lnTo>
                      <a:pt x="156" y="402"/>
                    </a:lnTo>
                    <a:lnTo>
                      <a:pt x="162" y="390"/>
                    </a:lnTo>
                    <a:lnTo>
                      <a:pt x="162" y="378"/>
                    </a:lnTo>
                    <a:close/>
                    <a:moveTo>
                      <a:pt x="132" y="312"/>
                    </a:moveTo>
                    <a:lnTo>
                      <a:pt x="126" y="312"/>
                    </a:lnTo>
                    <a:lnTo>
                      <a:pt x="126" y="336"/>
                    </a:lnTo>
                    <a:lnTo>
                      <a:pt x="132" y="336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44" y="318"/>
                    </a:lnTo>
                    <a:lnTo>
                      <a:pt x="138" y="312"/>
                    </a:lnTo>
                    <a:lnTo>
                      <a:pt x="132" y="312"/>
                    </a:lnTo>
                    <a:close/>
                    <a:moveTo>
                      <a:pt x="114" y="390"/>
                    </a:moveTo>
                    <a:lnTo>
                      <a:pt x="126" y="390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72"/>
                    </a:lnTo>
                    <a:lnTo>
                      <a:pt x="108" y="384"/>
                    </a:lnTo>
                    <a:lnTo>
                      <a:pt x="108" y="390"/>
                    </a:lnTo>
                    <a:lnTo>
                      <a:pt x="114" y="390"/>
                    </a:lnTo>
                    <a:close/>
                    <a:moveTo>
                      <a:pt x="330" y="120"/>
                    </a:moveTo>
                    <a:lnTo>
                      <a:pt x="324" y="120"/>
                    </a:lnTo>
                    <a:lnTo>
                      <a:pt x="318" y="126"/>
                    </a:lnTo>
                    <a:lnTo>
                      <a:pt x="318" y="138"/>
                    </a:lnTo>
                    <a:lnTo>
                      <a:pt x="330" y="138"/>
                    </a:lnTo>
                    <a:lnTo>
                      <a:pt x="336" y="126"/>
                    </a:lnTo>
                    <a:lnTo>
                      <a:pt x="330" y="120"/>
                    </a:lnTo>
                    <a:close/>
                    <a:moveTo>
                      <a:pt x="138" y="258"/>
                    </a:moveTo>
                    <a:lnTo>
                      <a:pt x="138" y="234"/>
                    </a:lnTo>
                    <a:lnTo>
                      <a:pt x="126" y="234"/>
                    </a:lnTo>
                    <a:lnTo>
                      <a:pt x="120" y="240"/>
                    </a:lnTo>
                    <a:lnTo>
                      <a:pt x="120" y="246"/>
                    </a:lnTo>
                    <a:lnTo>
                      <a:pt x="126" y="252"/>
                    </a:lnTo>
                    <a:lnTo>
                      <a:pt x="108" y="252"/>
                    </a:lnTo>
                    <a:lnTo>
                      <a:pt x="108" y="258"/>
                    </a:lnTo>
                    <a:lnTo>
                      <a:pt x="114" y="264"/>
                    </a:lnTo>
                    <a:lnTo>
                      <a:pt x="120" y="264"/>
                    </a:lnTo>
                    <a:lnTo>
                      <a:pt x="126" y="270"/>
                    </a:lnTo>
                    <a:lnTo>
                      <a:pt x="150" y="270"/>
                    </a:lnTo>
                    <a:lnTo>
                      <a:pt x="138" y="258"/>
                    </a:lnTo>
                    <a:close/>
                    <a:moveTo>
                      <a:pt x="474" y="0"/>
                    </a:moveTo>
                    <a:lnTo>
                      <a:pt x="468" y="0"/>
                    </a:lnTo>
                    <a:lnTo>
                      <a:pt x="456" y="12"/>
                    </a:lnTo>
                    <a:lnTo>
                      <a:pt x="474" y="12"/>
                    </a:lnTo>
                    <a:lnTo>
                      <a:pt x="474" y="6"/>
                    </a:lnTo>
                    <a:lnTo>
                      <a:pt x="480" y="0"/>
                    </a:lnTo>
                    <a:lnTo>
                      <a:pt x="474" y="0"/>
                    </a:lnTo>
                    <a:close/>
                    <a:moveTo>
                      <a:pt x="432" y="48"/>
                    </a:moveTo>
                    <a:lnTo>
                      <a:pt x="432" y="66"/>
                    </a:lnTo>
                    <a:lnTo>
                      <a:pt x="438" y="66"/>
                    </a:lnTo>
                    <a:lnTo>
                      <a:pt x="444" y="60"/>
                    </a:lnTo>
                    <a:lnTo>
                      <a:pt x="450" y="48"/>
                    </a:lnTo>
                    <a:lnTo>
                      <a:pt x="450" y="24"/>
                    </a:lnTo>
                    <a:lnTo>
                      <a:pt x="438" y="12"/>
                    </a:lnTo>
                    <a:lnTo>
                      <a:pt x="432" y="24"/>
                    </a:lnTo>
                    <a:lnTo>
                      <a:pt x="426" y="30"/>
                    </a:lnTo>
                    <a:lnTo>
                      <a:pt x="420" y="30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2" y="48"/>
                    </a:lnTo>
                    <a:close/>
                    <a:moveTo>
                      <a:pt x="342" y="138"/>
                    </a:moveTo>
                    <a:lnTo>
                      <a:pt x="342" y="150"/>
                    </a:lnTo>
                    <a:lnTo>
                      <a:pt x="354" y="138"/>
                    </a:lnTo>
                    <a:lnTo>
                      <a:pt x="342" y="138"/>
                    </a:lnTo>
                    <a:close/>
                    <a:moveTo>
                      <a:pt x="192" y="402"/>
                    </a:moveTo>
                    <a:lnTo>
                      <a:pt x="192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74" y="390"/>
                    </a:lnTo>
                    <a:lnTo>
                      <a:pt x="174" y="396"/>
                    </a:lnTo>
                    <a:lnTo>
                      <a:pt x="180" y="402"/>
                    </a:lnTo>
                    <a:lnTo>
                      <a:pt x="192" y="402"/>
                    </a:lnTo>
                    <a:close/>
                    <a:moveTo>
                      <a:pt x="504" y="588"/>
                    </a:moveTo>
                    <a:lnTo>
                      <a:pt x="498" y="594"/>
                    </a:lnTo>
                    <a:lnTo>
                      <a:pt x="498" y="600"/>
                    </a:lnTo>
                    <a:lnTo>
                      <a:pt x="480" y="600"/>
                    </a:lnTo>
                    <a:lnTo>
                      <a:pt x="480" y="588"/>
                    </a:lnTo>
                    <a:lnTo>
                      <a:pt x="486" y="576"/>
                    </a:lnTo>
                    <a:lnTo>
                      <a:pt x="498" y="564"/>
                    </a:lnTo>
                    <a:lnTo>
                      <a:pt x="492" y="558"/>
                    </a:lnTo>
                    <a:lnTo>
                      <a:pt x="456" y="540"/>
                    </a:lnTo>
                    <a:lnTo>
                      <a:pt x="450" y="540"/>
                    </a:lnTo>
                    <a:lnTo>
                      <a:pt x="444" y="534"/>
                    </a:lnTo>
                    <a:lnTo>
                      <a:pt x="450" y="534"/>
                    </a:lnTo>
                    <a:lnTo>
                      <a:pt x="456" y="528"/>
                    </a:lnTo>
                    <a:lnTo>
                      <a:pt x="480" y="528"/>
                    </a:lnTo>
                    <a:lnTo>
                      <a:pt x="468" y="516"/>
                    </a:lnTo>
                    <a:lnTo>
                      <a:pt x="468" y="510"/>
                    </a:lnTo>
                    <a:lnTo>
                      <a:pt x="456" y="498"/>
                    </a:lnTo>
                    <a:lnTo>
                      <a:pt x="450" y="486"/>
                    </a:lnTo>
                    <a:lnTo>
                      <a:pt x="432" y="468"/>
                    </a:lnTo>
                    <a:lnTo>
                      <a:pt x="420" y="468"/>
                    </a:lnTo>
                    <a:lnTo>
                      <a:pt x="414" y="456"/>
                    </a:lnTo>
                    <a:lnTo>
                      <a:pt x="402" y="450"/>
                    </a:lnTo>
                    <a:lnTo>
                      <a:pt x="390" y="438"/>
                    </a:lnTo>
                    <a:lnTo>
                      <a:pt x="390" y="414"/>
                    </a:lnTo>
                    <a:lnTo>
                      <a:pt x="396" y="402"/>
                    </a:lnTo>
                    <a:lnTo>
                      <a:pt x="396" y="390"/>
                    </a:lnTo>
                    <a:lnTo>
                      <a:pt x="384" y="390"/>
                    </a:lnTo>
                    <a:lnTo>
                      <a:pt x="378" y="384"/>
                    </a:lnTo>
                    <a:lnTo>
                      <a:pt x="372" y="372"/>
                    </a:lnTo>
                    <a:lnTo>
                      <a:pt x="360" y="360"/>
                    </a:lnTo>
                    <a:lnTo>
                      <a:pt x="342" y="354"/>
                    </a:lnTo>
                    <a:lnTo>
                      <a:pt x="324" y="354"/>
                    </a:lnTo>
                    <a:lnTo>
                      <a:pt x="306" y="360"/>
                    </a:lnTo>
                    <a:lnTo>
                      <a:pt x="294" y="366"/>
                    </a:lnTo>
                    <a:lnTo>
                      <a:pt x="288" y="366"/>
                    </a:lnTo>
                    <a:lnTo>
                      <a:pt x="270" y="348"/>
                    </a:lnTo>
                    <a:lnTo>
                      <a:pt x="282" y="348"/>
                    </a:lnTo>
                    <a:lnTo>
                      <a:pt x="294" y="354"/>
                    </a:lnTo>
                    <a:lnTo>
                      <a:pt x="306" y="354"/>
                    </a:lnTo>
                    <a:lnTo>
                      <a:pt x="330" y="342"/>
                    </a:lnTo>
                    <a:lnTo>
                      <a:pt x="336" y="336"/>
                    </a:lnTo>
                    <a:lnTo>
                      <a:pt x="330" y="336"/>
                    </a:lnTo>
                    <a:lnTo>
                      <a:pt x="324" y="330"/>
                    </a:lnTo>
                    <a:lnTo>
                      <a:pt x="306" y="330"/>
                    </a:lnTo>
                    <a:lnTo>
                      <a:pt x="330" y="324"/>
                    </a:lnTo>
                    <a:lnTo>
                      <a:pt x="336" y="318"/>
                    </a:lnTo>
                    <a:lnTo>
                      <a:pt x="348" y="312"/>
                    </a:lnTo>
                    <a:lnTo>
                      <a:pt x="360" y="300"/>
                    </a:lnTo>
                    <a:lnTo>
                      <a:pt x="360" y="288"/>
                    </a:lnTo>
                    <a:lnTo>
                      <a:pt x="366" y="276"/>
                    </a:lnTo>
                    <a:lnTo>
                      <a:pt x="372" y="270"/>
                    </a:lnTo>
                    <a:lnTo>
                      <a:pt x="378" y="258"/>
                    </a:lnTo>
                    <a:lnTo>
                      <a:pt x="384" y="252"/>
                    </a:lnTo>
                    <a:lnTo>
                      <a:pt x="396" y="246"/>
                    </a:lnTo>
                    <a:lnTo>
                      <a:pt x="402" y="246"/>
                    </a:lnTo>
                    <a:lnTo>
                      <a:pt x="402" y="240"/>
                    </a:lnTo>
                    <a:lnTo>
                      <a:pt x="396" y="234"/>
                    </a:lnTo>
                    <a:lnTo>
                      <a:pt x="318" y="234"/>
                    </a:lnTo>
                    <a:lnTo>
                      <a:pt x="318" y="228"/>
                    </a:lnTo>
                    <a:lnTo>
                      <a:pt x="288" y="228"/>
                    </a:lnTo>
                    <a:lnTo>
                      <a:pt x="276" y="234"/>
                    </a:lnTo>
                    <a:lnTo>
                      <a:pt x="264" y="234"/>
                    </a:lnTo>
                    <a:lnTo>
                      <a:pt x="258" y="240"/>
                    </a:lnTo>
                    <a:lnTo>
                      <a:pt x="252" y="240"/>
                    </a:lnTo>
                    <a:lnTo>
                      <a:pt x="264" y="228"/>
                    </a:lnTo>
                    <a:lnTo>
                      <a:pt x="252" y="216"/>
                    </a:lnTo>
                    <a:lnTo>
                      <a:pt x="270" y="210"/>
                    </a:lnTo>
                    <a:lnTo>
                      <a:pt x="300" y="192"/>
                    </a:lnTo>
                    <a:lnTo>
                      <a:pt x="312" y="186"/>
                    </a:lnTo>
                    <a:lnTo>
                      <a:pt x="324" y="162"/>
                    </a:lnTo>
                    <a:lnTo>
                      <a:pt x="318" y="156"/>
                    </a:lnTo>
                    <a:lnTo>
                      <a:pt x="288" y="156"/>
                    </a:lnTo>
                    <a:lnTo>
                      <a:pt x="276" y="162"/>
                    </a:lnTo>
                    <a:lnTo>
                      <a:pt x="258" y="168"/>
                    </a:lnTo>
                    <a:lnTo>
                      <a:pt x="240" y="168"/>
                    </a:lnTo>
                    <a:lnTo>
                      <a:pt x="228" y="162"/>
                    </a:lnTo>
                    <a:lnTo>
                      <a:pt x="216" y="162"/>
                    </a:lnTo>
                    <a:lnTo>
                      <a:pt x="210" y="168"/>
                    </a:lnTo>
                    <a:lnTo>
                      <a:pt x="210" y="174"/>
                    </a:lnTo>
                    <a:lnTo>
                      <a:pt x="216" y="180"/>
                    </a:lnTo>
                    <a:lnTo>
                      <a:pt x="204" y="180"/>
                    </a:lnTo>
                    <a:lnTo>
                      <a:pt x="192" y="192"/>
                    </a:lnTo>
                    <a:lnTo>
                      <a:pt x="192" y="210"/>
                    </a:lnTo>
                    <a:lnTo>
                      <a:pt x="198" y="216"/>
                    </a:lnTo>
                    <a:lnTo>
                      <a:pt x="156" y="222"/>
                    </a:lnTo>
                    <a:lnTo>
                      <a:pt x="156" y="234"/>
                    </a:lnTo>
                    <a:lnTo>
                      <a:pt x="168" y="240"/>
                    </a:lnTo>
                    <a:lnTo>
                      <a:pt x="180" y="264"/>
                    </a:lnTo>
                    <a:lnTo>
                      <a:pt x="162" y="282"/>
                    </a:lnTo>
                    <a:lnTo>
                      <a:pt x="162" y="294"/>
                    </a:lnTo>
                    <a:lnTo>
                      <a:pt x="144" y="300"/>
                    </a:lnTo>
                    <a:lnTo>
                      <a:pt x="156" y="312"/>
                    </a:lnTo>
                    <a:lnTo>
                      <a:pt x="168" y="312"/>
                    </a:lnTo>
                    <a:lnTo>
                      <a:pt x="180" y="306"/>
                    </a:lnTo>
                    <a:lnTo>
                      <a:pt x="186" y="300"/>
                    </a:lnTo>
                    <a:lnTo>
                      <a:pt x="186" y="318"/>
                    </a:lnTo>
                    <a:lnTo>
                      <a:pt x="180" y="318"/>
                    </a:lnTo>
                    <a:lnTo>
                      <a:pt x="168" y="330"/>
                    </a:lnTo>
                    <a:lnTo>
                      <a:pt x="156" y="336"/>
                    </a:lnTo>
                    <a:lnTo>
                      <a:pt x="156" y="360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98" y="366"/>
                    </a:lnTo>
                    <a:lnTo>
                      <a:pt x="210" y="360"/>
                    </a:lnTo>
                    <a:lnTo>
                      <a:pt x="216" y="354"/>
                    </a:lnTo>
                    <a:lnTo>
                      <a:pt x="198" y="372"/>
                    </a:lnTo>
                    <a:lnTo>
                      <a:pt x="210" y="402"/>
                    </a:lnTo>
                    <a:lnTo>
                      <a:pt x="204" y="408"/>
                    </a:lnTo>
                    <a:lnTo>
                      <a:pt x="198" y="420"/>
                    </a:lnTo>
                    <a:lnTo>
                      <a:pt x="186" y="426"/>
                    </a:ln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204" y="456"/>
                    </a:lnTo>
                    <a:lnTo>
                      <a:pt x="216" y="450"/>
                    </a:lnTo>
                    <a:lnTo>
                      <a:pt x="240" y="450"/>
                    </a:lnTo>
                    <a:lnTo>
                      <a:pt x="252" y="444"/>
                    </a:lnTo>
                    <a:lnTo>
                      <a:pt x="258" y="438"/>
                    </a:lnTo>
                    <a:lnTo>
                      <a:pt x="270" y="432"/>
                    </a:lnTo>
                    <a:lnTo>
                      <a:pt x="300" y="438"/>
                    </a:lnTo>
                    <a:lnTo>
                      <a:pt x="288" y="444"/>
                    </a:lnTo>
                    <a:lnTo>
                      <a:pt x="264" y="468"/>
                    </a:lnTo>
                    <a:lnTo>
                      <a:pt x="264" y="474"/>
                    </a:lnTo>
                    <a:lnTo>
                      <a:pt x="282" y="492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6" y="498"/>
                    </a:lnTo>
                    <a:lnTo>
                      <a:pt x="312" y="516"/>
                    </a:lnTo>
                    <a:lnTo>
                      <a:pt x="294" y="534"/>
                    </a:lnTo>
                    <a:lnTo>
                      <a:pt x="294" y="564"/>
                    </a:lnTo>
                    <a:lnTo>
                      <a:pt x="222" y="564"/>
                    </a:lnTo>
                    <a:lnTo>
                      <a:pt x="216" y="558"/>
                    </a:lnTo>
                    <a:lnTo>
                      <a:pt x="198" y="558"/>
                    </a:lnTo>
                    <a:lnTo>
                      <a:pt x="192" y="564"/>
                    </a:lnTo>
                    <a:lnTo>
                      <a:pt x="210" y="582"/>
                    </a:lnTo>
                    <a:lnTo>
                      <a:pt x="186" y="600"/>
                    </a:lnTo>
                    <a:lnTo>
                      <a:pt x="228" y="594"/>
                    </a:lnTo>
                    <a:lnTo>
                      <a:pt x="228" y="618"/>
                    </a:lnTo>
                    <a:lnTo>
                      <a:pt x="216" y="642"/>
                    </a:lnTo>
                    <a:lnTo>
                      <a:pt x="210" y="648"/>
                    </a:lnTo>
                    <a:lnTo>
                      <a:pt x="198" y="654"/>
                    </a:lnTo>
                    <a:lnTo>
                      <a:pt x="180" y="660"/>
                    </a:lnTo>
                    <a:lnTo>
                      <a:pt x="168" y="666"/>
                    </a:lnTo>
                    <a:lnTo>
                      <a:pt x="162" y="666"/>
                    </a:lnTo>
                    <a:lnTo>
                      <a:pt x="162" y="690"/>
                    </a:lnTo>
                    <a:lnTo>
                      <a:pt x="168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92" y="684"/>
                    </a:lnTo>
                    <a:lnTo>
                      <a:pt x="198" y="678"/>
                    </a:lnTo>
                    <a:lnTo>
                      <a:pt x="204" y="684"/>
                    </a:lnTo>
                    <a:lnTo>
                      <a:pt x="204" y="690"/>
                    </a:lnTo>
                    <a:lnTo>
                      <a:pt x="210" y="696"/>
                    </a:lnTo>
                    <a:lnTo>
                      <a:pt x="234" y="696"/>
                    </a:lnTo>
                    <a:lnTo>
                      <a:pt x="240" y="702"/>
                    </a:lnTo>
                    <a:lnTo>
                      <a:pt x="252" y="708"/>
                    </a:lnTo>
                    <a:lnTo>
                      <a:pt x="258" y="708"/>
                    </a:lnTo>
                    <a:lnTo>
                      <a:pt x="276" y="702"/>
                    </a:lnTo>
                    <a:lnTo>
                      <a:pt x="288" y="696"/>
                    </a:lnTo>
                    <a:lnTo>
                      <a:pt x="294" y="690"/>
                    </a:lnTo>
                    <a:lnTo>
                      <a:pt x="318" y="690"/>
                    </a:lnTo>
                    <a:lnTo>
                      <a:pt x="312" y="696"/>
                    </a:lnTo>
                    <a:lnTo>
                      <a:pt x="300" y="702"/>
                    </a:lnTo>
                    <a:lnTo>
                      <a:pt x="294" y="714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10" y="726"/>
                    </a:lnTo>
                    <a:lnTo>
                      <a:pt x="210" y="738"/>
                    </a:lnTo>
                    <a:lnTo>
                      <a:pt x="198" y="738"/>
                    </a:lnTo>
                    <a:lnTo>
                      <a:pt x="186" y="744"/>
                    </a:lnTo>
                    <a:lnTo>
                      <a:pt x="180" y="750"/>
                    </a:lnTo>
                    <a:lnTo>
                      <a:pt x="180" y="768"/>
                    </a:lnTo>
                    <a:lnTo>
                      <a:pt x="174" y="774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86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14" y="810"/>
                    </a:lnTo>
                    <a:lnTo>
                      <a:pt x="108" y="810"/>
                    </a:lnTo>
                    <a:lnTo>
                      <a:pt x="108" y="816"/>
                    </a:lnTo>
                    <a:lnTo>
                      <a:pt x="114" y="816"/>
                    </a:lnTo>
                    <a:lnTo>
                      <a:pt x="120" y="822"/>
                    </a:lnTo>
                    <a:lnTo>
                      <a:pt x="150" y="822"/>
                    </a:lnTo>
                    <a:lnTo>
                      <a:pt x="156" y="810"/>
                    </a:lnTo>
                    <a:lnTo>
                      <a:pt x="174" y="792"/>
                    </a:lnTo>
                    <a:lnTo>
                      <a:pt x="210" y="792"/>
                    </a:lnTo>
                    <a:lnTo>
                      <a:pt x="216" y="798"/>
                    </a:lnTo>
                    <a:lnTo>
                      <a:pt x="228" y="804"/>
                    </a:lnTo>
                    <a:lnTo>
                      <a:pt x="240" y="804"/>
                    </a:lnTo>
                    <a:lnTo>
                      <a:pt x="246" y="792"/>
                    </a:lnTo>
                    <a:lnTo>
                      <a:pt x="252" y="786"/>
                    </a:lnTo>
                    <a:lnTo>
                      <a:pt x="258" y="774"/>
                    </a:lnTo>
                    <a:lnTo>
                      <a:pt x="270" y="762"/>
                    </a:lnTo>
                    <a:lnTo>
                      <a:pt x="288" y="762"/>
                    </a:lnTo>
                    <a:lnTo>
                      <a:pt x="300" y="774"/>
                    </a:lnTo>
                    <a:lnTo>
                      <a:pt x="330" y="774"/>
                    </a:lnTo>
                    <a:lnTo>
                      <a:pt x="354" y="762"/>
                    </a:lnTo>
                    <a:lnTo>
                      <a:pt x="360" y="762"/>
                    </a:lnTo>
                    <a:lnTo>
                      <a:pt x="366" y="768"/>
                    </a:lnTo>
                    <a:lnTo>
                      <a:pt x="378" y="768"/>
                    </a:lnTo>
                    <a:lnTo>
                      <a:pt x="390" y="774"/>
                    </a:lnTo>
                    <a:lnTo>
                      <a:pt x="396" y="774"/>
                    </a:lnTo>
                    <a:lnTo>
                      <a:pt x="396" y="768"/>
                    </a:lnTo>
                    <a:lnTo>
                      <a:pt x="390" y="762"/>
                    </a:lnTo>
                    <a:lnTo>
                      <a:pt x="390" y="750"/>
                    </a:lnTo>
                    <a:lnTo>
                      <a:pt x="396" y="750"/>
                    </a:lnTo>
                    <a:lnTo>
                      <a:pt x="408" y="756"/>
                    </a:lnTo>
                    <a:lnTo>
                      <a:pt x="414" y="762"/>
                    </a:lnTo>
                    <a:lnTo>
                      <a:pt x="426" y="756"/>
                    </a:lnTo>
                    <a:lnTo>
                      <a:pt x="498" y="756"/>
                    </a:lnTo>
                    <a:lnTo>
                      <a:pt x="522" y="750"/>
                    </a:lnTo>
                    <a:lnTo>
                      <a:pt x="534" y="744"/>
                    </a:lnTo>
                    <a:lnTo>
                      <a:pt x="540" y="732"/>
                    </a:lnTo>
                    <a:lnTo>
                      <a:pt x="546" y="726"/>
                    </a:lnTo>
                    <a:lnTo>
                      <a:pt x="552" y="714"/>
                    </a:lnTo>
                    <a:lnTo>
                      <a:pt x="498" y="708"/>
                    </a:lnTo>
                    <a:lnTo>
                      <a:pt x="522" y="702"/>
                    </a:lnTo>
                    <a:lnTo>
                      <a:pt x="516" y="684"/>
                    </a:lnTo>
                    <a:lnTo>
                      <a:pt x="528" y="672"/>
                    </a:lnTo>
                    <a:lnTo>
                      <a:pt x="540" y="666"/>
                    </a:lnTo>
                    <a:lnTo>
                      <a:pt x="546" y="666"/>
                    </a:lnTo>
                    <a:lnTo>
                      <a:pt x="558" y="660"/>
                    </a:lnTo>
                    <a:lnTo>
                      <a:pt x="564" y="654"/>
                    </a:lnTo>
                    <a:lnTo>
                      <a:pt x="576" y="618"/>
                    </a:lnTo>
                    <a:lnTo>
                      <a:pt x="570" y="606"/>
                    </a:lnTo>
                    <a:lnTo>
                      <a:pt x="564" y="600"/>
                    </a:lnTo>
                    <a:lnTo>
                      <a:pt x="552" y="594"/>
                    </a:lnTo>
                    <a:lnTo>
                      <a:pt x="540" y="594"/>
                    </a:lnTo>
                    <a:lnTo>
                      <a:pt x="528" y="588"/>
                    </a:lnTo>
                    <a:lnTo>
                      <a:pt x="504" y="588"/>
                    </a:lnTo>
                    <a:close/>
                    <a:moveTo>
                      <a:pt x="222" y="486"/>
                    </a:moveTo>
                    <a:lnTo>
                      <a:pt x="216" y="480"/>
                    </a:lnTo>
                    <a:lnTo>
                      <a:pt x="204" y="480"/>
                    </a:lnTo>
                    <a:lnTo>
                      <a:pt x="204" y="486"/>
                    </a:lnTo>
                    <a:lnTo>
                      <a:pt x="198" y="498"/>
                    </a:lnTo>
                    <a:lnTo>
                      <a:pt x="192" y="504"/>
                    </a:lnTo>
                    <a:lnTo>
                      <a:pt x="210" y="504"/>
                    </a:lnTo>
                    <a:lnTo>
                      <a:pt x="222" y="492"/>
                    </a:lnTo>
                    <a:lnTo>
                      <a:pt x="222" y="486"/>
                    </a:lnTo>
                    <a:close/>
                    <a:moveTo>
                      <a:pt x="126" y="504"/>
                    </a:moveTo>
                    <a:lnTo>
                      <a:pt x="132" y="498"/>
                    </a:lnTo>
                    <a:lnTo>
                      <a:pt x="132" y="492"/>
                    </a:lnTo>
                    <a:lnTo>
                      <a:pt x="144" y="492"/>
                    </a:lnTo>
                    <a:lnTo>
                      <a:pt x="150" y="480"/>
                    </a:lnTo>
                    <a:lnTo>
                      <a:pt x="156" y="474"/>
                    </a:lnTo>
                    <a:lnTo>
                      <a:pt x="156" y="462"/>
                    </a:lnTo>
                    <a:lnTo>
                      <a:pt x="138" y="444"/>
                    </a:lnTo>
                    <a:lnTo>
                      <a:pt x="138" y="432"/>
                    </a:lnTo>
                    <a:lnTo>
                      <a:pt x="132" y="438"/>
                    </a:lnTo>
                    <a:lnTo>
                      <a:pt x="126" y="426"/>
                    </a:lnTo>
                    <a:lnTo>
                      <a:pt x="120" y="420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30" y="450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18" y="468"/>
                    </a:lnTo>
                    <a:lnTo>
                      <a:pt x="12" y="468"/>
                    </a:lnTo>
                    <a:lnTo>
                      <a:pt x="0" y="480"/>
                    </a:lnTo>
                    <a:lnTo>
                      <a:pt x="6" y="486"/>
                    </a:lnTo>
                    <a:lnTo>
                      <a:pt x="30" y="498"/>
                    </a:lnTo>
                    <a:lnTo>
                      <a:pt x="42" y="498"/>
                    </a:lnTo>
                    <a:lnTo>
                      <a:pt x="66" y="474"/>
                    </a:lnTo>
                    <a:lnTo>
                      <a:pt x="84" y="498"/>
                    </a:lnTo>
                    <a:lnTo>
                      <a:pt x="120" y="504"/>
                    </a:lnTo>
                    <a:lnTo>
                      <a:pt x="126" y="504"/>
                    </a:lnTo>
                    <a:close/>
                    <a:moveTo>
                      <a:pt x="78" y="228"/>
                    </a:moveTo>
                    <a:lnTo>
                      <a:pt x="72" y="228"/>
                    </a:lnTo>
                    <a:lnTo>
                      <a:pt x="66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84" y="228"/>
                    </a:lnTo>
                    <a:lnTo>
                      <a:pt x="78" y="228"/>
                    </a:lnTo>
                    <a:close/>
                    <a:moveTo>
                      <a:pt x="108" y="210"/>
                    </a:moveTo>
                    <a:lnTo>
                      <a:pt x="126" y="210"/>
                    </a:lnTo>
                    <a:lnTo>
                      <a:pt x="132" y="204"/>
                    </a:lnTo>
                    <a:lnTo>
                      <a:pt x="132" y="198"/>
                    </a:lnTo>
                    <a:lnTo>
                      <a:pt x="138" y="186"/>
                    </a:lnTo>
                    <a:lnTo>
                      <a:pt x="150" y="174"/>
                    </a:lnTo>
                    <a:lnTo>
                      <a:pt x="150" y="168"/>
                    </a:lnTo>
                    <a:lnTo>
                      <a:pt x="138" y="174"/>
                    </a:lnTo>
                    <a:lnTo>
                      <a:pt x="132" y="174"/>
                    </a:lnTo>
                    <a:lnTo>
                      <a:pt x="114" y="192"/>
                    </a:lnTo>
                    <a:lnTo>
                      <a:pt x="108" y="186"/>
                    </a:lnTo>
                    <a:lnTo>
                      <a:pt x="96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6" y="216"/>
                    </a:lnTo>
                    <a:lnTo>
                      <a:pt x="96" y="228"/>
                    </a:lnTo>
                    <a:lnTo>
                      <a:pt x="108" y="210"/>
                    </a:lnTo>
                    <a:close/>
                    <a:moveTo>
                      <a:pt x="72" y="252"/>
                    </a:moveTo>
                    <a:lnTo>
                      <a:pt x="60" y="282"/>
                    </a:lnTo>
                    <a:lnTo>
                      <a:pt x="78" y="258"/>
                    </a:lnTo>
                    <a:lnTo>
                      <a:pt x="72" y="25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1" name="Ukrai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5024698-67BF-EB87-AC04-BEF9CF844E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60282" y="2027310"/>
                <a:ext cx="501958" cy="282057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2" name="Turke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4534F78-590B-3F18-6CF8-BCA3A32BF0C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463157" y="2387421"/>
                <a:ext cx="597738" cy="227063"/>
              </a:xfrm>
              <a:custGeom>
                <a:avLst/>
                <a:gdLst>
                  <a:gd name="T0" fmla="*/ 2147483647 w 1332"/>
                  <a:gd name="T1" fmla="*/ 2147483647 h 510"/>
                  <a:gd name="T2" fmla="*/ 2147483647 w 1332"/>
                  <a:gd name="T3" fmla="*/ 2147483647 h 510"/>
                  <a:gd name="T4" fmla="*/ 2147483647 w 1332"/>
                  <a:gd name="T5" fmla="*/ 2147483647 h 510"/>
                  <a:gd name="T6" fmla="*/ 2147483647 w 1332"/>
                  <a:gd name="T7" fmla="*/ 2147483647 h 510"/>
                  <a:gd name="T8" fmla="*/ 2147483647 w 1332"/>
                  <a:gd name="T9" fmla="*/ 2147483647 h 510"/>
                  <a:gd name="T10" fmla="*/ 2147483647 w 1332"/>
                  <a:gd name="T11" fmla="*/ 2147483647 h 510"/>
                  <a:gd name="T12" fmla="*/ 2147483647 w 1332"/>
                  <a:gd name="T13" fmla="*/ 2147483647 h 510"/>
                  <a:gd name="T14" fmla="*/ 2147483647 w 1332"/>
                  <a:gd name="T15" fmla="*/ 2147483647 h 510"/>
                  <a:gd name="T16" fmla="*/ 2147483647 w 1332"/>
                  <a:gd name="T17" fmla="*/ 2147483647 h 510"/>
                  <a:gd name="T18" fmla="*/ 2147483647 w 1332"/>
                  <a:gd name="T19" fmla="*/ 2147483647 h 510"/>
                  <a:gd name="T20" fmla="*/ 2147483647 w 1332"/>
                  <a:gd name="T21" fmla="*/ 2147483647 h 510"/>
                  <a:gd name="T22" fmla="*/ 2147483647 w 1332"/>
                  <a:gd name="T23" fmla="*/ 2147483647 h 510"/>
                  <a:gd name="T24" fmla="*/ 2147483647 w 1332"/>
                  <a:gd name="T25" fmla="*/ 2147483647 h 510"/>
                  <a:gd name="T26" fmla="*/ 2147483647 w 1332"/>
                  <a:gd name="T27" fmla="*/ 2147483647 h 510"/>
                  <a:gd name="T28" fmla="*/ 2147483647 w 1332"/>
                  <a:gd name="T29" fmla="*/ 2147483647 h 510"/>
                  <a:gd name="T30" fmla="*/ 2147483647 w 1332"/>
                  <a:gd name="T31" fmla="*/ 2147483647 h 510"/>
                  <a:gd name="T32" fmla="*/ 2147483647 w 1332"/>
                  <a:gd name="T33" fmla="*/ 2147483647 h 510"/>
                  <a:gd name="T34" fmla="*/ 2147483647 w 1332"/>
                  <a:gd name="T35" fmla="*/ 2147483647 h 510"/>
                  <a:gd name="T36" fmla="*/ 2147483647 w 1332"/>
                  <a:gd name="T37" fmla="*/ 2147483647 h 510"/>
                  <a:gd name="T38" fmla="*/ 2147483647 w 1332"/>
                  <a:gd name="T39" fmla="*/ 2147483647 h 510"/>
                  <a:gd name="T40" fmla="*/ 2147483647 w 1332"/>
                  <a:gd name="T41" fmla="*/ 2147483647 h 510"/>
                  <a:gd name="T42" fmla="*/ 2147483647 w 1332"/>
                  <a:gd name="T43" fmla="*/ 2147483647 h 510"/>
                  <a:gd name="T44" fmla="*/ 2147483647 w 1332"/>
                  <a:gd name="T45" fmla="*/ 2147483647 h 510"/>
                  <a:gd name="T46" fmla="*/ 2147483647 w 1332"/>
                  <a:gd name="T47" fmla="*/ 2147483647 h 510"/>
                  <a:gd name="T48" fmla="*/ 2147483647 w 1332"/>
                  <a:gd name="T49" fmla="*/ 2147483647 h 510"/>
                  <a:gd name="T50" fmla="*/ 2147483647 w 1332"/>
                  <a:gd name="T51" fmla="*/ 2147483647 h 510"/>
                  <a:gd name="T52" fmla="*/ 2147483647 w 1332"/>
                  <a:gd name="T53" fmla="*/ 2147483647 h 510"/>
                  <a:gd name="T54" fmla="*/ 2147483647 w 1332"/>
                  <a:gd name="T55" fmla="*/ 2147483647 h 510"/>
                  <a:gd name="T56" fmla="*/ 2147483647 w 1332"/>
                  <a:gd name="T57" fmla="*/ 2147483647 h 510"/>
                  <a:gd name="T58" fmla="*/ 2147483647 w 1332"/>
                  <a:gd name="T59" fmla="*/ 2147483647 h 510"/>
                  <a:gd name="T60" fmla="*/ 2147483647 w 1332"/>
                  <a:gd name="T61" fmla="*/ 2147483647 h 510"/>
                  <a:gd name="T62" fmla="*/ 2147483647 w 1332"/>
                  <a:gd name="T63" fmla="*/ 2147483647 h 510"/>
                  <a:gd name="T64" fmla="*/ 2147483647 w 1332"/>
                  <a:gd name="T65" fmla="*/ 2147483647 h 510"/>
                  <a:gd name="T66" fmla="*/ 2147483647 w 1332"/>
                  <a:gd name="T67" fmla="*/ 2147483647 h 510"/>
                  <a:gd name="T68" fmla="*/ 2147483647 w 1332"/>
                  <a:gd name="T69" fmla="*/ 2147483647 h 510"/>
                  <a:gd name="T70" fmla="*/ 2147483647 w 1332"/>
                  <a:gd name="T71" fmla="*/ 2147483647 h 510"/>
                  <a:gd name="T72" fmla="*/ 2147483647 w 1332"/>
                  <a:gd name="T73" fmla="*/ 2147483647 h 510"/>
                  <a:gd name="T74" fmla="*/ 2147483647 w 1332"/>
                  <a:gd name="T75" fmla="*/ 2147483647 h 510"/>
                  <a:gd name="T76" fmla="*/ 2147483647 w 1332"/>
                  <a:gd name="T77" fmla="*/ 2147483647 h 510"/>
                  <a:gd name="T78" fmla="*/ 2147483647 w 1332"/>
                  <a:gd name="T79" fmla="*/ 2147483647 h 510"/>
                  <a:gd name="T80" fmla="*/ 2147483647 w 1332"/>
                  <a:gd name="T81" fmla="*/ 2147483647 h 510"/>
                  <a:gd name="T82" fmla="*/ 2147483647 w 1332"/>
                  <a:gd name="T83" fmla="*/ 2147483647 h 510"/>
                  <a:gd name="T84" fmla="*/ 2147483647 w 1332"/>
                  <a:gd name="T85" fmla="*/ 2147483647 h 510"/>
                  <a:gd name="T86" fmla="*/ 2147483647 w 1332"/>
                  <a:gd name="T87" fmla="*/ 2147483647 h 510"/>
                  <a:gd name="T88" fmla="*/ 2147483647 w 1332"/>
                  <a:gd name="T89" fmla="*/ 2147483647 h 510"/>
                  <a:gd name="T90" fmla="*/ 2147483647 w 1332"/>
                  <a:gd name="T91" fmla="*/ 2147483647 h 510"/>
                  <a:gd name="T92" fmla="*/ 2147483647 w 1332"/>
                  <a:gd name="T93" fmla="*/ 2147483647 h 510"/>
                  <a:gd name="T94" fmla="*/ 2147483647 w 1332"/>
                  <a:gd name="T95" fmla="*/ 2147483647 h 510"/>
                  <a:gd name="T96" fmla="*/ 2147483647 w 1332"/>
                  <a:gd name="T97" fmla="*/ 2147483647 h 510"/>
                  <a:gd name="T98" fmla="*/ 2147483647 w 1332"/>
                  <a:gd name="T99" fmla="*/ 2147483647 h 510"/>
                  <a:gd name="T100" fmla="*/ 2147483647 w 1332"/>
                  <a:gd name="T101" fmla="*/ 2147483647 h 510"/>
                  <a:gd name="T102" fmla="*/ 2147483647 w 1332"/>
                  <a:gd name="T103" fmla="*/ 2147483647 h 510"/>
                  <a:gd name="T104" fmla="*/ 2147483647 w 1332"/>
                  <a:gd name="T105" fmla="*/ 2147483647 h 510"/>
                  <a:gd name="T106" fmla="*/ 2147483647 w 1332"/>
                  <a:gd name="T107" fmla="*/ 2147483647 h 510"/>
                  <a:gd name="T108" fmla="*/ 2147483647 w 1332"/>
                  <a:gd name="T109" fmla="*/ 2147483647 h 510"/>
                  <a:gd name="T110" fmla="*/ 2147483647 w 1332"/>
                  <a:gd name="T111" fmla="*/ 2147483647 h 510"/>
                  <a:gd name="T112" fmla="*/ 2147483647 w 1332"/>
                  <a:gd name="T113" fmla="*/ 2147483647 h 510"/>
                  <a:gd name="T114" fmla="*/ 2147483647 w 1332"/>
                  <a:gd name="T115" fmla="*/ 2147483647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32"/>
                  <a:gd name="T175" fmla="*/ 0 h 510"/>
                  <a:gd name="T176" fmla="*/ 1332 w 1332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32" h="510">
                    <a:moveTo>
                      <a:pt x="6" y="192"/>
                    </a:moveTo>
                    <a:lnTo>
                      <a:pt x="24" y="186"/>
                    </a:lnTo>
                    <a:lnTo>
                      <a:pt x="30" y="174"/>
                    </a:lnTo>
                    <a:lnTo>
                      <a:pt x="0" y="174"/>
                    </a:lnTo>
                    <a:lnTo>
                      <a:pt x="6" y="192"/>
                    </a:lnTo>
                    <a:close/>
                    <a:moveTo>
                      <a:pt x="42" y="162"/>
                    </a:move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42" y="162"/>
                    </a:lnTo>
                    <a:close/>
                    <a:moveTo>
                      <a:pt x="96" y="138"/>
                    </a:moveTo>
                    <a:lnTo>
                      <a:pt x="66" y="138"/>
                    </a:lnTo>
                    <a:lnTo>
                      <a:pt x="66" y="174"/>
                    </a:lnTo>
                    <a:lnTo>
                      <a:pt x="78" y="150"/>
                    </a:lnTo>
                    <a:lnTo>
                      <a:pt x="96" y="138"/>
                    </a:lnTo>
                    <a:close/>
                    <a:moveTo>
                      <a:pt x="1332" y="402"/>
                    </a:moveTo>
                    <a:lnTo>
                      <a:pt x="1332" y="390"/>
                    </a:lnTo>
                    <a:lnTo>
                      <a:pt x="1308" y="384"/>
                    </a:lnTo>
                    <a:lnTo>
                      <a:pt x="1308" y="354"/>
                    </a:lnTo>
                    <a:lnTo>
                      <a:pt x="1272" y="336"/>
                    </a:lnTo>
                    <a:lnTo>
                      <a:pt x="1278" y="330"/>
                    </a:lnTo>
                    <a:lnTo>
                      <a:pt x="1284" y="318"/>
                    </a:lnTo>
                    <a:lnTo>
                      <a:pt x="1284" y="312"/>
                    </a:lnTo>
                    <a:lnTo>
                      <a:pt x="1290" y="306"/>
                    </a:lnTo>
                    <a:lnTo>
                      <a:pt x="1284" y="306"/>
                    </a:lnTo>
                    <a:lnTo>
                      <a:pt x="1278" y="300"/>
                    </a:lnTo>
                    <a:lnTo>
                      <a:pt x="1278" y="288"/>
                    </a:lnTo>
                    <a:lnTo>
                      <a:pt x="1266" y="276"/>
                    </a:lnTo>
                    <a:lnTo>
                      <a:pt x="1266" y="246"/>
                    </a:lnTo>
                    <a:lnTo>
                      <a:pt x="1248" y="222"/>
                    </a:lnTo>
                    <a:lnTo>
                      <a:pt x="1272" y="222"/>
                    </a:lnTo>
                    <a:lnTo>
                      <a:pt x="1272" y="216"/>
                    </a:lnTo>
                    <a:lnTo>
                      <a:pt x="1278" y="210"/>
                    </a:lnTo>
                    <a:lnTo>
                      <a:pt x="1272" y="198"/>
                    </a:lnTo>
                    <a:lnTo>
                      <a:pt x="1272" y="186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60" y="174"/>
                    </a:lnTo>
                    <a:lnTo>
                      <a:pt x="1248" y="180"/>
                    </a:lnTo>
                    <a:lnTo>
                      <a:pt x="1236" y="180"/>
                    </a:lnTo>
                    <a:lnTo>
                      <a:pt x="1224" y="174"/>
                    </a:lnTo>
                    <a:lnTo>
                      <a:pt x="1218" y="168"/>
                    </a:lnTo>
                    <a:lnTo>
                      <a:pt x="1212" y="156"/>
                    </a:lnTo>
                    <a:lnTo>
                      <a:pt x="1212" y="144"/>
                    </a:lnTo>
                    <a:lnTo>
                      <a:pt x="1200" y="108"/>
                    </a:lnTo>
                    <a:lnTo>
                      <a:pt x="1194" y="96"/>
                    </a:lnTo>
                    <a:lnTo>
                      <a:pt x="1194" y="84"/>
                    </a:lnTo>
                    <a:lnTo>
                      <a:pt x="1188" y="78"/>
                    </a:lnTo>
                    <a:lnTo>
                      <a:pt x="1164" y="78"/>
                    </a:lnTo>
                    <a:lnTo>
                      <a:pt x="1164" y="72"/>
                    </a:lnTo>
                    <a:lnTo>
                      <a:pt x="1158" y="60"/>
                    </a:lnTo>
                    <a:lnTo>
                      <a:pt x="1152" y="54"/>
                    </a:lnTo>
                    <a:lnTo>
                      <a:pt x="1140" y="48"/>
                    </a:lnTo>
                    <a:lnTo>
                      <a:pt x="1128" y="48"/>
                    </a:lnTo>
                    <a:lnTo>
                      <a:pt x="1116" y="54"/>
                    </a:lnTo>
                    <a:lnTo>
                      <a:pt x="1110" y="60"/>
                    </a:lnTo>
                    <a:lnTo>
                      <a:pt x="1074" y="54"/>
                    </a:lnTo>
                    <a:lnTo>
                      <a:pt x="1062" y="66"/>
                    </a:lnTo>
                    <a:lnTo>
                      <a:pt x="1026" y="90"/>
                    </a:lnTo>
                    <a:lnTo>
                      <a:pt x="1014" y="96"/>
                    </a:lnTo>
                    <a:lnTo>
                      <a:pt x="930" y="96"/>
                    </a:lnTo>
                    <a:lnTo>
                      <a:pt x="876" y="108"/>
                    </a:lnTo>
                    <a:lnTo>
                      <a:pt x="810" y="84"/>
                    </a:lnTo>
                    <a:lnTo>
                      <a:pt x="786" y="96"/>
                    </a:lnTo>
                    <a:lnTo>
                      <a:pt x="786" y="90"/>
                    </a:lnTo>
                    <a:lnTo>
                      <a:pt x="780" y="84"/>
                    </a:lnTo>
                    <a:lnTo>
                      <a:pt x="774" y="72"/>
                    </a:lnTo>
                    <a:lnTo>
                      <a:pt x="768" y="66"/>
                    </a:lnTo>
                    <a:lnTo>
                      <a:pt x="756" y="66"/>
                    </a:lnTo>
                    <a:lnTo>
                      <a:pt x="744" y="72"/>
                    </a:lnTo>
                    <a:lnTo>
                      <a:pt x="738" y="78"/>
                    </a:lnTo>
                    <a:lnTo>
                      <a:pt x="708" y="60"/>
                    </a:lnTo>
                    <a:lnTo>
                      <a:pt x="708" y="36"/>
                    </a:lnTo>
                    <a:lnTo>
                      <a:pt x="660" y="48"/>
                    </a:lnTo>
                    <a:lnTo>
                      <a:pt x="636" y="30"/>
                    </a:lnTo>
                    <a:lnTo>
                      <a:pt x="630" y="12"/>
                    </a:lnTo>
                    <a:lnTo>
                      <a:pt x="624" y="12"/>
                    </a:lnTo>
                    <a:lnTo>
                      <a:pt x="618" y="18"/>
                    </a:lnTo>
                    <a:lnTo>
                      <a:pt x="600" y="18"/>
                    </a:lnTo>
                    <a:lnTo>
                      <a:pt x="588" y="24"/>
                    </a:lnTo>
                    <a:lnTo>
                      <a:pt x="558" y="24"/>
                    </a:lnTo>
                    <a:lnTo>
                      <a:pt x="534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56" y="36"/>
                    </a:lnTo>
                    <a:lnTo>
                      <a:pt x="444" y="42"/>
                    </a:lnTo>
                    <a:lnTo>
                      <a:pt x="438" y="48"/>
                    </a:lnTo>
                    <a:lnTo>
                      <a:pt x="426" y="54"/>
                    </a:lnTo>
                    <a:lnTo>
                      <a:pt x="414" y="66"/>
                    </a:lnTo>
                    <a:lnTo>
                      <a:pt x="408" y="66"/>
                    </a:lnTo>
                    <a:lnTo>
                      <a:pt x="396" y="90"/>
                    </a:lnTo>
                    <a:lnTo>
                      <a:pt x="378" y="90"/>
                    </a:lnTo>
                    <a:lnTo>
                      <a:pt x="354" y="84"/>
                    </a:lnTo>
                    <a:lnTo>
                      <a:pt x="294" y="84"/>
                    </a:lnTo>
                    <a:lnTo>
                      <a:pt x="282" y="78"/>
                    </a:lnTo>
                    <a:lnTo>
                      <a:pt x="264" y="78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34" y="66"/>
                    </a:lnTo>
                    <a:lnTo>
                      <a:pt x="198" y="66"/>
                    </a:lnTo>
                    <a:lnTo>
                      <a:pt x="186" y="54"/>
                    </a:lnTo>
                    <a:lnTo>
                      <a:pt x="180" y="36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56" y="18"/>
                    </a:lnTo>
                    <a:lnTo>
                      <a:pt x="144" y="18"/>
                    </a:lnTo>
                    <a:lnTo>
                      <a:pt x="132" y="0"/>
                    </a:lnTo>
                    <a:lnTo>
                      <a:pt x="120" y="18"/>
                    </a:lnTo>
                    <a:lnTo>
                      <a:pt x="90" y="12"/>
                    </a:lnTo>
                    <a:lnTo>
                      <a:pt x="72" y="36"/>
                    </a:lnTo>
                    <a:lnTo>
                      <a:pt x="78" y="42"/>
                    </a:lnTo>
                    <a:lnTo>
                      <a:pt x="90" y="42"/>
                    </a:lnTo>
                    <a:lnTo>
                      <a:pt x="90" y="48"/>
                    </a:lnTo>
                    <a:lnTo>
                      <a:pt x="96" y="54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66" y="120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90" y="126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8" y="120"/>
                    </a:lnTo>
                    <a:lnTo>
                      <a:pt x="162" y="96"/>
                    </a:lnTo>
                    <a:lnTo>
                      <a:pt x="168" y="96"/>
                    </a:lnTo>
                    <a:lnTo>
                      <a:pt x="174" y="90"/>
                    </a:lnTo>
                    <a:lnTo>
                      <a:pt x="186" y="90"/>
                    </a:lnTo>
                    <a:lnTo>
                      <a:pt x="204" y="84"/>
                    </a:lnTo>
                    <a:lnTo>
                      <a:pt x="216" y="84"/>
                    </a:lnTo>
                    <a:lnTo>
                      <a:pt x="252" y="102"/>
                    </a:lnTo>
                    <a:lnTo>
                      <a:pt x="270" y="108"/>
                    </a:lnTo>
                    <a:lnTo>
                      <a:pt x="282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270" y="114"/>
                    </a:lnTo>
                    <a:lnTo>
                      <a:pt x="258" y="120"/>
                    </a:lnTo>
                    <a:lnTo>
                      <a:pt x="246" y="120"/>
                    </a:lnTo>
                    <a:lnTo>
                      <a:pt x="246" y="132"/>
                    </a:lnTo>
                    <a:lnTo>
                      <a:pt x="240" y="138"/>
                    </a:lnTo>
                    <a:lnTo>
                      <a:pt x="186" y="144"/>
                    </a:lnTo>
                    <a:lnTo>
                      <a:pt x="138" y="138"/>
                    </a:lnTo>
                    <a:lnTo>
                      <a:pt x="120" y="138"/>
                    </a:lnTo>
                    <a:lnTo>
                      <a:pt x="96" y="150"/>
                    </a:lnTo>
                    <a:lnTo>
                      <a:pt x="84" y="162"/>
                    </a:lnTo>
                    <a:lnTo>
                      <a:pt x="84" y="174"/>
                    </a:lnTo>
                    <a:lnTo>
                      <a:pt x="78" y="192"/>
                    </a:lnTo>
                    <a:lnTo>
                      <a:pt x="78" y="204"/>
                    </a:lnTo>
                    <a:lnTo>
                      <a:pt x="72" y="210"/>
                    </a:lnTo>
                    <a:lnTo>
                      <a:pt x="72" y="216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20" y="246"/>
                    </a:lnTo>
                    <a:lnTo>
                      <a:pt x="126" y="258"/>
                    </a:lnTo>
                    <a:lnTo>
                      <a:pt x="132" y="264"/>
                    </a:lnTo>
                    <a:lnTo>
                      <a:pt x="126" y="282"/>
                    </a:lnTo>
                    <a:lnTo>
                      <a:pt x="138" y="300"/>
                    </a:lnTo>
                    <a:lnTo>
                      <a:pt x="126" y="318"/>
                    </a:lnTo>
                    <a:lnTo>
                      <a:pt x="162" y="354"/>
                    </a:lnTo>
                    <a:lnTo>
                      <a:pt x="156" y="390"/>
                    </a:lnTo>
                    <a:lnTo>
                      <a:pt x="210" y="414"/>
                    </a:lnTo>
                    <a:lnTo>
                      <a:pt x="216" y="444"/>
                    </a:lnTo>
                    <a:lnTo>
                      <a:pt x="216" y="438"/>
                    </a:lnTo>
                    <a:lnTo>
                      <a:pt x="222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64" y="450"/>
                    </a:lnTo>
                    <a:lnTo>
                      <a:pt x="270" y="462"/>
                    </a:lnTo>
                    <a:lnTo>
                      <a:pt x="282" y="468"/>
                    </a:lnTo>
                    <a:lnTo>
                      <a:pt x="294" y="468"/>
                    </a:lnTo>
                    <a:lnTo>
                      <a:pt x="312" y="474"/>
                    </a:lnTo>
                    <a:lnTo>
                      <a:pt x="372" y="474"/>
                    </a:lnTo>
                    <a:lnTo>
                      <a:pt x="372" y="450"/>
                    </a:lnTo>
                    <a:lnTo>
                      <a:pt x="378" y="438"/>
                    </a:lnTo>
                    <a:lnTo>
                      <a:pt x="390" y="426"/>
                    </a:lnTo>
                    <a:lnTo>
                      <a:pt x="408" y="426"/>
                    </a:lnTo>
                    <a:lnTo>
                      <a:pt x="432" y="432"/>
                    </a:lnTo>
                    <a:lnTo>
                      <a:pt x="468" y="444"/>
                    </a:lnTo>
                    <a:lnTo>
                      <a:pt x="474" y="450"/>
                    </a:lnTo>
                    <a:lnTo>
                      <a:pt x="480" y="450"/>
                    </a:lnTo>
                    <a:lnTo>
                      <a:pt x="480" y="456"/>
                    </a:lnTo>
                    <a:lnTo>
                      <a:pt x="486" y="468"/>
                    </a:lnTo>
                    <a:lnTo>
                      <a:pt x="486" y="474"/>
                    </a:lnTo>
                    <a:lnTo>
                      <a:pt x="492" y="480"/>
                    </a:lnTo>
                    <a:lnTo>
                      <a:pt x="504" y="486"/>
                    </a:lnTo>
                    <a:lnTo>
                      <a:pt x="564" y="486"/>
                    </a:lnTo>
                    <a:lnTo>
                      <a:pt x="576" y="480"/>
                    </a:lnTo>
                    <a:lnTo>
                      <a:pt x="594" y="474"/>
                    </a:lnTo>
                    <a:lnTo>
                      <a:pt x="606" y="462"/>
                    </a:lnTo>
                    <a:lnTo>
                      <a:pt x="618" y="456"/>
                    </a:lnTo>
                    <a:lnTo>
                      <a:pt x="630" y="444"/>
                    </a:lnTo>
                    <a:lnTo>
                      <a:pt x="648" y="438"/>
                    </a:lnTo>
                    <a:lnTo>
                      <a:pt x="660" y="432"/>
                    </a:lnTo>
                    <a:lnTo>
                      <a:pt x="672" y="432"/>
                    </a:lnTo>
                    <a:lnTo>
                      <a:pt x="684" y="438"/>
                    </a:lnTo>
                    <a:lnTo>
                      <a:pt x="690" y="444"/>
                    </a:lnTo>
                    <a:lnTo>
                      <a:pt x="696" y="444"/>
                    </a:lnTo>
                    <a:lnTo>
                      <a:pt x="702" y="450"/>
                    </a:lnTo>
                    <a:lnTo>
                      <a:pt x="714" y="450"/>
                    </a:lnTo>
                    <a:lnTo>
                      <a:pt x="726" y="444"/>
                    </a:lnTo>
                    <a:lnTo>
                      <a:pt x="732" y="432"/>
                    </a:lnTo>
                    <a:lnTo>
                      <a:pt x="744" y="420"/>
                    </a:lnTo>
                    <a:lnTo>
                      <a:pt x="756" y="432"/>
                    </a:lnTo>
                    <a:lnTo>
                      <a:pt x="756" y="444"/>
                    </a:lnTo>
                    <a:lnTo>
                      <a:pt x="750" y="450"/>
                    </a:lnTo>
                    <a:lnTo>
                      <a:pt x="744" y="462"/>
                    </a:lnTo>
                    <a:lnTo>
                      <a:pt x="744" y="468"/>
                    </a:lnTo>
                    <a:lnTo>
                      <a:pt x="738" y="474"/>
                    </a:lnTo>
                    <a:lnTo>
                      <a:pt x="738" y="486"/>
                    </a:lnTo>
                    <a:lnTo>
                      <a:pt x="744" y="492"/>
                    </a:lnTo>
                    <a:lnTo>
                      <a:pt x="744" y="498"/>
                    </a:lnTo>
                    <a:lnTo>
                      <a:pt x="756" y="510"/>
                    </a:lnTo>
                    <a:lnTo>
                      <a:pt x="768" y="510"/>
                    </a:lnTo>
                    <a:lnTo>
                      <a:pt x="768" y="504"/>
                    </a:lnTo>
                    <a:lnTo>
                      <a:pt x="774" y="498"/>
                    </a:lnTo>
                    <a:lnTo>
                      <a:pt x="774" y="480"/>
                    </a:lnTo>
                    <a:lnTo>
                      <a:pt x="780" y="486"/>
                    </a:lnTo>
                    <a:lnTo>
                      <a:pt x="792" y="486"/>
                    </a:lnTo>
                    <a:lnTo>
                      <a:pt x="792" y="462"/>
                    </a:lnTo>
                    <a:lnTo>
                      <a:pt x="786" y="462"/>
                    </a:lnTo>
                    <a:lnTo>
                      <a:pt x="786" y="432"/>
                    </a:lnTo>
                    <a:lnTo>
                      <a:pt x="810" y="432"/>
                    </a:lnTo>
                    <a:lnTo>
                      <a:pt x="804" y="438"/>
                    </a:lnTo>
                    <a:lnTo>
                      <a:pt x="804" y="444"/>
                    </a:lnTo>
                    <a:lnTo>
                      <a:pt x="840" y="444"/>
                    </a:lnTo>
                    <a:lnTo>
                      <a:pt x="858" y="438"/>
                    </a:lnTo>
                    <a:lnTo>
                      <a:pt x="864" y="432"/>
                    </a:lnTo>
                    <a:lnTo>
                      <a:pt x="870" y="432"/>
                    </a:lnTo>
                    <a:lnTo>
                      <a:pt x="888" y="414"/>
                    </a:lnTo>
                    <a:lnTo>
                      <a:pt x="894" y="414"/>
                    </a:lnTo>
                    <a:lnTo>
                      <a:pt x="900" y="420"/>
                    </a:lnTo>
                    <a:lnTo>
                      <a:pt x="912" y="426"/>
                    </a:lnTo>
                    <a:lnTo>
                      <a:pt x="924" y="438"/>
                    </a:lnTo>
                    <a:lnTo>
                      <a:pt x="942" y="438"/>
                    </a:lnTo>
                    <a:lnTo>
                      <a:pt x="954" y="444"/>
                    </a:lnTo>
                    <a:lnTo>
                      <a:pt x="966" y="444"/>
                    </a:lnTo>
                    <a:lnTo>
                      <a:pt x="978" y="438"/>
                    </a:lnTo>
                    <a:lnTo>
                      <a:pt x="996" y="438"/>
                    </a:lnTo>
                    <a:lnTo>
                      <a:pt x="1002" y="432"/>
                    </a:lnTo>
                    <a:lnTo>
                      <a:pt x="1014" y="426"/>
                    </a:lnTo>
                    <a:lnTo>
                      <a:pt x="1026" y="414"/>
                    </a:lnTo>
                    <a:lnTo>
                      <a:pt x="1038" y="408"/>
                    </a:lnTo>
                    <a:lnTo>
                      <a:pt x="1086" y="408"/>
                    </a:lnTo>
                    <a:lnTo>
                      <a:pt x="1092" y="414"/>
                    </a:lnTo>
                    <a:lnTo>
                      <a:pt x="1110" y="414"/>
                    </a:lnTo>
                    <a:lnTo>
                      <a:pt x="1122" y="402"/>
                    </a:lnTo>
                    <a:lnTo>
                      <a:pt x="1146" y="402"/>
                    </a:lnTo>
                    <a:lnTo>
                      <a:pt x="1152" y="390"/>
                    </a:lnTo>
                    <a:lnTo>
                      <a:pt x="1152" y="384"/>
                    </a:lnTo>
                    <a:lnTo>
                      <a:pt x="1158" y="384"/>
                    </a:lnTo>
                    <a:lnTo>
                      <a:pt x="1158" y="408"/>
                    </a:lnTo>
                    <a:lnTo>
                      <a:pt x="1164" y="414"/>
                    </a:lnTo>
                    <a:lnTo>
                      <a:pt x="1170" y="414"/>
                    </a:lnTo>
                    <a:lnTo>
                      <a:pt x="1182" y="408"/>
                    </a:lnTo>
                    <a:lnTo>
                      <a:pt x="1188" y="402"/>
                    </a:lnTo>
                    <a:lnTo>
                      <a:pt x="1188" y="390"/>
                    </a:lnTo>
                    <a:lnTo>
                      <a:pt x="1230" y="390"/>
                    </a:lnTo>
                    <a:lnTo>
                      <a:pt x="1242" y="402"/>
                    </a:lnTo>
                    <a:lnTo>
                      <a:pt x="1254" y="402"/>
                    </a:lnTo>
                    <a:lnTo>
                      <a:pt x="1260" y="396"/>
                    </a:lnTo>
                    <a:lnTo>
                      <a:pt x="1260" y="390"/>
                    </a:lnTo>
                    <a:lnTo>
                      <a:pt x="1284" y="390"/>
                    </a:lnTo>
                    <a:lnTo>
                      <a:pt x="1290" y="396"/>
                    </a:lnTo>
                    <a:lnTo>
                      <a:pt x="1290" y="414"/>
                    </a:lnTo>
                    <a:lnTo>
                      <a:pt x="1332" y="402"/>
                    </a:lnTo>
                    <a:close/>
                    <a:moveTo>
                      <a:pt x="102" y="282"/>
                    </a:moveTo>
                    <a:lnTo>
                      <a:pt x="96" y="282"/>
                    </a:lnTo>
                    <a:lnTo>
                      <a:pt x="96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14" y="324"/>
                    </a:lnTo>
                    <a:lnTo>
                      <a:pt x="114" y="318"/>
                    </a:lnTo>
                    <a:lnTo>
                      <a:pt x="120" y="312"/>
                    </a:lnTo>
                    <a:lnTo>
                      <a:pt x="120" y="300"/>
                    </a:lnTo>
                    <a:lnTo>
                      <a:pt x="102" y="28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3" name="Sy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D6A3142-6043-E7DE-3EFB-C540F30E6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87745" y="2559493"/>
                <a:ext cx="202203" cy="186264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4" name="Switzer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CB2C316-A073-CE3A-3304-EFB25A2310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04440" y="2185192"/>
                <a:ext cx="129479" cy="70957"/>
              </a:xfrm>
              <a:custGeom>
                <a:avLst/>
                <a:gdLst>
                  <a:gd name="T0" fmla="*/ 2147483647 w 288"/>
                  <a:gd name="T1" fmla="*/ 2147483647 h 162"/>
                  <a:gd name="T2" fmla="*/ 2147483647 w 288"/>
                  <a:gd name="T3" fmla="*/ 2147483647 h 162"/>
                  <a:gd name="T4" fmla="*/ 2147483647 w 288"/>
                  <a:gd name="T5" fmla="*/ 2147483647 h 162"/>
                  <a:gd name="T6" fmla="*/ 2147483647 w 288"/>
                  <a:gd name="T7" fmla="*/ 2147483647 h 162"/>
                  <a:gd name="T8" fmla="*/ 2147483647 w 288"/>
                  <a:gd name="T9" fmla="*/ 2147483647 h 162"/>
                  <a:gd name="T10" fmla="*/ 2147483647 w 288"/>
                  <a:gd name="T11" fmla="*/ 2147483647 h 162"/>
                  <a:gd name="T12" fmla="*/ 2147483647 w 288"/>
                  <a:gd name="T13" fmla="*/ 2147483647 h 162"/>
                  <a:gd name="T14" fmla="*/ 0 w 288"/>
                  <a:gd name="T15" fmla="*/ 2147483647 h 162"/>
                  <a:gd name="T16" fmla="*/ 2147483647 w 288"/>
                  <a:gd name="T17" fmla="*/ 2147483647 h 162"/>
                  <a:gd name="T18" fmla="*/ 2147483647 w 288"/>
                  <a:gd name="T19" fmla="*/ 2147483647 h 162"/>
                  <a:gd name="T20" fmla="*/ 2147483647 w 288"/>
                  <a:gd name="T21" fmla="*/ 2147483647 h 162"/>
                  <a:gd name="T22" fmla="*/ 2147483647 w 288"/>
                  <a:gd name="T23" fmla="*/ 2147483647 h 162"/>
                  <a:gd name="T24" fmla="*/ 2147483647 w 288"/>
                  <a:gd name="T25" fmla="*/ 2147483647 h 162"/>
                  <a:gd name="T26" fmla="*/ 2147483647 w 288"/>
                  <a:gd name="T27" fmla="*/ 2147483647 h 162"/>
                  <a:gd name="T28" fmla="*/ 2147483647 w 288"/>
                  <a:gd name="T29" fmla="*/ 2147483647 h 162"/>
                  <a:gd name="T30" fmla="*/ 2147483647 w 288"/>
                  <a:gd name="T31" fmla="*/ 2147483647 h 162"/>
                  <a:gd name="T32" fmla="*/ 2147483647 w 288"/>
                  <a:gd name="T33" fmla="*/ 2147483647 h 162"/>
                  <a:gd name="T34" fmla="*/ 2147483647 w 288"/>
                  <a:gd name="T35" fmla="*/ 2147483647 h 162"/>
                  <a:gd name="T36" fmla="*/ 2147483647 w 288"/>
                  <a:gd name="T37" fmla="*/ 2147483647 h 162"/>
                  <a:gd name="T38" fmla="*/ 2147483647 w 288"/>
                  <a:gd name="T39" fmla="*/ 2147483647 h 162"/>
                  <a:gd name="T40" fmla="*/ 2147483647 w 288"/>
                  <a:gd name="T41" fmla="*/ 2147483647 h 162"/>
                  <a:gd name="T42" fmla="*/ 2147483647 w 288"/>
                  <a:gd name="T43" fmla="*/ 2147483647 h 162"/>
                  <a:gd name="T44" fmla="*/ 2147483647 w 288"/>
                  <a:gd name="T45" fmla="*/ 2147483647 h 162"/>
                  <a:gd name="T46" fmla="*/ 2147483647 w 288"/>
                  <a:gd name="T47" fmla="*/ 2147483647 h 162"/>
                  <a:gd name="T48" fmla="*/ 2147483647 w 288"/>
                  <a:gd name="T49" fmla="*/ 2147483647 h 162"/>
                  <a:gd name="T50" fmla="*/ 2147483647 w 288"/>
                  <a:gd name="T51" fmla="*/ 2147483647 h 162"/>
                  <a:gd name="T52" fmla="*/ 2147483647 w 288"/>
                  <a:gd name="T53" fmla="*/ 2147483647 h 162"/>
                  <a:gd name="T54" fmla="*/ 2147483647 w 288"/>
                  <a:gd name="T55" fmla="*/ 2147483647 h 162"/>
                  <a:gd name="T56" fmla="*/ 2147483647 w 288"/>
                  <a:gd name="T57" fmla="*/ 2147483647 h 162"/>
                  <a:gd name="T58" fmla="*/ 2147483647 w 288"/>
                  <a:gd name="T59" fmla="*/ 2147483647 h 162"/>
                  <a:gd name="T60" fmla="*/ 2147483647 w 288"/>
                  <a:gd name="T61" fmla="*/ 2147483647 h 162"/>
                  <a:gd name="T62" fmla="*/ 2147483647 w 288"/>
                  <a:gd name="T63" fmla="*/ 2147483647 h 162"/>
                  <a:gd name="T64" fmla="*/ 2147483647 w 288"/>
                  <a:gd name="T65" fmla="*/ 2147483647 h 162"/>
                  <a:gd name="T66" fmla="*/ 2147483647 w 288"/>
                  <a:gd name="T67" fmla="*/ 0 h 162"/>
                  <a:gd name="T68" fmla="*/ 2147483647 w 288"/>
                  <a:gd name="T69" fmla="*/ 2147483647 h 162"/>
                  <a:gd name="T70" fmla="*/ 2147483647 w 288"/>
                  <a:gd name="T71" fmla="*/ 2147483647 h 162"/>
                  <a:gd name="T72" fmla="*/ 2147483647 w 288"/>
                  <a:gd name="T73" fmla="*/ 2147483647 h 16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162"/>
                  <a:gd name="T113" fmla="*/ 288 w 288"/>
                  <a:gd name="T114" fmla="*/ 162 h 16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162">
                    <a:moveTo>
                      <a:pt x="132" y="24"/>
                    </a:moveTo>
                    <a:lnTo>
                      <a:pt x="96" y="24"/>
                    </a:lnTo>
                    <a:lnTo>
                      <a:pt x="90" y="42"/>
                    </a:lnTo>
                    <a:lnTo>
                      <a:pt x="72" y="30"/>
                    </a:lnTo>
                    <a:lnTo>
                      <a:pt x="66" y="42"/>
                    </a:lnTo>
                    <a:lnTo>
                      <a:pt x="60" y="48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30" y="66"/>
                    </a:lnTo>
                    <a:lnTo>
                      <a:pt x="30" y="78"/>
                    </a:lnTo>
                    <a:lnTo>
                      <a:pt x="18" y="90"/>
                    </a:lnTo>
                    <a:lnTo>
                      <a:pt x="12" y="102"/>
                    </a:lnTo>
                    <a:lnTo>
                      <a:pt x="0" y="108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30" y="108"/>
                    </a:lnTo>
                    <a:lnTo>
                      <a:pt x="48" y="108"/>
                    </a:lnTo>
                    <a:lnTo>
                      <a:pt x="54" y="114"/>
                    </a:lnTo>
                    <a:lnTo>
                      <a:pt x="48" y="138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6"/>
                    </a:lnTo>
                    <a:lnTo>
                      <a:pt x="114" y="156"/>
                    </a:lnTo>
                    <a:lnTo>
                      <a:pt x="132" y="138"/>
                    </a:lnTo>
                    <a:lnTo>
                      <a:pt x="132" y="120"/>
                    </a:lnTo>
                    <a:lnTo>
                      <a:pt x="138" y="114"/>
                    </a:lnTo>
                    <a:lnTo>
                      <a:pt x="150" y="114"/>
                    </a:lnTo>
                    <a:lnTo>
                      <a:pt x="156" y="120"/>
                    </a:lnTo>
                    <a:lnTo>
                      <a:pt x="156" y="126"/>
                    </a:lnTo>
                    <a:lnTo>
                      <a:pt x="162" y="132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92" y="162"/>
                    </a:lnTo>
                    <a:lnTo>
                      <a:pt x="192" y="144"/>
                    </a:lnTo>
                    <a:lnTo>
                      <a:pt x="204" y="132"/>
                    </a:lnTo>
                    <a:lnTo>
                      <a:pt x="210" y="108"/>
                    </a:lnTo>
                    <a:lnTo>
                      <a:pt x="222" y="126"/>
                    </a:lnTo>
                    <a:lnTo>
                      <a:pt x="240" y="120"/>
                    </a:lnTo>
                    <a:lnTo>
                      <a:pt x="258" y="132"/>
                    </a:lnTo>
                    <a:lnTo>
                      <a:pt x="264" y="120"/>
                    </a:lnTo>
                    <a:lnTo>
                      <a:pt x="252" y="108"/>
                    </a:lnTo>
                    <a:lnTo>
                      <a:pt x="252" y="102"/>
                    </a:lnTo>
                    <a:lnTo>
                      <a:pt x="276" y="102"/>
                    </a:lnTo>
                    <a:lnTo>
                      <a:pt x="282" y="84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6" y="66"/>
                    </a:lnTo>
                    <a:lnTo>
                      <a:pt x="270" y="66"/>
                    </a:lnTo>
                    <a:lnTo>
                      <a:pt x="252" y="84"/>
                    </a:lnTo>
                    <a:lnTo>
                      <a:pt x="246" y="84"/>
                    </a:lnTo>
                    <a:lnTo>
                      <a:pt x="246" y="66"/>
                    </a:lnTo>
                    <a:lnTo>
                      <a:pt x="210" y="66"/>
                    </a:lnTo>
                    <a:lnTo>
                      <a:pt x="210" y="60"/>
                    </a:lnTo>
                    <a:lnTo>
                      <a:pt x="216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28" y="30"/>
                    </a:lnTo>
                    <a:lnTo>
                      <a:pt x="216" y="30"/>
                    </a:lnTo>
                    <a:lnTo>
                      <a:pt x="210" y="18"/>
                    </a:lnTo>
                    <a:lnTo>
                      <a:pt x="192" y="12"/>
                    </a:lnTo>
                    <a:lnTo>
                      <a:pt x="180" y="12"/>
                    </a:lnTo>
                    <a:lnTo>
                      <a:pt x="174" y="6"/>
                    </a:lnTo>
                    <a:lnTo>
                      <a:pt x="162" y="0"/>
                    </a:lnTo>
                    <a:lnTo>
                      <a:pt x="156" y="0"/>
                    </a:lnTo>
                    <a:lnTo>
                      <a:pt x="150" y="6"/>
                    </a:lnTo>
                    <a:lnTo>
                      <a:pt x="150" y="18"/>
                    </a:lnTo>
                    <a:lnTo>
                      <a:pt x="156" y="24"/>
                    </a:lnTo>
                    <a:lnTo>
                      <a:pt x="150" y="18"/>
                    </a:lnTo>
                    <a:lnTo>
                      <a:pt x="132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5" name="Swed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ED9B78E-6E32-92C9-297F-314EDDA7B82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051657" y="1477388"/>
                <a:ext cx="312172" cy="445261"/>
              </a:xfrm>
              <a:custGeom>
                <a:avLst/>
                <a:gdLst>
                  <a:gd name="T0" fmla="*/ 2147483647 w 690"/>
                  <a:gd name="T1" fmla="*/ 2147483647 h 990"/>
                  <a:gd name="T2" fmla="*/ 2147483647 w 690"/>
                  <a:gd name="T3" fmla="*/ 2147483647 h 990"/>
                  <a:gd name="T4" fmla="*/ 2147483647 w 690"/>
                  <a:gd name="T5" fmla="*/ 2147483647 h 990"/>
                  <a:gd name="T6" fmla="*/ 2147483647 w 690"/>
                  <a:gd name="T7" fmla="*/ 2147483647 h 990"/>
                  <a:gd name="T8" fmla="*/ 2147483647 w 690"/>
                  <a:gd name="T9" fmla="*/ 2147483647 h 990"/>
                  <a:gd name="T10" fmla="*/ 2147483647 w 690"/>
                  <a:gd name="T11" fmla="*/ 2147483647 h 990"/>
                  <a:gd name="T12" fmla="*/ 2147483647 w 690"/>
                  <a:gd name="T13" fmla="*/ 2147483647 h 990"/>
                  <a:gd name="T14" fmla="*/ 2147483647 w 690"/>
                  <a:gd name="T15" fmla="*/ 2147483647 h 990"/>
                  <a:gd name="T16" fmla="*/ 2147483647 w 690"/>
                  <a:gd name="T17" fmla="*/ 2147483647 h 990"/>
                  <a:gd name="T18" fmla="*/ 2147483647 w 690"/>
                  <a:gd name="T19" fmla="*/ 2147483647 h 990"/>
                  <a:gd name="T20" fmla="*/ 2147483647 w 690"/>
                  <a:gd name="T21" fmla="*/ 2147483647 h 990"/>
                  <a:gd name="T22" fmla="*/ 2147483647 w 690"/>
                  <a:gd name="T23" fmla="*/ 2147483647 h 990"/>
                  <a:gd name="T24" fmla="*/ 2147483647 w 690"/>
                  <a:gd name="T25" fmla="*/ 2147483647 h 990"/>
                  <a:gd name="T26" fmla="*/ 2147483647 w 690"/>
                  <a:gd name="T27" fmla="*/ 2147483647 h 990"/>
                  <a:gd name="T28" fmla="*/ 2147483647 w 690"/>
                  <a:gd name="T29" fmla="*/ 2147483647 h 990"/>
                  <a:gd name="T30" fmla="*/ 2147483647 w 690"/>
                  <a:gd name="T31" fmla="*/ 2147483647 h 990"/>
                  <a:gd name="T32" fmla="*/ 2147483647 w 690"/>
                  <a:gd name="T33" fmla="*/ 2147483647 h 990"/>
                  <a:gd name="T34" fmla="*/ 2147483647 w 690"/>
                  <a:gd name="T35" fmla="*/ 2147483647 h 990"/>
                  <a:gd name="T36" fmla="*/ 2147483647 w 690"/>
                  <a:gd name="T37" fmla="*/ 2147483647 h 990"/>
                  <a:gd name="T38" fmla="*/ 2147483647 w 690"/>
                  <a:gd name="T39" fmla="*/ 2147483647 h 990"/>
                  <a:gd name="T40" fmla="*/ 2147483647 w 690"/>
                  <a:gd name="T41" fmla="*/ 2147483647 h 990"/>
                  <a:gd name="T42" fmla="*/ 2147483647 w 690"/>
                  <a:gd name="T43" fmla="*/ 2147483647 h 990"/>
                  <a:gd name="T44" fmla="*/ 2147483647 w 690"/>
                  <a:gd name="T45" fmla="*/ 2147483647 h 990"/>
                  <a:gd name="T46" fmla="*/ 0 w 690"/>
                  <a:gd name="T47" fmla="*/ 2147483647 h 990"/>
                  <a:gd name="T48" fmla="*/ 2147483647 w 690"/>
                  <a:gd name="T49" fmla="*/ 2147483647 h 990"/>
                  <a:gd name="T50" fmla="*/ 2147483647 w 690"/>
                  <a:gd name="T51" fmla="*/ 2147483647 h 990"/>
                  <a:gd name="T52" fmla="*/ 2147483647 w 690"/>
                  <a:gd name="T53" fmla="*/ 2147483647 h 990"/>
                  <a:gd name="T54" fmla="*/ 2147483647 w 690"/>
                  <a:gd name="T55" fmla="*/ 2147483647 h 990"/>
                  <a:gd name="T56" fmla="*/ 2147483647 w 690"/>
                  <a:gd name="T57" fmla="*/ 2147483647 h 990"/>
                  <a:gd name="T58" fmla="*/ 2147483647 w 690"/>
                  <a:gd name="T59" fmla="*/ 2147483647 h 990"/>
                  <a:gd name="T60" fmla="*/ 2147483647 w 690"/>
                  <a:gd name="T61" fmla="*/ 2147483647 h 990"/>
                  <a:gd name="T62" fmla="*/ 2147483647 w 690"/>
                  <a:gd name="T63" fmla="*/ 2147483647 h 990"/>
                  <a:gd name="T64" fmla="*/ 2147483647 w 690"/>
                  <a:gd name="T65" fmla="*/ 2147483647 h 990"/>
                  <a:gd name="T66" fmla="*/ 2147483647 w 690"/>
                  <a:gd name="T67" fmla="*/ 2147483647 h 990"/>
                  <a:gd name="T68" fmla="*/ 2147483647 w 690"/>
                  <a:gd name="T69" fmla="*/ 2147483647 h 990"/>
                  <a:gd name="T70" fmla="*/ 2147483647 w 690"/>
                  <a:gd name="T71" fmla="*/ 2147483647 h 990"/>
                  <a:gd name="T72" fmla="*/ 2147483647 w 690"/>
                  <a:gd name="T73" fmla="*/ 2147483647 h 990"/>
                  <a:gd name="T74" fmla="*/ 2147483647 w 690"/>
                  <a:gd name="T75" fmla="*/ 2147483647 h 990"/>
                  <a:gd name="T76" fmla="*/ 2147483647 w 690"/>
                  <a:gd name="T77" fmla="*/ 2147483647 h 990"/>
                  <a:gd name="T78" fmla="*/ 2147483647 w 690"/>
                  <a:gd name="T79" fmla="*/ 2147483647 h 990"/>
                  <a:gd name="T80" fmla="*/ 2147483647 w 690"/>
                  <a:gd name="T81" fmla="*/ 2147483647 h 990"/>
                  <a:gd name="T82" fmla="*/ 2147483647 w 690"/>
                  <a:gd name="T83" fmla="*/ 2147483647 h 990"/>
                  <a:gd name="T84" fmla="*/ 2147483647 w 690"/>
                  <a:gd name="T85" fmla="*/ 2147483647 h 990"/>
                  <a:gd name="T86" fmla="*/ 2147483647 w 690"/>
                  <a:gd name="T87" fmla="*/ 2147483647 h 990"/>
                  <a:gd name="T88" fmla="*/ 2147483647 w 690"/>
                  <a:gd name="T89" fmla="*/ 2147483647 h 990"/>
                  <a:gd name="T90" fmla="*/ 2147483647 w 690"/>
                  <a:gd name="T91" fmla="*/ 2147483647 h 990"/>
                  <a:gd name="T92" fmla="*/ 2147483647 w 690"/>
                  <a:gd name="T93" fmla="*/ 2147483647 h 990"/>
                  <a:gd name="T94" fmla="*/ 2147483647 w 690"/>
                  <a:gd name="T95" fmla="*/ 2147483647 h 990"/>
                  <a:gd name="T96" fmla="*/ 2147483647 w 690"/>
                  <a:gd name="T97" fmla="*/ 2147483647 h 990"/>
                  <a:gd name="T98" fmla="*/ 2147483647 w 690"/>
                  <a:gd name="T99" fmla="*/ 2147483647 h 990"/>
                  <a:gd name="T100" fmla="*/ 2147483647 w 690"/>
                  <a:gd name="T101" fmla="*/ 2147483647 h 9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0"/>
                  <a:gd name="T154" fmla="*/ 0 h 990"/>
                  <a:gd name="T155" fmla="*/ 690 w 690"/>
                  <a:gd name="T156" fmla="*/ 990 h 9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0" h="990">
                    <a:moveTo>
                      <a:pt x="678" y="204"/>
                    </a:moveTo>
                    <a:lnTo>
                      <a:pt x="672" y="198"/>
                    </a:lnTo>
                    <a:lnTo>
                      <a:pt x="660" y="192"/>
                    </a:lnTo>
                    <a:lnTo>
                      <a:pt x="648" y="180"/>
                    </a:lnTo>
                    <a:lnTo>
                      <a:pt x="648" y="174"/>
                    </a:lnTo>
                    <a:lnTo>
                      <a:pt x="654" y="162"/>
                    </a:lnTo>
                    <a:lnTo>
                      <a:pt x="660" y="156"/>
                    </a:lnTo>
                    <a:lnTo>
                      <a:pt x="666" y="144"/>
                    </a:lnTo>
                    <a:lnTo>
                      <a:pt x="642" y="132"/>
                    </a:lnTo>
                    <a:lnTo>
                      <a:pt x="648" y="108"/>
                    </a:lnTo>
                    <a:lnTo>
                      <a:pt x="636" y="102"/>
                    </a:lnTo>
                    <a:lnTo>
                      <a:pt x="636" y="96"/>
                    </a:lnTo>
                    <a:lnTo>
                      <a:pt x="642" y="90"/>
                    </a:lnTo>
                    <a:lnTo>
                      <a:pt x="642" y="66"/>
                    </a:lnTo>
                    <a:lnTo>
                      <a:pt x="636" y="66"/>
                    </a:lnTo>
                    <a:lnTo>
                      <a:pt x="630" y="60"/>
                    </a:lnTo>
                    <a:lnTo>
                      <a:pt x="618" y="60"/>
                    </a:lnTo>
                    <a:lnTo>
                      <a:pt x="588" y="42"/>
                    </a:lnTo>
                    <a:lnTo>
                      <a:pt x="552" y="42"/>
                    </a:lnTo>
                    <a:lnTo>
                      <a:pt x="540" y="30"/>
                    </a:lnTo>
                    <a:lnTo>
                      <a:pt x="534" y="30"/>
                    </a:lnTo>
                    <a:lnTo>
                      <a:pt x="528" y="24"/>
                    </a:lnTo>
                    <a:lnTo>
                      <a:pt x="516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56" y="0"/>
                    </a:lnTo>
                    <a:lnTo>
                      <a:pt x="456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42"/>
                    </a:lnTo>
                    <a:lnTo>
                      <a:pt x="462" y="42"/>
                    </a:lnTo>
                    <a:lnTo>
                      <a:pt x="456" y="48"/>
                    </a:lnTo>
                    <a:lnTo>
                      <a:pt x="444" y="48"/>
                    </a:lnTo>
                    <a:lnTo>
                      <a:pt x="438" y="42"/>
                    </a:lnTo>
                    <a:lnTo>
                      <a:pt x="414" y="42"/>
                    </a:lnTo>
                    <a:lnTo>
                      <a:pt x="390" y="36"/>
                    </a:lnTo>
                    <a:lnTo>
                      <a:pt x="366" y="42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48" y="36"/>
                    </a:lnTo>
                    <a:lnTo>
                      <a:pt x="348" y="66"/>
                    </a:lnTo>
                    <a:lnTo>
                      <a:pt x="342" y="72"/>
                    </a:lnTo>
                    <a:lnTo>
                      <a:pt x="324" y="72"/>
                    </a:lnTo>
                    <a:lnTo>
                      <a:pt x="282" y="78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246" y="102"/>
                    </a:lnTo>
                    <a:lnTo>
                      <a:pt x="246" y="114"/>
                    </a:lnTo>
                    <a:lnTo>
                      <a:pt x="258" y="120"/>
                    </a:lnTo>
                    <a:lnTo>
                      <a:pt x="264" y="126"/>
                    </a:lnTo>
                    <a:lnTo>
                      <a:pt x="258" y="144"/>
                    </a:lnTo>
                    <a:lnTo>
                      <a:pt x="252" y="144"/>
                    </a:lnTo>
                    <a:lnTo>
                      <a:pt x="240" y="150"/>
                    </a:lnTo>
                    <a:lnTo>
                      <a:pt x="234" y="156"/>
                    </a:lnTo>
                    <a:lnTo>
                      <a:pt x="234" y="162"/>
                    </a:lnTo>
                    <a:lnTo>
                      <a:pt x="228" y="168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16" y="180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0" y="198"/>
                    </a:lnTo>
                    <a:lnTo>
                      <a:pt x="204" y="198"/>
                    </a:lnTo>
                    <a:lnTo>
                      <a:pt x="192" y="204"/>
                    </a:lnTo>
                    <a:lnTo>
                      <a:pt x="174" y="192"/>
                    </a:lnTo>
                    <a:lnTo>
                      <a:pt x="174" y="228"/>
                    </a:lnTo>
                    <a:lnTo>
                      <a:pt x="168" y="270"/>
                    </a:lnTo>
                    <a:lnTo>
                      <a:pt x="138" y="300"/>
                    </a:lnTo>
                    <a:lnTo>
                      <a:pt x="132" y="300"/>
                    </a:lnTo>
                    <a:lnTo>
                      <a:pt x="120" y="306"/>
                    </a:lnTo>
                    <a:lnTo>
                      <a:pt x="132" y="312"/>
                    </a:lnTo>
                    <a:lnTo>
                      <a:pt x="150" y="330"/>
                    </a:lnTo>
                    <a:lnTo>
                      <a:pt x="150" y="336"/>
                    </a:lnTo>
                    <a:lnTo>
                      <a:pt x="144" y="342"/>
                    </a:lnTo>
                    <a:lnTo>
                      <a:pt x="102" y="342"/>
                    </a:lnTo>
                    <a:lnTo>
                      <a:pt x="90" y="348"/>
                    </a:lnTo>
                    <a:lnTo>
                      <a:pt x="84" y="354"/>
                    </a:lnTo>
                    <a:lnTo>
                      <a:pt x="72" y="360"/>
                    </a:lnTo>
                    <a:lnTo>
                      <a:pt x="30" y="402"/>
                    </a:lnTo>
                    <a:lnTo>
                      <a:pt x="36" y="408"/>
                    </a:lnTo>
                    <a:lnTo>
                      <a:pt x="42" y="408"/>
                    </a:lnTo>
                    <a:lnTo>
                      <a:pt x="48" y="414"/>
                    </a:lnTo>
                    <a:lnTo>
                      <a:pt x="48" y="420"/>
                    </a:lnTo>
                    <a:lnTo>
                      <a:pt x="42" y="426"/>
                    </a:lnTo>
                    <a:lnTo>
                      <a:pt x="36" y="426"/>
                    </a:lnTo>
                    <a:lnTo>
                      <a:pt x="30" y="432"/>
                    </a:lnTo>
                    <a:lnTo>
                      <a:pt x="30" y="444"/>
                    </a:lnTo>
                    <a:lnTo>
                      <a:pt x="54" y="468"/>
                    </a:lnTo>
                    <a:lnTo>
                      <a:pt x="54" y="480"/>
                    </a:lnTo>
                    <a:lnTo>
                      <a:pt x="48" y="492"/>
                    </a:lnTo>
                    <a:lnTo>
                      <a:pt x="48" y="510"/>
                    </a:lnTo>
                    <a:lnTo>
                      <a:pt x="60" y="522"/>
                    </a:lnTo>
                    <a:lnTo>
                      <a:pt x="66" y="522"/>
                    </a:lnTo>
                    <a:lnTo>
                      <a:pt x="84" y="540"/>
                    </a:lnTo>
                    <a:lnTo>
                      <a:pt x="84" y="552"/>
                    </a:lnTo>
                    <a:lnTo>
                      <a:pt x="72" y="564"/>
                    </a:lnTo>
                    <a:lnTo>
                      <a:pt x="48" y="570"/>
                    </a:lnTo>
                    <a:lnTo>
                      <a:pt x="54" y="576"/>
                    </a:lnTo>
                    <a:lnTo>
                      <a:pt x="60" y="588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66" y="606"/>
                    </a:lnTo>
                    <a:lnTo>
                      <a:pt x="72" y="618"/>
                    </a:lnTo>
                    <a:lnTo>
                      <a:pt x="66" y="618"/>
                    </a:lnTo>
                    <a:lnTo>
                      <a:pt x="66" y="642"/>
                    </a:lnTo>
                    <a:lnTo>
                      <a:pt x="60" y="648"/>
                    </a:lnTo>
                    <a:lnTo>
                      <a:pt x="24" y="648"/>
                    </a:lnTo>
                    <a:lnTo>
                      <a:pt x="30" y="660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18" y="672"/>
                    </a:lnTo>
                    <a:lnTo>
                      <a:pt x="18" y="678"/>
                    </a:lnTo>
                    <a:lnTo>
                      <a:pt x="30" y="690"/>
                    </a:lnTo>
                    <a:lnTo>
                      <a:pt x="30" y="708"/>
                    </a:lnTo>
                    <a:lnTo>
                      <a:pt x="24" y="714"/>
                    </a:lnTo>
                    <a:lnTo>
                      <a:pt x="18" y="726"/>
                    </a:lnTo>
                    <a:lnTo>
                      <a:pt x="0" y="708"/>
                    </a:lnTo>
                    <a:lnTo>
                      <a:pt x="0" y="768"/>
                    </a:lnTo>
                    <a:lnTo>
                      <a:pt x="6" y="762"/>
                    </a:lnTo>
                    <a:lnTo>
                      <a:pt x="24" y="762"/>
                    </a:lnTo>
                    <a:lnTo>
                      <a:pt x="36" y="774"/>
                    </a:lnTo>
                    <a:lnTo>
                      <a:pt x="36" y="780"/>
                    </a:lnTo>
                    <a:lnTo>
                      <a:pt x="30" y="780"/>
                    </a:lnTo>
                    <a:lnTo>
                      <a:pt x="30" y="774"/>
                    </a:lnTo>
                    <a:lnTo>
                      <a:pt x="24" y="774"/>
                    </a:lnTo>
                    <a:lnTo>
                      <a:pt x="24" y="834"/>
                    </a:lnTo>
                    <a:lnTo>
                      <a:pt x="30" y="840"/>
                    </a:lnTo>
                    <a:lnTo>
                      <a:pt x="36" y="840"/>
                    </a:lnTo>
                    <a:lnTo>
                      <a:pt x="48" y="846"/>
                    </a:lnTo>
                    <a:lnTo>
                      <a:pt x="54" y="858"/>
                    </a:lnTo>
                    <a:lnTo>
                      <a:pt x="60" y="864"/>
                    </a:lnTo>
                    <a:lnTo>
                      <a:pt x="66" y="876"/>
                    </a:lnTo>
                    <a:lnTo>
                      <a:pt x="90" y="900"/>
                    </a:lnTo>
                    <a:lnTo>
                      <a:pt x="96" y="900"/>
                    </a:lnTo>
                    <a:lnTo>
                      <a:pt x="96" y="912"/>
                    </a:lnTo>
                    <a:lnTo>
                      <a:pt x="78" y="912"/>
                    </a:lnTo>
                    <a:lnTo>
                      <a:pt x="78" y="942"/>
                    </a:lnTo>
                    <a:lnTo>
                      <a:pt x="90" y="954"/>
                    </a:lnTo>
                    <a:lnTo>
                      <a:pt x="102" y="960"/>
                    </a:lnTo>
                    <a:lnTo>
                      <a:pt x="96" y="966"/>
                    </a:lnTo>
                    <a:lnTo>
                      <a:pt x="96" y="984"/>
                    </a:lnTo>
                    <a:lnTo>
                      <a:pt x="102" y="984"/>
                    </a:lnTo>
                    <a:lnTo>
                      <a:pt x="108" y="990"/>
                    </a:lnTo>
                    <a:lnTo>
                      <a:pt x="174" y="990"/>
                    </a:lnTo>
                    <a:lnTo>
                      <a:pt x="180" y="984"/>
                    </a:lnTo>
                    <a:lnTo>
                      <a:pt x="180" y="948"/>
                    </a:lnTo>
                    <a:lnTo>
                      <a:pt x="198" y="942"/>
                    </a:lnTo>
                    <a:lnTo>
                      <a:pt x="198" y="924"/>
                    </a:lnTo>
                    <a:lnTo>
                      <a:pt x="264" y="930"/>
                    </a:lnTo>
                    <a:lnTo>
                      <a:pt x="276" y="936"/>
                    </a:lnTo>
                    <a:lnTo>
                      <a:pt x="300" y="876"/>
                    </a:lnTo>
                    <a:lnTo>
                      <a:pt x="300" y="864"/>
                    </a:lnTo>
                    <a:lnTo>
                      <a:pt x="306" y="852"/>
                    </a:lnTo>
                    <a:lnTo>
                      <a:pt x="306" y="816"/>
                    </a:lnTo>
                    <a:lnTo>
                      <a:pt x="300" y="810"/>
                    </a:lnTo>
                    <a:lnTo>
                      <a:pt x="294" y="798"/>
                    </a:lnTo>
                    <a:lnTo>
                      <a:pt x="312" y="798"/>
                    </a:lnTo>
                    <a:lnTo>
                      <a:pt x="324" y="786"/>
                    </a:lnTo>
                    <a:lnTo>
                      <a:pt x="324" y="780"/>
                    </a:lnTo>
                    <a:lnTo>
                      <a:pt x="306" y="762"/>
                    </a:lnTo>
                    <a:lnTo>
                      <a:pt x="294" y="762"/>
                    </a:lnTo>
                    <a:lnTo>
                      <a:pt x="312" y="756"/>
                    </a:lnTo>
                    <a:lnTo>
                      <a:pt x="300" y="750"/>
                    </a:lnTo>
                    <a:lnTo>
                      <a:pt x="324" y="750"/>
                    </a:lnTo>
                    <a:lnTo>
                      <a:pt x="336" y="744"/>
                    </a:lnTo>
                    <a:lnTo>
                      <a:pt x="348" y="744"/>
                    </a:lnTo>
                    <a:lnTo>
                      <a:pt x="354" y="738"/>
                    </a:lnTo>
                    <a:lnTo>
                      <a:pt x="360" y="726"/>
                    </a:lnTo>
                    <a:lnTo>
                      <a:pt x="360" y="714"/>
                    </a:lnTo>
                    <a:lnTo>
                      <a:pt x="366" y="708"/>
                    </a:lnTo>
                    <a:lnTo>
                      <a:pt x="384" y="726"/>
                    </a:lnTo>
                    <a:lnTo>
                      <a:pt x="390" y="726"/>
                    </a:lnTo>
                    <a:lnTo>
                      <a:pt x="396" y="720"/>
                    </a:lnTo>
                    <a:lnTo>
                      <a:pt x="408" y="696"/>
                    </a:lnTo>
                    <a:lnTo>
                      <a:pt x="402" y="690"/>
                    </a:lnTo>
                    <a:lnTo>
                      <a:pt x="402" y="684"/>
                    </a:lnTo>
                    <a:lnTo>
                      <a:pt x="414" y="684"/>
                    </a:lnTo>
                    <a:lnTo>
                      <a:pt x="420" y="678"/>
                    </a:lnTo>
                    <a:lnTo>
                      <a:pt x="432" y="672"/>
                    </a:lnTo>
                    <a:lnTo>
                      <a:pt x="432" y="660"/>
                    </a:lnTo>
                    <a:lnTo>
                      <a:pt x="420" y="636"/>
                    </a:lnTo>
                    <a:lnTo>
                      <a:pt x="408" y="630"/>
                    </a:lnTo>
                    <a:lnTo>
                      <a:pt x="408" y="618"/>
                    </a:lnTo>
                    <a:lnTo>
                      <a:pt x="372" y="600"/>
                    </a:lnTo>
                    <a:lnTo>
                      <a:pt x="360" y="606"/>
                    </a:lnTo>
                    <a:lnTo>
                      <a:pt x="354" y="606"/>
                    </a:lnTo>
                    <a:lnTo>
                      <a:pt x="342" y="600"/>
                    </a:lnTo>
                    <a:lnTo>
                      <a:pt x="330" y="576"/>
                    </a:lnTo>
                    <a:lnTo>
                      <a:pt x="330" y="558"/>
                    </a:lnTo>
                    <a:lnTo>
                      <a:pt x="324" y="546"/>
                    </a:lnTo>
                    <a:lnTo>
                      <a:pt x="324" y="528"/>
                    </a:lnTo>
                    <a:lnTo>
                      <a:pt x="336" y="516"/>
                    </a:lnTo>
                    <a:lnTo>
                      <a:pt x="342" y="504"/>
                    </a:lnTo>
                    <a:lnTo>
                      <a:pt x="342" y="486"/>
                    </a:lnTo>
                    <a:lnTo>
                      <a:pt x="336" y="474"/>
                    </a:lnTo>
                    <a:lnTo>
                      <a:pt x="330" y="468"/>
                    </a:lnTo>
                    <a:lnTo>
                      <a:pt x="330" y="462"/>
                    </a:lnTo>
                    <a:lnTo>
                      <a:pt x="348" y="462"/>
                    </a:lnTo>
                    <a:lnTo>
                      <a:pt x="354" y="456"/>
                    </a:lnTo>
                    <a:lnTo>
                      <a:pt x="354" y="438"/>
                    </a:lnTo>
                    <a:lnTo>
                      <a:pt x="348" y="426"/>
                    </a:lnTo>
                    <a:lnTo>
                      <a:pt x="354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96" y="420"/>
                    </a:lnTo>
                    <a:lnTo>
                      <a:pt x="408" y="408"/>
                    </a:lnTo>
                    <a:lnTo>
                      <a:pt x="438" y="414"/>
                    </a:lnTo>
                    <a:lnTo>
                      <a:pt x="450" y="390"/>
                    </a:lnTo>
                    <a:lnTo>
                      <a:pt x="480" y="390"/>
                    </a:lnTo>
                    <a:lnTo>
                      <a:pt x="498" y="384"/>
                    </a:lnTo>
                    <a:lnTo>
                      <a:pt x="510" y="378"/>
                    </a:lnTo>
                    <a:lnTo>
                      <a:pt x="522" y="354"/>
                    </a:lnTo>
                    <a:lnTo>
                      <a:pt x="540" y="336"/>
                    </a:lnTo>
                    <a:lnTo>
                      <a:pt x="546" y="324"/>
                    </a:lnTo>
                    <a:lnTo>
                      <a:pt x="528" y="300"/>
                    </a:lnTo>
                    <a:lnTo>
                      <a:pt x="558" y="264"/>
                    </a:lnTo>
                    <a:lnTo>
                      <a:pt x="540" y="246"/>
                    </a:lnTo>
                    <a:lnTo>
                      <a:pt x="576" y="234"/>
                    </a:lnTo>
                    <a:lnTo>
                      <a:pt x="594" y="216"/>
                    </a:lnTo>
                    <a:lnTo>
                      <a:pt x="672" y="222"/>
                    </a:lnTo>
                    <a:lnTo>
                      <a:pt x="684" y="240"/>
                    </a:lnTo>
                    <a:lnTo>
                      <a:pt x="690" y="240"/>
                    </a:lnTo>
                    <a:lnTo>
                      <a:pt x="678" y="204"/>
                    </a:lnTo>
                    <a:close/>
                    <a:moveTo>
                      <a:pt x="390" y="828"/>
                    </a:moveTo>
                    <a:lnTo>
                      <a:pt x="390" y="840"/>
                    </a:lnTo>
                    <a:lnTo>
                      <a:pt x="396" y="852"/>
                    </a:lnTo>
                    <a:lnTo>
                      <a:pt x="396" y="864"/>
                    </a:lnTo>
                    <a:lnTo>
                      <a:pt x="402" y="870"/>
                    </a:lnTo>
                    <a:lnTo>
                      <a:pt x="402" y="876"/>
                    </a:lnTo>
                    <a:lnTo>
                      <a:pt x="414" y="852"/>
                    </a:lnTo>
                    <a:lnTo>
                      <a:pt x="426" y="852"/>
                    </a:lnTo>
                    <a:lnTo>
                      <a:pt x="432" y="846"/>
                    </a:lnTo>
                    <a:lnTo>
                      <a:pt x="438" y="834"/>
                    </a:lnTo>
                    <a:lnTo>
                      <a:pt x="438" y="822"/>
                    </a:lnTo>
                    <a:lnTo>
                      <a:pt x="432" y="816"/>
                    </a:lnTo>
                    <a:lnTo>
                      <a:pt x="450" y="798"/>
                    </a:lnTo>
                    <a:lnTo>
                      <a:pt x="444" y="798"/>
                    </a:lnTo>
                    <a:lnTo>
                      <a:pt x="438" y="804"/>
                    </a:lnTo>
                    <a:lnTo>
                      <a:pt x="420" y="804"/>
                    </a:lnTo>
                    <a:lnTo>
                      <a:pt x="408" y="810"/>
                    </a:lnTo>
                    <a:lnTo>
                      <a:pt x="390" y="828"/>
                    </a:lnTo>
                    <a:close/>
                    <a:moveTo>
                      <a:pt x="300" y="900"/>
                    </a:moveTo>
                    <a:lnTo>
                      <a:pt x="300" y="912"/>
                    </a:lnTo>
                    <a:lnTo>
                      <a:pt x="294" y="924"/>
                    </a:lnTo>
                    <a:lnTo>
                      <a:pt x="300" y="918"/>
                    </a:lnTo>
                    <a:lnTo>
                      <a:pt x="312" y="912"/>
                    </a:lnTo>
                    <a:lnTo>
                      <a:pt x="318" y="900"/>
                    </a:lnTo>
                    <a:lnTo>
                      <a:pt x="318" y="894"/>
                    </a:lnTo>
                    <a:lnTo>
                      <a:pt x="324" y="888"/>
                    </a:lnTo>
                    <a:lnTo>
                      <a:pt x="324" y="882"/>
                    </a:lnTo>
                    <a:lnTo>
                      <a:pt x="342" y="858"/>
                    </a:lnTo>
                    <a:lnTo>
                      <a:pt x="336" y="840"/>
                    </a:lnTo>
                    <a:lnTo>
                      <a:pt x="330" y="852"/>
                    </a:lnTo>
                    <a:lnTo>
                      <a:pt x="312" y="870"/>
                    </a:lnTo>
                    <a:lnTo>
                      <a:pt x="300" y="894"/>
                    </a:lnTo>
                    <a:lnTo>
                      <a:pt x="300" y="9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6" name="Spa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F01CEB9-4477-D654-28FC-C80B2F92B56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455692" y="2330655"/>
                <a:ext cx="393764" cy="276735"/>
              </a:xfrm>
              <a:custGeom>
                <a:avLst/>
                <a:gdLst>
                  <a:gd name="T0" fmla="*/ 2147483647 w 876"/>
                  <a:gd name="T1" fmla="*/ 2147483647 h 618"/>
                  <a:gd name="T2" fmla="*/ 2147483647 w 876"/>
                  <a:gd name="T3" fmla="*/ 2147483647 h 618"/>
                  <a:gd name="T4" fmla="*/ 2147483647 w 876"/>
                  <a:gd name="T5" fmla="*/ 2147483647 h 618"/>
                  <a:gd name="T6" fmla="*/ 2147483647 w 876"/>
                  <a:gd name="T7" fmla="*/ 2147483647 h 618"/>
                  <a:gd name="T8" fmla="*/ 2147483647 w 876"/>
                  <a:gd name="T9" fmla="*/ 2147483647 h 618"/>
                  <a:gd name="T10" fmla="*/ 2147483647 w 876"/>
                  <a:gd name="T11" fmla="*/ 2147483647 h 618"/>
                  <a:gd name="T12" fmla="*/ 2147483647 w 876"/>
                  <a:gd name="T13" fmla="*/ 2147483647 h 618"/>
                  <a:gd name="T14" fmla="*/ 2147483647 w 876"/>
                  <a:gd name="T15" fmla="*/ 2147483647 h 618"/>
                  <a:gd name="T16" fmla="*/ 2147483647 w 876"/>
                  <a:gd name="T17" fmla="*/ 2147483647 h 618"/>
                  <a:gd name="T18" fmla="*/ 2147483647 w 876"/>
                  <a:gd name="T19" fmla="*/ 2147483647 h 618"/>
                  <a:gd name="T20" fmla="*/ 2147483647 w 876"/>
                  <a:gd name="T21" fmla="*/ 2147483647 h 618"/>
                  <a:gd name="T22" fmla="*/ 2147483647 w 876"/>
                  <a:gd name="T23" fmla="*/ 2147483647 h 618"/>
                  <a:gd name="T24" fmla="*/ 2147483647 w 876"/>
                  <a:gd name="T25" fmla="*/ 2147483647 h 618"/>
                  <a:gd name="T26" fmla="*/ 2147483647 w 876"/>
                  <a:gd name="T27" fmla="*/ 2147483647 h 618"/>
                  <a:gd name="T28" fmla="*/ 2147483647 w 876"/>
                  <a:gd name="T29" fmla="*/ 2147483647 h 618"/>
                  <a:gd name="T30" fmla="*/ 2147483647 w 876"/>
                  <a:gd name="T31" fmla="*/ 2147483647 h 618"/>
                  <a:gd name="T32" fmla="*/ 2147483647 w 876"/>
                  <a:gd name="T33" fmla="*/ 2147483647 h 618"/>
                  <a:gd name="T34" fmla="*/ 2147483647 w 876"/>
                  <a:gd name="T35" fmla="*/ 2147483647 h 618"/>
                  <a:gd name="T36" fmla="*/ 2147483647 w 876"/>
                  <a:gd name="T37" fmla="*/ 2147483647 h 618"/>
                  <a:gd name="T38" fmla="*/ 2147483647 w 876"/>
                  <a:gd name="T39" fmla="*/ 2147483647 h 618"/>
                  <a:gd name="T40" fmla="*/ 2147483647 w 876"/>
                  <a:gd name="T41" fmla="*/ 0 h 618"/>
                  <a:gd name="T42" fmla="*/ 2147483647 w 876"/>
                  <a:gd name="T43" fmla="*/ 2147483647 h 618"/>
                  <a:gd name="T44" fmla="*/ 0 w 876"/>
                  <a:gd name="T45" fmla="*/ 2147483647 h 618"/>
                  <a:gd name="T46" fmla="*/ 2147483647 w 876"/>
                  <a:gd name="T47" fmla="*/ 2147483647 h 618"/>
                  <a:gd name="T48" fmla="*/ 2147483647 w 876"/>
                  <a:gd name="T49" fmla="*/ 2147483647 h 618"/>
                  <a:gd name="T50" fmla="*/ 2147483647 w 876"/>
                  <a:gd name="T51" fmla="*/ 2147483647 h 618"/>
                  <a:gd name="T52" fmla="*/ 2147483647 w 876"/>
                  <a:gd name="T53" fmla="*/ 2147483647 h 618"/>
                  <a:gd name="T54" fmla="*/ 2147483647 w 876"/>
                  <a:gd name="T55" fmla="*/ 2147483647 h 618"/>
                  <a:gd name="T56" fmla="*/ 2147483647 w 876"/>
                  <a:gd name="T57" fmla="*/ 2147483647 h 618"/>
                  <a:gd name="T58" fmla="*/ 2147483647 w 876"/>
                  <a:gd name="T59" fmla="*/ 2147483647 h 618"/>
                  <a:gd name="T60" fmla="*/ 2147483647 w 876"/>
                  <a:gd name="T61" fmla="*/ 2147483647 h 618"/>
                  <a:gd name="T62" fmla="*/ 2147483647 w 876"/>
                  <a:gd name="T63" fmla="*/ 2147483647 h 618"/>
                  <a:gd name="T64" fmla="*/ 2147483647 w 876"/>
                  <a:gd name="T65" fmla="*/ 2147483647 h 618"/>
                  <a:gd name="T66" fmla="*/ 2147483647 w 876"/>
                  <a:gd name="T67" fmla="*/ 2147483647 h 618"/>
                  <a:gd name="T68" fmla="*/ 2147483647 w 876"/>
                  <a:gd name="T69" fmla="*/ 2147483647 h 618"/>
                  <a:gd name="T70" fmla="*/ 2147483647 w 876"/>
                  <a:gd name="T71" fmla="*/ 2147483647 h 618"/>
                  <a:gd name="T72" fmla="*/ 2147483647 w 876"/>
                  <a:gd name="T73" fmla="*/ 2147483647 h 618"/>
                  <a:gd name="T74" fmla="*/ 2147483647 w 876"/>
                  <a:gd name="T75" fmla="*/ 2147483647 h 618"/>
                  <a:gd name="T76" fmla="*/ 2147483647 w 876"/>
                  <a:gd name="T77" fmla="*/ 2147483647 h 618"/>
                  <a:gd name="T78" fmla="*/ 2147483647 w 876"/>
                  <a:gd name="T79" fmla="*/ 2147483647 h 618"/>
                  <a:gd name="T80" fmla="*/ 2147483647 w 876"/>
                  <a:gd name="T81" fmla="*/ 2147483647 h 618"/>
                  <a:gd name="T82" fmla="*/ 2147483647 w 876"/>
                  <a:gd name="T83" fmla="*/ 2147483647 h 618"/>
                  <a:gd name="T84" fmla="*/ 2147483647 w 876"/>
                  <a:gd name="T85" fmla="*/ 2147483647 h 618"/>
                  <a:gd name="T86" fmla="*/ 2147483647 w 876"/>
                  <a:gd name="T87" fmla="*/ 2147483647 h 618"/>
                  <a:gd name="T88" fmla="*/ 2147483647 w 876"/>
                  <a:gd name="T89" fmla="*/ 2147483647 h 618"/>
                  <a:gd name="T90" fmla="*/ 2147483647 w 876"/>
                  <a:gd name="T91" fmla="*/ 2147483647 h 618"/>
                  <a:gd name="T92" fmla="*/ 2147483647 w 876"/>
                  <a:gd name="T93" fmla="*/ 2147483647 h 618"/>
                  <a:gd name="T94" fmla="*/ 2147483647 w 876"/>
                  <a:gd name="T95" fmla="*/ 2147483647 h 618"/>
                  <a:gd name="T96" fmla="*/ 2147483647 w 876"/>
                  <a:gd name="T97" fmla="*/ 2147483647 h 618"/>
                  <a:gd name="T98" fmla="*/ 2147483647 w 876"/>
                  <a:gd name="T99" fmla="*/ 2147483647 h 618"/>
                  <a:gd name="T100" fmla="*/ 2147483647 w 876"/>
                  <a:gd name="T101" fmla="*/ 2147483647 h 618"/>
                  <a:gd name="T102" fmla="*/ 2147483647 w 876"/>
                  <a:gd name="T103" fmla="*/ 2147483647 h 618"/>
                  <a:gd name="T104" fmla="*/ 2147483647 w 876"/>
                  <a:gd name="T105" fmla="*/ 2147483647 h 618"/>
                  <a:gd name="T106" fmla="*/ 2147483647 w 876"/>
                  <a:gd name="T107" fmla="*/ 2147483647 h 618"/>
                  <a:gd name="T108" fmla="*/ 2147483647 w 876"/>
                  <a:gd name="T109" fmla="*/ 2147483647 h 6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6"/>
                  <a:gd name="T166" fmla="*/ 0 h 618"/>
                  <a:gd name="T167" fmla="*/ 876 w 876"/>
                  <a:gd name="T168" fmla="*/ 618 h 61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6" h="618">
                    <a:moveTo>
                      <a:pt x="804" y="318"/>
                    </a:moveTo>
                    <a:lnTo>
                      <a:pt x="798" y="312"/>
                    </a:lnTo>
                    <a:lnTo>
                      <a:pt x="798" y="306"/>
                    </a:lnTo>
                    <a:lnTo>
                      <a:pt x="786" y="306"/>
                    </a:lnTo>
                    <a:lnTo>
                      <a:pt x="762" y="318"/>
                    </a:lnTo>
                    <a:lnTo>
                      <a:pt x="750" y="330"/>
                    </a:lnTo>
                    <a:lnTo>
                      <a:pt x="750" y="336"/>
                    </a:lnTo>
                    <a:lnTo>
                      <a:pt x="756" y="342"/>
                    </a:lnTo>
                    <a:lnTo>
                      <a:pt x="768" y="342"/>
                    </a:lnTo>
                    <a:lnTo>
                      <a:pt x="774" y="348"/>
                    </a:lnTo>
                    <a:lnTo>
                      <a:pt x="774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816" y="324"/>
                    </a:lnTo>
                    <a:lnTo>
                      <a:pt x="810" y="318"/>
                    </a:lnTo>
                    <a:lnTo>
                      <a:pt x="804" y="318"/>
                    </a:lnTo>
                    <a:close/>
                    <a:moveTo>
                      <a:pt x="672" y="390"/>
                    </a:moveTo>
                    <a:lnTo>
                      <a:pt x="678" y="396"/>
                    </a:lnTo>
                    <a:lnTo>
                      <a:pt x="684" y="396"/>
                    </a:lnTo>
                    <a:lnTo>
                      <a:pt x="690" y="390"/>
                    </a:lnTo>
                    <a:lnTo>
                      <a:pt x="690" y="372"/>
                    </a:lnTo>
                    <a:lnTo>
                      <a:pt x="684" y="372"/>
                    </a:lnTo>
                    <a:lnTo>
                      <a:pt x="672" y="384"/>
                    </a:lnTo>
                    <a:lnTo>
                      <a:pt x="672" y="390"/>
                    </a:lnTo>
                    <a:close/>
                    <a:moveTo>
                      <a:pt x="840" y="300"/>
                    </a:moveTo>
                    <a:lnTo>
                      <a:pt x="840" y="306"/>
                    </a:lnTo>
                    <a:lnTo>
                      <a:pt x="852" y="318"/>
                    </a:lnTo>
                    <a:lnTo>
                      <a:pt x="870" y="318"/>
                    </a:lnTo>
                    <a:lnTo>
                      <a:pt x="876" y="312"/>
                    </a:lnTo>
                    <a:lnTo>
                      <a:pt x="864" y="300"/>
                    </a:lnTo>
                    <a:lnTo>
                      <a:pt x="852" y="300"/>
                    </a:lnTo>
                    <a:lnTo>
                      <a:pt x="846" y="294"/>
                    </a:lnTo>
                    <a:lnTo>
                      <a:pt x="840" y="300"/>
                    </a:lnTo>
                    <a:close/>
                    <a:moveTo>
                      <a:pt x="804" y="150"/>
                    </a:moveTo>
                    <a:lnTo>
                      <a:pt x="798" y="138"/>
                    </a:lnTo>
                    <a:lnTo>
                      <a:pt x="798" y="132"/>
                    </a:lnTo>
                    <a:lnTo>
                      <a:pt x="810" y="120"/>
                    </a:lnTo>
                    <a:lnTo>
                      <a:pt x="798" y="114"/>
                    </a:lnTo>
                    <a:lnTo>
                      <a:pt x="792" y="108"/>
                    </a:lnTo>
                    <a:lnTo>
                      <a:pt x="792" y="102"/>
                    </a:lnTo>
                    <a:lnTo>
                      <a:pt x="780" y="102"/>
                    </a:lnTo>
                    <a:lnTo>
                      <a:pt x="780" y="108"/>
                    </a:lnTo>
                    <a:lnTo>
                      <a:pt x="774" y="114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26" y="108"/>
                    </a:lnTo>
                    <a:lnTo>
                      <a:pt x="726" y="102"/>
                    </a:lnTo>
                    <a:lnTo>
                      <a:pt x="708" y="102"/>
                    </a:lnTo>
                    <a:lnTo>
                      <a:pt x="696" y="108"/>
                    </a:lnTo>
                    <a:lnTo>
                      <a:pt x="690" y="84"/>
                    </a:lnTo>
                    <a:lnTo>
                      <a:pt x="672" y="84"/>
                    </a:lnTo>
                    <a:lnTo>
                      <a:pt x="672" y="78"/>
                    </a:lnTo>
                    <a:lnTo>
                      <a:pt x="666" y="72"/>
                    </a:lnTo>
                    <a:lnTo>
                      <a:pt x="648" y="72"/>
                    </a:lnTo>
                    <a:lnTo>
                      <a:pt x="642" y="78"/>
                    </a:lnTo>
                    <a:lnTo>
                      <a:pt x="642" y="90"/>
                    </a:lnTo>
                    <a:lnTo>
                      <a:pt x="624" y="96"/>
                    </a:lnTo>
                    <a:lnTo>
                      <a:pt x="624" y="84"/>
                    </a:lnTo>
                    <a:lnTo>
                      <a:pt x="594" y="84"/>
                    </a:lnTo>
                    <a:lnTo>
                      <a:pt x="582" y="72"/>
                    </a:lnTo>
                    <a:lnTo>
                      <a:pt x="570" y="72"/>
                    </a:lnTo>
                    <a:lnTo>
                      <a:pt x="564" y="78"/>
                    </a:lnTo>
                    <a:lnTo>
                      <a:pt x="546" y="60"/>
                    </a:lnTo>
                    <a:lnTo>
                      <a:pt x="510" y="60"/>
                    </a:lnTo>
                    <a:lnTo>
                      <a:pt x="516" y="54"/>
                    </a:lnTo>
                    <a:lnTo>
                      <a:pt x="516" y="48"/>
                    </a:lnTo>
                    <a:lnTo>
                      <a:pt x="504" y="36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36"/>
                    </a:lnTo>
                    <a:lnTo>
                      <a:pt x="450" y="36"/>
                    </a:lnTo>
                    <a:lnTo>
                      <a:pt x="390" y="24"/>
                    </a:lnTo>
                    <a:lnTo>
                      <a:pt x="378" y="24"/>
                    </a:lnTo>
                    <a:lnTo>
                      <a:pt x="348" y="36"/>
                    </a:lnTo>
                    <a:lnTo>
                      <a:pt x="294" y="30"/>
                    </a:lnTo>
                    <a:lnTo>
                      <a:pt x="258" y="12"/>
                    </a:lnTo>
                    <a:lnTo>
                      <a:pt x="234" y="12"/>
                    </a:lnTo>
                    <a:lnTo>
                      <a:pt x="216" y="18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2" y="90"/>
                    </a:lnTo>
                    <a:lnTo>
                      <a:pt x="24" y="96"/>
                    </a:lnTo>
                    <a:lnTo>
                      <a:pt x="30" y="102"/>
                    </a:lnTo>
                    <a:lnTo>
                      <a:pt x="18" y="138"/>
                    </a:lnTo>
                    <a:lnTo>
                      <a:pt x="24" y="144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5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78" y="15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14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74" y="144"/>
                    </a:lnTo>
                    <a:lnTo>
                      <a:pt x="174" y="162"/>
                    </a:lnTo>
                    <a:lnTo>
                      <a:pt x="180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68" y="198"/>
                    </a:lnTo>
                    <a:lnTo>
                      <a:pt x="144" y="210"/>
                    </a:lnTo>
                    <a:lnTo>
                      <a:pt x="138" y="216"/>
                    </a:lnTo>
                    <a:lnTo>
                      <a:pt x="138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0" y="240"/>
                    </a:lnTo>
                    <a:lnTo>
                      <a:pt x="144" y="258"/>
                    </a:lnTo>
                    <a:lnTo>
                      <a:pt x="144" y="276"/>
                    </a:lnTo>
                    <a:lnTo>
                      <a:pt x="138" y="276"/>
                    </a:lnTo>
                    <a:lnTo>
                      <a:pt x="132" y="282"/>
                    </a:lnTo>
                    <a:lnTo>
                      <a:pt x="132" y="294"/>
                    </a:lnTo>
                    <a:lnTo>
                      <a:pt x="138" y="300"/>
                    </a:lnTo>
                    <a:lnTo>
                      <a:pt x="138" y="312"/>
                    </a:lnTo>
                    <a:lnTo>
                      <a:pt x="126" y="324"/>
                    </a:lnTo>
                    <a:lnTo>
                      <a:pt x="90" y="324"/>
                    </a:lnTo>
                    <a:lnTo>
                      <a:pt x="114" y="348"/>
                    </a:lnTo>
                    <a:lnTo>
                      <a:pt x="114" y="360"/>
                    </a:lnTo>
                    <a:lnTo>
                      <a:pt x="120" y="366"/>
                    </a:lnTo>
                    <a:lnTo>
                      <a:pt x="132" y="372"/>
                    </a:lnTo>
                    <a:lnTo>
                      <a:pt x="132" y="378"/>
                    </a:lnTo>
                    <a:lnTo>
                      <a:pt x="120" y="390"/>
                    </a:lnTo>
                    <a:lnTo>
                      <a:pt x="108" y="396"/>
                    </a:lnTo>
                    <a:lnTo>
                      <a:pt x="96" y="408"/>
                    </a:lnTo>
                    <a:lnTo>
                      <a:pt x="96" y="414"/>
                    </a:lnTo>
                    <a:lnTo>
                      <a:pt x="102" y="420"/>
                    </a:lnTo>
                    <a:lnTo>
                      <a:pt x="102" y="426"/>
                    </a:lnTo>
                    <a:lnTo>
                      <a:pt x="108" y="438"/>
                    </a:lnTo>
                    <a:lnTo>
                      <a:pt x="114" y="444"/>
                    </a:lnTo>
                    <a:lnTo>
                      <a:pt x="126" y="444"/>
                    </a:lnTo>
                    <a:lnTo>
                      <a:pt x="126" y="450"/>
                    </a:lnTo>
                    <a:lnTo>
                      <a:pt x="114" y="462"/>
                    </a:lnTo>
                    <a:lnTo>
                      <a:pt x="102" y="462"/>
                    </a:lnTo>
                    <a:lnTo>
                      <a:pt x="96" y="474"/>
                    </a:lnTo>
                    <a:lnTo>
                      <a:pt x="90" y="480"/>
                    </a:lnTo>
                    <a:lnTo>
                      <a:pt x="90" y="528"/>
                    </a:lnTo>
                    <a:lnTo>
                      <a:pt x="120" y="528"/>
                    </a:lnTo>
                    <a:lnTo>
                      <a:pt x="144" y="546"/>
                    </a:lnTo>
                    <a:lnTo>
                      <a:pt x="162" y="546"/>
                    </a:lnTo>
                    <a:lnTo>
                      <a:pt x="156" y="576"/>
                    </a:lnTo>
                    <a:lnTo>
                      <a:pt x="162" y="576"/>
                    </a:lnTo>
                    <a:lnTo>
                      <a:pt x="162" y="594"/>
                    </a:lnTo>
                    <a:lnTo>
                      <a:pt x="168" y="606"/>
                    </a:lnTo>
                    <a:lnTo>
                      <a:pt x="174" y="612"/>
                    </a:lnTo>
                    <a:lnTo>
                      <a:pt x="192" y="612"/>
                    </a:lnTo>
                    <a:lnTo>
                      <a:pt x="198" y="618"/>
                    </a:lnTo>
                    <a:lnTo>
                      <a:pt x="204" y="618"/>
                    </a:lnTo>
                    <a:lnTo>
                      <a:pt x="210" y="612"/>
                    </a:lnTo>
                    <a:lnTo>
                      <a:pt x="222" y="606"/>
                    </a:lnTo>
                    <a:lnTo>
                      <a:pt x="240" y="588"/>
                    </a:lnTo>
                    <a:lnTo>
                      <a:pt x="252" y="582"/>
                    </a:lnTo>
                    <a:lnTo>
                      <a:pt x="264" y="582"/>
                    </a:lnTo>
                    <a:lnTo>
                      <a:pt x="294" y="564"/>
                    </a:lnTo>
                    <a:lnTo>
                      <a:pt x="360" y="564"/>
                    </a:lnTo>
                    <a:lnTo>
                      <a:pt x="366" y="558"/>
                    </a:lnTo>
                    <a:lnTo>
                      <a:pt x="378" y="558"/>
                    </a:lnTo>
                    <a:lnTo>
                      <a:pt x="390" y="570"/>
                    </a:lnTo>
                    <a:lnTo>
                      <a:pt x="396" y="570"/>
                    </a:lnTo>
                    <a:lnTo>
                      <a:pt x="408" y="564"/>
                    </a:lnTo>
                    <a:lnTo>
                      <a:pt x="420" y="564"/>
                    </a:lnTo>
                    <a:lnTo>
                      <a:pt x="426" y="558"/>
                    </a:lnTo>
                    <a:lnTo>
                      <a:pt x="432" y="558"/>
                    </a:lnTo>
                    <a:lnTo>
                      <a:pt x="432" y="570"/>
                    </a:lnTo>
                    <a:lnTo>
                      <a:pt x="438" y="570"/>
                    </a:lnTo>
                    <a:lnTo>
                      <a:pt x="450" y="558"/>
                    </a:lnTo>
                    <a:lnTo>
                      <a:pt x="462" y="534"/>
                    </a:lnTo>
                    <a:lnTo>
                      <a:pt x="462" y="522"/>
                    </a:lnTo>
                    <a:lnTo>
                      <a:pt x="498" y="492"/>
                    </a:lnTo>
                    <a:lnTo>
                      <a:pt x="528" y="492"/>
                    </a:lnTo>
                    <a:lnTo>
                      <a:pt x="534" y="474"/>
                    </a:lnTo>
                    <a:lnTo>
                      <a:pt x="534" y="468"/>
                    </a:lnTo>
                    <a:lnTo>
                      <a:pt x="540" y="462"/>
                    </a:lnTo>
                    <a:lnTo>
                      <a:pt x="540" y="450"/>
                    </a:lnTo>
                    <a:lnTo>
                      <a:pt x="546" y="444"/>
                    </a:lnTo>
                    <a:lnTo>
                      <a:pt x="552" y="432"/>
                    </a:lnTo>
                    <a:lnTo>
                      <a:pt x="552" y="426"/>
                    </a:lnTo>
                    <a:lnTo>
                      <a:pt x="570" y="426"/>
                    </a:lnTo>
                    <a:lnTo>
                      <a:pt x="594" y="414"/>
                    </a:lnTo>
                    <a:lnTo>
                      <a:pt x="600" y="408"/>
                    </a:lnTo>
                    <a:lnTo>
                      <a:pt x="594" y="396"/>
                    </a:lnTo>
                    <a:lnTo>
                      <a:pt x="588" y="390"/>
                    </a:lnTo>
                    <a:lnTo>
                      <a:pt x="582" y="378"/>
                    </a:lnTo>
                    <a:lnTo>
                      <a:pt x="576" y="372"/>
                    </a:lnTo>
                    <a:lnTo>
                      <a:pt x="570" y="372"/>
                    </a:lnTo>
                    <a:lnTo>
                      <a:pt x="570" y="336"/>
                    </a:lnTo>
                    <a:lnTo>
                      <a:pt x="582" y="312"/>
                    </a:lnTo>
                    <a:lnTo>
                      <a:pt x="594" y="306"/>
                    </a:lnTo>
                    <a:lnTo>
                      <a:pt x="600" y="294"/>
                    </a:lnTo>
                    <a:lnTo>
                      <a:pt x="612" y="282"/>
                    </a:lnTo>
                    <a:lnTo>
                      <a:pt x="618" y="270"/>
                    </a:lnTo>
                    <a:lnTo>
                      <a:pt x="630" y="258"/>
                    </a:lnTo>
                    <a:lnTo>
                      <a:pt x="642" y="258"/>
                    </a:lnTo>
                    <a:lnTo>
                      <a:pt x="654" y="246"/>
                    </a:lnTo>
                    <a:lnTo>
                      <a:pt x="654" y="240"/>
                    </a:lnTo>
                    <a:lnTo>
                      <a:pt x="648" y="240"/>
                    </a:lnTo>
                    <a:lnTo>
                      <a:pt x="648" y="228"/>
                    </a:lnTo>
                    <a:lnTo>
                      <a:pt x="654" y="222"/>
                    </a:lnTo>
                    <a:lnTo>
                      <a:pt x="726" y="198"/>
                    </a:lnTo>
                    <a:lnTo>
                      <a:pt x="750" y="186"/>
                    </a:lnTo>
                    <a:lnTo>
                      <a:pt x="756" y="174"/>
                    </a:lnTo>
                    <a:lnTo>
                      <a:pt x="768" y="168"/>
                    </a:lnTo>
                    <a:lnTo>
                      <a:pt x="774" y="168"/>
                    </a:lnTo>
                    <a:lnTo>
                      <a:pt x="786" y="156"/>
                    </a:lnTo>
                    <a:lnTo>
                      <a:pt x="798" y="156"/>
                    </a:lnTo>
                    <a:lnTo>
                      <a:pt x="804" y="1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7" name="Slov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1CCC63-0A2C-C164-1DB9-9F0A2FEE45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11963" y="2215347"/>
                <a:ext cx="94006" cy="54992"/>
              </a:xfrm>
              <a:custGeom>
                <a:avLst/>
                <a:gdLst>
                  <a:gd name="T0" fmla="*/ 2147483647 w 210"/>
                  <a:gd name="T1" fmla="*/ 2147483647 h 120"/>
                  <a:gd name="T2" fmla="*/ 2147483647 w 210"/>
                  <a:gd name="T3" fmla="*/ 2147483647 h 120"/>
                  <a:gd name="T4" fmla="*/ 2147483647 w 210"/>
                  <a:gd name="T5" fmla="*/ 2147483647 h 120"/>
                  <a:gd name="T6" fmla="*/ 2147483647 w 210"/>
                  <a:gd name="T7" fmla="*/ 2147483647 h 120"/>
                  <a:gd name="T8" fmla="*/ 2147483647 w 210"/>
                  <a:gd name="T9" fmla="*/ 2147483647 h 120"/>
                  <a:gd name="T10" fmla="*/ 2147483647 w 210"/>
                  <a:gd name="T11" fmla="*/ 2147483647 h 120"/>
                  <a:gd name="T12" fmla="*/ 2147483647 w 210"/>
                  <a:gd name="T13" fmla="*/ 2147483647 h 120"/>
                  <a:gd name="T14" fmla="*/ 2147483647 w 210"/>
                  <a:gd name="T15" fmla="*/ 2147483647 h 120"/>
                  <a:gd name="T16" fmla="*/ 2147483647 w 210"/>
                  <a:gd name="T17" fmla="*/ 2147483647 h 120"/>
                  <a:gd name="T18" fmla="*/ 2147483647 w 210"/>
                  <a:gd name="T19" fmla="*/ 2147483647 h 120"/>
                  <a:gd name="T20" fmla="*/ 2147483647 w 210"/>
                  <a:gd name="T21" fmla="*/ 2147483647 h 120"/>
                  <a:gd name="T22" fmla="*/ 2147483647 w 210"/>
                  <a:gd name="T23" fmla="*/ 2147483647 h 120"/>
                  <a:gd name="T24" fmla="*/ 2147483647 w 210"/>
                  <a:gd name="T25" fmla="*/ 2147483647 h 120"/>
                  <a:gd name="T26" fmla="*/ 2147483647 w 210"/>
                  <a:gd name="T27" fmla="*/ 2147483647 h 120"/>
                  <a:gd name="T28" fmla="*/ 2147483647 w 210"/>
                  <a:gd name="T29" fmla="*/ 2147483647 h 120"/>
                  <a:gd name="T30" fmla="*/ 2147483647 w 210"/>
                  <a:gd name="T31" fmla="*/ 2147483647 h 120"/>
                  <a:gd name="T32" fmla="*/ 2147483647 w 210"/>
                  <a:gd name="T33" fmla="*/ 2147483647 h 120"/>
                  <a:gd name="T34" fmla="*/ 2147483647 w 210"/>
                  <a:gd name="T35" fmla="*/ 2147483647 h 120"/>
                  <a:gd name="T36" fmla="*/ 2147483647 w 210"/>
                  <a:gd name="T37" fmla="*/ 2147483647 h 120"/>
                  <a:gd name="T38" fmla="*/ 2147483647 w 210"/>
                  <a:gd name="T39" fmla="*/ 2147483647 h 120"/>
                  <a:gd name="T40" fmla="*/ 2147483647 w 210"/>
                  <a:gd name="T41" fmla="*/ 2147483647 h 120"/>
                  <a:gd name="T42" fmla="*/ 2147483647 w 210"/>
                  <a:gd name="T43" fmla="*/ 0 h 120"/>
                  <a:gd name="T44" fmla="*/ 2147483647 w 210"/>
                  <a:gd name="T45" fmla="*/ 2147483647 h 120"/>
                  <a:gd name="T46" fmla="*/ 2147483647 w 210"/>
                  <a:gd name="T47" fmla="*/ 2147483647 h 120"/>
                  <a:gd name="T48" fmla="*/ 2147483647 w 210"/>
                  <a:gd name="T49" fmla="*/ 2147483647 h 120"/>
                  <a:gd name="T50" fmla="*/ 2147483647 w 210"/>
                  <a:gd name="T51" fmla="*/ 2147483647 h 120"/>
                  <a:gd name="T52" fmla="*/ 2147483647 w 210"/>
                  <a:gd name="T53" fmla="*/ 2147483647 h 120"/>
                  <a:gd name="T54" fmla="*/ 2147483647 w 210"/>
                  <a:gd name="T55" fmla="*/ 2147483647 h 120"/>
                  <a:gd name="T56" fmla="*/ 2147483647 w 210"/>
                  <a:gd name="T57" fmla="*/ 2147483647 h 120"/>
                  <a:gd name="T58" fmla="*/ 2147483647 w 210"/>
                  <a:gd name="T59" fmla="*/ 2147483647 h 120"/>
                  <a:gd name="T60" fmla="*/ 2147483647 w 210"/>
                  <a:gd name="T61" fmla="*/ 2147483647 h 120"/>
                  <a:gd name="T62" fmla="*/ 2147483647 w 210"/>
                  <a:gd name="T63" fmla="*/ 2147483647 h 120"/>
                  <a:gd name="T64" fmla="*/ 2147483647 w 210"/>
                  <a:gd name="T65" fmla="*/ 2147483647 h 120"/>
                  <a:gd name="T66" fmla="*/ 2147483647 w 210"/>
                  <a:gd name="T67" fmla="*/ 2147483647 h 120"/>
                  <a:gd name="T68" fmla="*/ 0 w 210"/>
                  <a:gd name="T69" fmla="*/ 2147483647 h 120"/>
                  <a:gd name="T70" fmla="*/ 2147483647 w 210"/>
                  <a:gd name="T71" fmla="*/ 2147483647 h 120"/>
                  <a:gd name="T72" fmla="*/ 2147483647 w 210"/>
                  <a:gd name="T73" fmla="*/ 2147483647 h 120"/>
                  <a:gd name="T74" fmla="*/ 2147483647 w 210"/>
                  <a:gd name="T75" fmla="*/ 2147483647 h 120"/>
                  <a:gd name="T76" fmla="*/ 2147483647 w 210"/>
                  <a:gd name="T77" fmla="*/ 2147483647 h 120"/>
                  <a:gd name="T78" fmla="*/ 2147483647 w 210"/>
                  <a:gd name="T79" fmla="*/ 2147483647 h 120"/>
                  <a:gd name="T80" fmla="*/ 2147483647 w 210"/>
                  <a:gd name="T81" fmla="*/ 2147483647 h 120"/>
                  <a:gd name="T82" fmla="*/ 2147483647 w 210"/>
                  <a:gd name="T83" fmla="*/ 2147483647 h 120"/>
                  <a:gd name="T84" fmla="*/ 2147483647 w 210"/>
                  <a:gd name="T85" fmla="*/ 2147483647 h 120"/>
                  <a:gd name="T86" fmla="*/ 2147483647 w 210"/>
                  <a:gd name="T87" fmla="*/ 2147483647 h 1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120"/>
                  <a:gd name="T134" fmla="*/ 210 w 210"/>
                  <a:gd name="T135" fmla="*/ 120 h 1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120">
                    <a:moveTo>
                      <a:pt x="24" y="120"/>
                    </a:moveTo>
                    <a:lnTo>
                      <a:pt x="42" y="120"/>
                    </a:lnTo>
                    <a:lnTo>
                      <a:pt x="42" y="108"/>
                    </a:lnTo>
                    <a:lnTo>
                      <a:pt x="54" y="114"/>
                    </a:lnTo>
                    <a:lnTo>
                      <a:pt x="72" y="114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84" y="114"/>
                    </a:lnTo>
                    <a:lnTo>
                      <a:pt x="126" y="114"/>
                    </a:lnTo>
                    <a:lnTo>
                      <a:pt x="126" y="96"/>
                    </a:lnTo>
                    <a:lnTo>
                      <a:pt x="138" y="90"/>
                    </a:lnTo>
                    <a:lnTo>
                      <a:pt x="150" y="78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54"/>
                    </a:lnTo>
                    <a:lnTo>
                      <a:pt x="174" y="54"/>
                    </a:lnTo>
                    <a:lnTo>
                      <a:pt x="186" y="48"/>
                    </a:lnTo>
                    <a:lnTo>
                      <a:pt x="186" y="36"/>
                    </a:lnTo>
                    <a:lnTo>
                      <a:pt x="210" y="36"/>
                    </a:lnTo>
                    <a:lnTo>
                      <a:pt x="192" y="24"/>
                    </a:lnTo>
                    <a:lnTo>
                      <a:pt x="186" y="6"/>
                    </a:lnTo>
                    <a:lnTo>
                      <a:pt x="180" y="0"/>
                    </a:lnTo>
                    <a:lnTo>
                      <a:pt x="174" y="12"/>
                    </a:lnTo>
                    <a:lnTo>
                      <a:pt x="168" y="30"/>
                    </a:lnTo>
                    <a:lnTo>
                      <a:pt x="144" y="24"/>
                    </a:lnTo>
                    <a:lnTo>
                      <a:pt x="132" y="30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54" y="42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12" y="60"/>
                    </a:lnTo>
                    <a:lnTo>
                      <a:pt x="6" y="96"/>
                    </a:lnTo>
                    <a:lnTo>
                      <a:pt x="18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14"/>
                    </a:lnTo>
                    <a:lnTo>
                      <a:pt x="24" y="1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8" name="Slovak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2997F35-D3FD-D758-C899-C146345027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07743" y="2124877"/>
                <a:ext cx="161406" cy="65636"/>
              </a:xfrm>
              <a:custGeom>
                <a:avLst/>
                <a:gdLst>
                  <a:gd name="T0" fmla="*/ 2147483647 w 354"/>
                  <a:gd name="T1" fmla="*/ 2147483647 h 144"/>
                  <a:gd name="T2" fmla="*/ 2147483647 w 354"/>
                  <a:gd name="T3" fmla="*/ 2147483647 h 144"/>
                  <a:gd name="T4" fmla="*/ 2147483647 w 354"/>
                  <a:gd name="T5" fmla="*/ 2147483647 h 144"/>
                  <a:gd name="T6" fmla="*/ 2147483647 w 354"/>
                  <a:gd name="T7" fmla="*/ 2147483647 h 144"/>
                  <a:gd name="T8" fmla="*/ 2147483647 w 354"/>
                  <a:gd name="T9" fmla="*/ 2147483647 h 144"/>
                  <a:gd name="T10" fmla="*/ 2147483647 w 354"/>
                  <a:gd name="T11" fmla="*/ 2147483647 h 144"/>
                  <a:gd name="T12" fmla="*/ 2147483647 w 354"/>
                  <a:gd name="T13" fmla="*/ 2147483647 h 144"/>
                  <a:gd name="T14" fmla="*/ 2147483647 w 354"/>
                  <a:gd name="T15" fmla="*/ 0 h 144"/>
                  <a:gd name="T16" fmla="*/ 2147483647 w 354"/>
                  <a:gd name="T17" fmla="*/ 2147483647 h 144"/>
                  <a:gd name="T18" fmla="*/ 2147483647 w 354"/>
                  <a:gd name="T19" fmla="*/ 0 h 144"/>
                  <a:gd name="T20" fmla="*/ 2147483647 w 354"/>
                  <a:gd name="T21" fmla="*/ 2147483647 h 144"/>
                  <a:gd name="T22" fmla="*/ 2147483647 w 354"/>
                  <a:gd name="T23" fmla="*/ 2147483647 h 144"/>
                  <a:gd name="T24" fmla="*/ 2147483647 w 354"/>
                  <a:gd name="T25" fmla="*/ 2147483647 h 144"/>
                  <a:gd name="T26" fmla="*/ 2147483647 w 354"/>
                  <a:gd name="T27" fmla="*/ 2147483647 h 144"/>
                  <a:gd name="T28" fmla="*/ 2147483647 w 354"/>
                  <a:gd name="T29" fmla="*/ 2147483647 h 144"/>
                  <a:gd name="T30" fmla="*/ 0 w 354"/>
                  <a:gd name="T31" fmla="*/ 2147483647 h 144"/>
                  <a:gd name="T32" fmla="*/ 2147483647 w 354"/>
                  <a:gd name="T33" fmla="*/ 2147483647 h 144"/>
                  <a:gd name="T34" fmla="*/ 2147483647 w 354"/>
                  <a:gd name="T35" fmla="*/ 2147483647 h 144"/>
                  <a:gd name="T36" fmla="*/ 2147483647 w 354"/>
                  <a:gd name="T37" fmla="*/ 2147483647 h 144"/>
                  <a:gd name="T38" fmla="*/ 2147483647 w 354"/>
                  <a:gd name="T39" fmla="*/ 2147483647 h 144"/>
                  <a:gd name="T40" fmla="*/ 2147483647 w 354"/>
                  <a:gd name="T41" fmla="*/ 2147483647 h 144"/>
                  <a:gd name="T42" fmla="*/ 2147483647 w 354"/>
                  <a:gd name="T43" fmla="*/ 2147483647 h 144"/>
                  <a:gd name="T44" fmla="*/ 2147483647 w 354"/>
                  <a:gd name="T45" fmla="*/ 2147483647 h 144"/>
                  <a:gd name="T46" fmla="*/ 2147483647 w 354"/>
                  <a:gd name="T47" fmla="*/ 2147483647 h 144"/>
                  <a:gd name="T48" fmla="*/ 2147483647 w 354"/>
                  <a:gd name="T49" fmla="*/ 2147483647 h 144"/>
                  <a:gd name="T50" fmla="*/ 2147483647 w 354"/>
                  <a:gd name="T51" fmla="*/ 2147483647 h 144"/>
                  <a:gd name="T52" fmla="*/ 2147483647 w 354"/>
                  <a:gd name="T53" fmla="*/ 2147483647 h 144"/>
                  <a:gd name="T54" fmla="*/ 2147483647 w 354"/>
                  <a:gd name="T55" fmla="*/ 2147483647 h 144"/>
                  <a:gd name="T56" fmla="*/ 2147483647 w 354"/>
                  <a:gd name="T57" fmla="*/ 2147483647 h 144"/>
                  <a:gd name="T58" fmla="*/ 2147483647 w 354"/>
                  <a:gd name="T59" fmla="*/ 2147483647 h 144"/>
                  <a:gd name="T60" fmla="*/ 2147483647 w 354"/>
                  <a:gd name="T61" fmla="*/ 2147483647 h 144"/>
                  <a:gd name="T62" fmla="*/ 2147483647 w 354"/>
                  <a:gd name="T63" fmla="*/ 2147483647 h 144"/>
                  <a:gd name="T64" fmla="*/ 2147483647 w 354"/>
                  <a:gd name="T65" fmla="*/ 2147483647 h 144"/>
                  <a:gd name="T66" fmla="*/ 2147483647 w 354"/>
                  <a:gd name="T67" fmla="*/ 2147483647 h 144"/>
                  <a:gd name="T68" fmla="*/ 2147483647 w 354"/>
                  <a:gd name="T69" fmla="*/ 2147483647 h 1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4"/>
                  <a:gd name="T106" fmla="*/ 0 h 144"/>
                  <a:gd name="T107" fmla="*/ 354 w 354"/>
                  <a:gd name="T108" fmla="*/ 144 h 14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4" h="144">
                    <a:moveTo>
                      <a:pt x="348" y="30"/>
                    </a:moveTo>
                    <a:lnTo>
                      <a:pt x="324" y="30"/>
                    </a:lnTo>
                    <a:lnTo>
                      <a:pt x="300" y="6"/>
                    </a:lnTo>
                    <a:lnTo>
                      <a:pt x="276" y="6"/>
                    </a:lnTo>
                    <a:lnTo>
                      <a:pt x="270" y="12"/>
                    </a:lnTo>
                    <a:lnTo>
                      <a:pt x="258" y="18"/>
                    </a:lnTo>
                    <a:lnTo>
                      <a:pt x="246" y="18"/>
                    </a:lnTo>
                    <a:lnTo>
                      <a:pt x="240" y="12"/>
                    </a:lnTo>
                    <a:lnTo>
                      <a:pt x="210" y="12"/>
                    </a:lnTo>
                    <a:lnTo>
                      <a:pt x="210" y="18"/>
                    </a:lnTo>
                    <a:lnTo>
                      <a:pt x="204" y="24"/>
                    </a:lnTo>
                    <a:lnTo>
                      <a:pt x="192" y="24"/>
                    </a:lnTo>
                    <a:lnTo>
                      <a:pt x="186" y="18"/>
                    </a:lnTo>
                    <a:lnTo>
                      <a:pt x="186" y="12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56" y="0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0"/>
                    </a:lnTo>
                    <a:lnTo>
                      <a:pt x="108" y="12"/>
                    </a:lnTo>
                    <a:lnTo>
                      <a:pt x="84" y="18"/>
                    </a:lnTo>
                    <a:lnTo>
                      <a:pt x="84" y="42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54" y="60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30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0" y="90"/>
                    </a:lnTo>
                    <a:lnTo>
                      <a:pt x="0" y="102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12" y="114"/>
                    </a:lnTo>
                    <a:lnTo>
                      <a:pt x="12" y="126"/>
                    </a:lnTo>
                    <a:lnTo>
                      <a:pt x="6" y="132"/>
                    </a:lnTo>
                    <a:lnTo>
                      <a:pt x="18" y="13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90" y="144"/>
                    </a:lnTo>
                    <a:lnTo>
                      <a:pt x="108" y="138"/>
                    </a:lnTo>
                    <a:lnTo>
                      <a:pt x="120" y="138"/>
                    </a:lnTo>
                    <a:lnTo>
                      <a:pt x="132" y="114"/>
                    </a:lnTo>
                    <a:lnTo>
                      <a:pt x="168" y="120"/>
                    </a:lnTo>
                    <a:lnTo>
                      <a:pt x="174" y="108"/>
                    </a:lnTo>
                    <a:lnTo>
                      <a:pt x="198" y="108"/>
                    </a:lnTo>
                    <a:lnTo>
                      <a:pt x="210" y="102"/>
                    </a:lnTo>
                    <a:lnTo>
                      <a:pt x="216" y="102"/>
                    </a:lnTo>
                    <a:lnTo>
                      <a:pt x="228" y="90"/>
                    </a:lnTo>
                    <a:lnTo>
                      <a:pt x="234" y="78"/>
                    </a:lnTo>
                    <a:lnTo>
                      <a:pt x="258" y="78"/>
                    </a:lnTo>
                    <a:lnTo>
                      <a:pt x="258" y="90"/>
                    </a:lnTo>
                    <a:lnTo>
                      <a:pt x="276" y="96"/>
                    </a:lnTo>
                    <a:lnTo>
                      <a:pt x="276" y="78"/>
                    </a:lnTo>
                    <a:lnTo>
                      <a:pt x="288" y="78"/>
                    </a:lnTo>
                    <a:lnTo>
                      <a:pt x="288" y="90"/>
                    </a:lnTo>
                    <a:lnTo>
                      <a:pt x="300" y="90"/>
                    </a:lnTo>
                    <a:lnTo>
                      <a:pt x="312" y="84"/>
                    </a:lnTo>
                    <a:lnTo>
                      <a:pt x="336" y="84"/>
                    </a:lnTo>
                    <a:lnTo>
                      <a:pt x="336" y="90"/>
                    </a:lnTo>
                    <a:lnTo>
                      <a:pt x="336" y="72"/>
                    </a:lnTo>
                    <a:lnTo>
                      <a:pt x="342" y="72"/>
                    </a:lnTo>
                    <a:lnTo>
                      <a:pt x="348" y="66"/>
                    </a:lnTo>
                    <a:lnTo>
                      <a:pt x="348" y="60"/>
                    </a:lnTo>
                    <a:lnTo>
                      <a:pt x="354" y="54"/>
                    </a:lnTo>
                    <a:lnTo>
                      <a:pt x="354" y="30"/>
                    </a:lnTo>
                    <a:lnTo>
                      <a:pt x="348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9" name="Russia (Urup,Simushir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2460820-BC9C-6E7E-5229-E2C5AEABA7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932526" y="1791377"/>
                <a:ext cx="136575" cy="539278"/>
              </a:xfrm>
              <a:custGeom>
                <a:avLst/>
                <a:gdLst>
                  <a:gd name="T0" fmla="*/ 0 w 300"/>
                  <a:gd name="T1" fmla="*/ 2147483647 h 1194"/>
                  <a:gd name="T2" fmla="*/ 2147483647 w 300"/>
                  <a:gd name="T3" fmla="*/ 2147483647 h 1194"/>
                  <a:gd name="T4" fmla="*/ 2147483647 w 300"/>
                  <a:gd name="T5" fmla="*/ 2147483647 h 1194"/>
                  <a:gd name="T6" fmla="*/ 2147483647 w 300"/>
                  <a:gd name="T7" fmla="*/ 2147483647 h 1194"/>
                  <a:gd name="T8" fmla="*/ 0 w 300"/>
                  <a:gd name="T9" fmla="*/ 2147483647 h 1194"/>
                  <a:gd name="T10" fmla="*/ 2147483647 w 300"/>
                  <a:gd name="T11" fmla="*/ 2147483647 h 1194"/>
                  <a:gd name="T12" fmla="*/ 2147483647 w 300"/>
                  <a:gd name="T13" fmla="*/ 2147483647 h 1194"/>
                  <a:gd name="T14" fmla="*/ 2147483647 w 300"/>
                  <a:gd name="T15" fmla="*/ 2147483647 h 1194"/>
                  <a:gd name="T16" fmla="*/ 2147483647 w 300"/>
                  <a:gd name="T17" fmla="*/ 2147483647 h 1194"/>
                  <a:gd name="T18" fmla="*/ 2147483647 w 300"/>
                  <a:gd name="T19" fmla="*/ 2147483647 h 1194"/>
                  <a:gd name="T20" fmla="*/ 2147483647 w 300"/>
                  <a:gd name="T21" fmla="*/ 2147483647 h 1194"/>
                  <a:gd name="T22" fmla="*/ 2147483647 w 300"/>
                  <a:gd name="T23" fmla="*/ 2147483647 h 1194"/>
                  <a:gd name="T24" fmla="*/ 2147483647 w 300"/>
                  <a:gd name="T25" fmla="*/ 2147483647 h 1194"/>
                  <a:gd name="T26" fmla="*/ 2147483647 w 300"/>
                  <a:gd name="T27" fmla="*/ 2147483647 h 1194"/>
                  <a:gd name="T28" fmla="*/ 2147483647 w 300"/>
                  <a:gd name="T29" fmla="*/ 2147483647 h 1194"/>
                  <a:gd name="T30" fmla="*/ 2147483647 w 300"/>
                  <a:gd name="T31" fmla="*/ 2147483647 h 1194"/>
                  <a:gd name="T32" fmla="*/ 2147483647 w 300"/>
                  <a:gd name="T33" fmla="*/ 2147483647 h 1194"/>
                  <a:gd name="T34" fmla="*/ 2147483647 w 300"/>
                  <a:gd name="T35" fmla="*/ 2147483647 h 1194"/>
                  <a:gd name="T36" fmla="*/ 2147483647 w 300"/>
                  <a:gd name="T37" fmla="*/ 2147483647 h 1194"/>
                  <a:gd name="T38" fmla="*/ 2147483647 w 300"/>
                  <a:gd name="T39" fmla="*/ 2147483647 h 1194"/>
                  <a:gd name="T40" fmla="*/ 2147483647 w 300"/>
                  <a:gd name="T41" fmla="*/ 2147483647 h 1194"/>
                  <a:gd name="T42" fmla="*/ 2147483647 w 300"/>
                  <a:gd name="T43" fmla="*/ 2147483647 h 1194"/>
                  <a:gd name="T44" fmla="*/ 2147483647 w 300"/>
                  <a:gd name="T45" fmla="*/ 2147483647 h 1194"/>
                  <a:gd name="T46" fmla="*/ 2147483647 w 300"/>
                  <a:gd name="T47" fmla="*/ 2147483647 h 1194"/>
                  <a:gd name="T48" fmla="*/ 2147483647 w 300"/>
                  <a:gd name="T49" fmla="*/ 2147483647 h 1194"/>
                  <a:gd name="T50" fmla="*/ 2147483647 w 300"/>
                  <a:gd name="T51" fmla="*/ 2147483647 h 1194"/>
                  <a:gd name="T52" fmla="*/ 2147483647 w 300"/>
                  <a:gd name="T53" fmla="*/ 2147483647 h 1194"/>
                  <a:gd name="T54" fmla="*/ 2147483647 w 300"/>
                  <a:gd name="T55" fmla="*/ 2147483647 h 1194"/>
                  <a:gd name="T56" fmla="*/ 2147483647 w 300"/>
                  <a:gd name="T57" fmla="*/ 2147483647 h 1194"/>
                  <a:gd name="T58" fmla="*/ 2147483647 w 300"/>
                  <a:gd name="T59" fmla="*/ 2147483647 h 1194"/>
                  <a:gd name="T60" fmla="*/ 2147483647 w 300"/>
                  <a:gd name="T61" fmla="*/ 2147483647 h 1194"/>
                  <a:gd name="T62" fmla="*/ 2147483647 w 300"/>
                  <a:gd name="T63" fmla="*/ 2147483647 h 1194"/>
                  <a:gd name="T64" fmla="*/ 2147483647 w 300"/>
                  <a:gd name="T65" fmla="*/ 2147483647 h 1194"/>
                  <a:gd name="T66" fmla="*/ 2147483647 w 300"/>
                  <a:gd name="T67" fmla="*/ 2147483647 h 1194"/>
                  <a:gd name="T68" fmla="*/ 2147483647 w 300"/>
                  <a:gd name="T69" fmla="*/ 2147483647 h 1194"/>
                  <a:gd name="T70" fmla="*/ 2147483647 w 300"/>
                  <a:gd name="T71" fmla="*/ 2147483647 h 1194"/>
                  <a:gd name="T72" fmla="*/ 2147483647 w 300"/>
                  <a:gd name="T73" fmla="*/ 2147483647 h 1194"/>
                  <a:gd name="T74" fmla="*/ 2147483647 w 300"/>
                  <a:gd name="T75" fmla="*/ 2147483647 h 1194"/>
                  <a:gd name="T76" fmla="*/ 2147483647 w 300"/>
                  <a:gd name="T77" fmla="*/ 2147483647 h 1194"/>
                  <a:gd name="T78" fmla="*/ 2147483647 w 300"/>
                  <a:gd name="T79" fmla="*/ 2147483647 h 1194"/>
                  <a:gd name="T80" fmla="*/ 2147483647 w 300"/>
                  <a:gd name="T81" fmla="*/ 2147483647 h 1194"/>
                  <a:gd name="T82" fmla="*/ 2147483647 w 300"/>
                  <a:gd name="T83" fmla="*/ 2147483647 h 1194"/>
                  <a:gd name="T84" fmla="*/ 2147483647 w 300"/>
                  <a:gd name="T85" fmla="*/ 2147483647 h 1194"/>
                  <a:gd name="T86" fmla="*/ 2147483647 w 300"/>
                  <a:gd name="T87" fmla="*/ 2147483647 h 1194"/>
                  <a:gd name="T88" fmla="*/ 2147483647 w 300"/>
                  <a:gd name="T89" fmla="*/ 2147483647 h 1194"/>
                  <a:gd name="T90" fmla="*/ 2147483647 w 300"/>
                  <a:gd name="T91" fmla="*/ 2147483647 h 1194"/>
                  <a:gd name="T92" fmla="*/ 2147483647 w 300"/>
                  <a:gd name="T93" fmla="*/ 2147483647 h 1194"/>
                  <a:gd name="T94" fmla="*/ 2147483647 w 300"/>
                  <a:gd name="T95" fmla="*/ 2147483647 h 1194"/>
                  <a:gd name="T96" fmla="*/ 2147483647 w 300"/>
                  <a:gd name="T97" fmla="*/ 2147483647 h 1194"/>
                  <a:gd name="T98" fmla="*/ 2147483647 w 300"/>
                  <a:gd name="T99" fmla="*/ 0 h 1194"/>
                  <a:gd name="T100" fmla="*/ 2147483647 w 300"/>
                  <a:gd name="T101" fmla="*/ 2147483647 h 11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0"/>
                  <a:gd name="T154" fmla="*/ 0 h 1194"/>
                  <a:gd name="T155" fmla="*/ 300 w 300"/>
                  <a:gd name="T156" fmla="*/ 1194 h 11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0" h="1194">
                    <a:moveTo>
                      <a:pt x="0" y="1194"/>
                    </a:moveTo>
                    <a:lnTo>
                      <a:pt x="12" y="1188"/>
                    </a:lnTo>
                    <a:lnTo>
                      <a:pt x="36" y="1146"/>
                    </a:lnTo>
                    <a:lnTo>
                      <a:pt x="18" y="1134"/>
                    </a:lnTo>
                    <a:lnTo>
                      <a:pt x="0" y="1194"/>
                    </a:lnTo>
                    <a:close/>
                    <a:moveTo>
                      <a:pt x="114" y="1068"/>
                    </a:moveTo>
                    <a:lnTo>
                      <a:pt x="72" y="1062"/>
                    </a:lnTo>
                    <a:lnTo>
                      <a:pt x="54" y="1134"/>
                    </a:lnTo>
                    <a:lnTo>
                      <a:pt x="66" y="1134"/>
                    </a:lnTo>
                    <a:lnTo>
                      <a:pt x="84" y="1104"/>
                    </a:lnTo>
                    <a:lnTo>
                      <a:pt x="132" y="1074"/>
                    </a:lnTo>
                    <a:lnTo>
                      <a:pt x="120" y="1050"/>
                    </a:lnTo>
                    <a:lnTo>
                      <a:pt x="114" y="1068"/>
                    </a:lnTo>
                    <a:close/>
                    <a:moveTo>
                      <a:pt x="192" y="1008"/>
                    </a:moveTo>
                    <a:lnTo>
                      <a:pt x="186" y="1008"/>
                    </a:lnTo>
                    <a:lnTo>
                      <a:pt x="180" y="1020"/>
                    </a:lnTo>
                    <a:lnTo>
                      <a:pt x="174" y="1026"/>
                    </a:lnTo>
                    <a:lnTo>
                      <a:pt x="168" y="1038"/>
                    </a:lnTo>
                    <a:lnTo>
                      <a:pt x="168" y="1044"/>
                    </a:lnTo>
                    <a:lnTo>
                      <a:pt x="174" y="1050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192" y="1008"/>
                    </a:lnTo>
                    <a:close/>
                    <a:moveTo>
                      <a:pt x="282" y="636"/>
                    </a:moveTo>
                    <a:lnTo>
                      <a:pt x="264" y="654"/>
                    </a:lnTo>
                    <a:lnTo>
                      <a:pt x="276" y="678"/>
                    </a:lnTo>
                    <a:lnTo>
                      <a:pt x="258" y="678"/>
                    </a:lnTo>
                    <a:lnTo>
                      <a:pt x="258" y="702"/>
                    </a:lnTo>
                    <a:lnTo>
                      <a:pt x="282" y="702"/>
                    </a:lnTo>
                    <a:lnTo>
                      <a:pt x="294" y="684"/>
                    </a:lnTo>
                    <a:lnTo>
                      <a:pt x="282" y="654"/>
                    </a:lnTo>
                    <a:lnTo>
                      <a:pt x="300" y="654"/>
                    </a:lnTo>
                    <a:lnTo>
                      <a:pt x="282" y="636"/>
                    </a:lnTo>
                    <a:close/>
                    <a:moveTo>
                      <a:pt x="276" y="768"/>
                    </a:moveTo>
                    <a:lnTo>
                      <a:pt x="294" y="750"/>
                    </a:lnTo>
                    <a:lnTo>
                      <a:pt x="270" y="732"/>
                    </a:lnTo>
                    <a:lnTo>
                      <a:pt x="276" y="768"/>
                    </a:lnTo>
                    <a:close/>
                    <a:moveTo>
                      <a:pt x="258" y="954"/>
                    </a:moveTo>
                    <a:lnTo>
                      <a:pt x="258" y="924"/>
                    </a:lnTo>
                    <a:lnTo>
                      <a:pt x="240" y="948"/>
                    </a:lnTo>
                    <a:lnTo>
                      <a:pt x="258" y="954"/>
                    </a:lnTo>
                    <a:close/>
                    <a:moveTo>
                      <a:pt x="252" y="858"/>
                    </a:moveTo>
                    <a:lnTo>
                      <a:pt x="270" y="858"/>
                    </a:lnTo>
                    <a:lnTo>
                      <a:pt x="252" y="840"/>
                    </a:lnTo>
                    <a:lnTo>
                      <a:pt x="252" y="858"/>
                    </a:lnTo>
                    <a:close/>
                    <a:moveTo>
                      <a:pt x="126" y="24"/>
                    </a:moveTo>
                    <a:lnTo>
                      <a:pt x="144" y="60"/>
                    </a:lnTo>
                    <a:lnTo>
                      <a:pt x="174" y="24"/>
                    </a:lnTo>
                    <a:lnTo>
                      <a:pt x="162" y="0"/>
                    </a:lnTo>
                    <a:lnTo>
                      <a:pt x="126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0" name="Rus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2D80CCC-3544-AACA-196D-BE75553545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282239" y="1126149"/>
                <a:ext cx="4068881" cy="1294978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1" name="Rom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51AEA45-CFD7-7751-A99E-17744E3DDF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08844" y="2171001"/>
                <a:ext cx="276698" cy="164977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2" name="Portug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3DD2161-A08E-4A03-ADBE-EF88F5B735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39729" y="2390969"/>
                <a:ext cx="102875" cy="184490"/>
              </a:xfrm>
              <a:custGeom>
                <a:avLst/>
                <a:gdLst>
                  <a:gd name="T0" fmla="*/ 2147483647 w 228"/>
                  <a:gd name="T1" fmla="*/ 2147483647 h 414"/>
                  <a:gd name="T2" fmla="*/ 2147483647 w 228"/>
                  <a:gd name="T3" fmla="*/ 2147483647 h 414"/>
                  <a:gd name="T4" fmla="*/ 2147483647 w 228"/>
                  <a:gd name="T5" fmla="*/ 2147483647 h 414"/>
                  <a:gd name="T6" fmla="*/ 2147483647 w 228"/>
                  <a:gd name="T7" fmla="*/ 2147483647 h 414"/>
                  <a:gd name="T8" fmla="*/ 2147483647 w 228"/>
                  <a:gd name="T9" fmla="*/ 2147483647 h 414"/>
                  <a:gd name="T10" fmla="*/ 2147483647 w 228"/>
                  <a:gd name="T11" fmla="*/ 2147483647 h 414"/>
                  <a:gd name="T12" fmla="*/ 2147483647 w 228"/>
                  <a:gd name="T13" fmla="*/ 0 h 414"/>
                  <a:gd name="T14" fmla="*/ 2147483647 w 228"/>
                  <a:gd name="T15" fmla="*/ 2147483647 h 414"/>
                  <a:gd name="T16" fmla="*/ 2147483647 w 228"/>
                  <a:gd name="T17" fmla="*/ 2147483647 h 414"/>
                  <a:gd name="T18" fmla="*/ 2147483647 w 228"/>
                  <a:gd name="T19" fmla="*/ 2147483647 h 414"/>
                  <a:gd name="T20" fmla="*/ 2147483647 w 228"/>
                  <a:gd name="T21" fmla="*/ 2147483647 h 414"/>
                  <a:gd name="T22" fmla="*/ 2147483647 w 228"/>
                  <a:gd name="T23" fmla="*/ 2147483647 h 414"/>
                  <a:gd name="T24" fmla="*/ 2147483647 w 228"/>
                  <a:gd name="T25" fmla="*/ 2147483647 h 414"/>
                  <a:gd name="T26" fmla="*/ 0 w 228"/>
                  <a:gd name="T27" fmla="*/ 2147483647 h 414"/>
                  <a:gd name="T28" fmla="*/ 2147483647 w 228"/>
                  <a:gd name="T29" fmla="*/ 2147483647 h 414"/>
                  <a:gd name="T30" fmla="*/ 2147483647 w 228"/>
                  <a:gd name="T31" fmla="*/ 2147483647 h 414"/>
                  <a:gd name="T32" fmla="*/ 2147483647 w 228"/>
                  <a:gd name="T33" fmla="*/ 2147483647 h 414"/>
                  <a:gd name="T34" fmla="*/ 2147483647 w 228"/>
                  <a:gd name="T35" fmla="*/ 2147483647 h 414"/>
                  <a:gd name="T36" fmla="*/ 2147483647 w 228"/>
                  <a:gd name="T37" fmla="*/ 2147483647 h 414"/>
                  <a:gd name="T38" fmla="*/ 2147483647 w 228"/>
                  <a:gd name="T39" fmla="*/ 2147483647 h 414"/>
                  <a:gd name="T40" fmla="*/ 2147483647 w 228"/>
                  <a:gd name="T41" fmla="*/ 2147483647 h 414"/>
                  <a:gd name="T42" fmla="*/ 2147483647 w 228"/>
                  <a:gd name="T43" fmla="*/ 2147483647 h 414"/>
                  <a:gd name="T44" fmla="*/ 2147483647 w 228"/>
                  <a:gd name="T45" fmla="*/ 2147483647 h 414"/>
                  <a:gd name="T46" fmla="*/ 2147483647 w 228"/>
                  <a:gd name="T47" fmla="*/ 2147483647 h 414"/>
                  <a:gd name="T48" fmla="*/ 2147483647 w 228"/>
                  <a:gd name="T49" fmla="*/ 2147483647 h 414"/>
                  <a:gd name="T50" fmla="*/ 2147483647 w 228"/>
                  <a:gd name="T51" fmla="*/ 2147483647 h 414"/>
                  <a:gd name="T52" fmla="*/ 2147483647 w 228"/>
                  <a:gd name="T53" fmla="*/ 2147483647 h 414"/>
                  <a:gd name="T54" fmla="*/ 2147483647 w 228"/>
                  <a:gd name="T55" fmla="*/ 2147483647 h 414"/>
                  <a:gd name="T56" fmla="*/ 2147483647 w 228"/>
                  <a:gd name="T57" fmla="*/ 2147483647 h 414"/>
                  <a:gd name="T58" fmla="*/ 2147483647 w 228"/>
                  <a:gd name="T59" fmla="*/ 2147483647 h 414"/>
                  <a:gd name="T60" fmla="*/ 2147483647 w 228"/>
                  <a:gd name="T61" fmla="*/ 2147483647 h 414"/>
                  <a:gd name="T62" fmla="*/ 2147483647 w 228"/>
                  <a:gd name="T63" fmla="*/ 2147483647 h 414"/>
                  <a:gd name="T64" fmla="*/ 2147483647 w 228"/>
                  <a:gd name="T65" fmla="*/ 2147483647 h 414"/>
                  <a:gd name="T66" fmla="*/ 2147483647 w 228"/>
                  <a:gd name="T67" fmla="*/ 2147483647 h 414"/>
                  <a:gd name="T68" fmla="*/ 2147483647 w 228"/>
                  <a:gd name="T69" fmla="*/ 2147483647 h 414"/>
                  <a:gd name="T70" fmla="*/ 2147483647 w 228"/>
                  <a:gd name="T71" fmla="*/ 2147483647 h 414"/>
                  <a:gd name="T72" fmla="*/ 2147483647 w 228"/>
                  <a:gd name="T73" fmla="*/ 2147483647 h 414"/>
                  <a:gd name="T74" fmla="*/ 2147483647 w 228"/>
                  <a:gd name="T75" fmla="*/ 2147483647 h 414"/>
                  <a:gd name="T76" fmla="*/ 2147483647 w 228"/>
                  <a:gd name="T77" fmla="*/ 2147483647 h 414"/>
                  <a:gd name="T78" fmla="*/ 2147483647 w 228"/>
                  <a:gd name="T79" fmla="*/ 2147483647 h 414"/>
                  <a:gd name="T80" fmla="*/ 2147483647 w 228"/>
                  <a:gd name="T81" fmla="*/ 2147483647 h 414"/>
                  <a:gd name="T82" fmla="*/ 2147483647 w 228"/>
                  <a:gd name="T83" fmla="*/ 2147483647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28"/>
                  <a:gd name="T127" fmla="*/ 0 h 414"/>
                  <a:gd name="T128" fmla="*/ 228 w 228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28" h="414">
                    <a:moveTo>
                      <a:pt x="210" y="30"/>
                    </a:moveTo>
                    <a:lnTo>
                      <a:pt x="21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24"/>
                    </a:lnTo>
                    <a:lnTo>
                      <a:pt x="138" y="24"/>
                    </a:lnTo>
                    <a:lnTo>
                      <a:pt x="132" y="18"/>
                    </a:lnTo>
                    <a:lnTo>
                      <a:pt x="114" y="18"/>
                    </a:lnTo>
                    <a:lnTo>
                      <a:pt x="108" y="24"/>
                    </a:lnTo>
                    <a:lnTo>
                      <a:pt x="96" y="24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14" y="6"/>
                    </a:lnTo>
                    <a:lnTo>
                      <a:pt x="114" y="0"/>
                    </a:lnTo>
                    <a:lnTo>
                      <a:pt x="90" y="0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66" y="60"/>
                    </a:lnTo>
                    <a:lnTo>
                      <a:pt x="66" y="78"/>
                    </a:lnTo>
                    <a:lnTo>
                      <a:pt x="60" y="108"/>
                    </a:lnTo>
                    <a:lnTo>
                      <a:pt x="48" y="138"/>
                    </a:lnTo>
                    <a:lnTo>
                      <a:pt x="30" y="174"/>
                    </a:lnTo>
                    <a:lnTo>
                      <a:pt x="12" y="222"/>
                    </a:lnTo>
                    <a:lnTo>
                      <a:pt x="6" y="234"/>
                    </a:lnTo>
                    <a:lnTo>
                      <a:pt x="6" y="240"/>
                    </a:lnTo>
                    <a:lnTo>
                      <a:pt x="0" y="252"/>
                    </a:lnTo>
                    <a:lnTo>
                      <a:pt x="0" y="264"/>
                    </a:lnTo>
                    <a:lnTo>
                      <a:pt x="18" y="282"/>
                    </a:lnTo>
                    <a:lnTo>
                      <a:pt x="30" y="288"/>
                    </a:lnTo>
                    <a:lnTo>
                      <a:pt x="42" y="342"/>
                    </a:lnTo>
                    <a:lnTo>
                      <a:pt x="42" y="348"/>
                    </a:lnTo>
                    <a:lnTo>
                      <a:pt x="36" y="354"/>
                    </a:lnTo>
                    <a:lnTo>
                      <a:pt x="36" y="366"/>
                    </a:lnTo>
                    <a:lnTo>
                      <a:pt x="30" y="384"/>
                    </a:lnTo>
                    <a:lnTo>
                      <a:pt x="24" y="396"/>
                    </a:lnTo>
                    <a:lnTo>
                      <a:pt x="24" y="408"/>
                    </a:lnTo>
                    <a:lnTo>
                      <a:pt x="48" y="408"/>
                    </a:lnTo>
                    <a:lnTo>
                      <a:pt x="60" y="402"/>
                    </a:lnTo>
                    <a:lnTo>
                      <a:pt x="72" y="402"/>
                    </a:lnTo>
                    <a:lnTo>
                      <a:pt x="84" y="414"/>
                    </a:lnTo>
                    <a:lnTo>
                      <a:pt x="96" y="414"/>
                    </a:lnTo>
                    <a:lnTo>
                      <a:pt x="108" y="408"/>
                    </a:lnTo>
                    <a:lnTo>
                      <a:pt x="114" y="402"/>
                    </a:lnTo>
                    <a:lnTo>
                      <a:pt x="120" y="402"/>
                    </a:lnTo>
                    <a:lnTo>
                      <a:pt x="126" y="396"/>
                    </a:lnTo>
                    <a:lnTo>
                      <a:pt x="126" y="348"/>
                    </a:lnTo>
                    <a:lnTo>
                      <a:pt x="132" y="342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62" y="318"/>
                    </a:lnTo>
                    <a:lnTo>
                      <a:pt x="162" y="312"/>
                    </a:lnTo>
                    <a:lnTo>
                      <a:pt x="150" y="312"/>
                    </a:lnTo>
                    <a:lnTo>
                      <a:pt x="144" y="306"/>
                    </a:lnTo>
                    <a:lnTo>
                      <a:pt x="138" y="294"/>
                    </a:lnTo>
                    <a:lnTo>
                      <a:pt x="138" y="288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44" y="264"/>
                    </a:lnTo>
                    <a:lnTo>
                      <a:pt x="156" y="258"/>
                    </a:lnTo>
                    <a:lnTo>
                      <a:pt x="168" y="246"/>
                    </a:lnTo>
                    <a:lnTo>
                      <a:pt x="168" y="240"/>
                    </a:lnTo>
                    <a:lnTo>
                      <a:pt x="156" y="234"/>
                    </a:lnTo>
                    <a:lnTo>
                      <a:pt x="150" y="228"/>
                    </a:lnTo>
                    <a:lnTo>
                      <a:pt x="150" y="216"/>
                    </a:lnTo>
                    <a:lnTo>
                      <a:pt x="126" y="192"/>
                    </a:lnTo>
                    <a:lnTo>
                      <a:pt x="162" y="192"/>
                    </a:lnTo>
                    <a:lnTo>
                      <a:pt x="174" y="180"/>
                    </a:lnTo>
                    <a:lnTo>
                      <a:pt x="174" y="168"/>
                    </a:lnTo>
                    <a:lnTo>
                      <a:pt x="168" y="162"/>
                    </a:lnTo>
                    <a:lnTo>
                      <a:pt x="168" y="150"/>
                    </a:lnTo>
                    <a:lnTo>
                      <a:pt x="174" y="144"/>
                    </a:lnTo>
                    <a:lnTo>
                      <a:pt x="180" y="144"/>
                    </a:lnTo>
                    <a:lnTo>
                      <a:pt x="180" y="126"/>
                    </a:lnTo>
                    <a:lnTo>
                      <a:pt x="186" y="108"/>
                    </a:lnTo>
                    <a:lnTo>
                      <a:pt x="186" y="96"/>
                    </a:lnTo>
                    <a:lnTo>
                      <a:pt x="180" y="90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78"/>
                    </a:lnTo>
                    <a:lnTo>
                      <a:pt x="204" y="66"/>
                    </a:lnTo>
                    <a:lnTo>
                      <a:pt x="228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10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3" name="Po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8D20886-A8CB-27A6-3727-AC436BF58B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31475" y="1942161"/>
                <a:ext cx="280246" cy="202229"/>
              </a:xfrm>
              <a:custGeom>
                <a:avLst/>
                <a:gdLst>
                  <a:gd name="T0" fmla="*/ 2147483647 w 624"/>
                  <a:gd name="T1" fmla="*/ 2147483647 h 450"/>
                  <a:gd name="T2" fmla="*/ 2147483647 w 624"/>
                  <a:gd name="T3" fmla="*/ 2147483647 h 450"/>
                  <a:gd name="T4" fmla="*/ 2147483647 w 624"/>
                  <a:gd name="T5" fmla="*/ 2147483647 h 450"/>
                  <a:gd name="T6" fmla="*/ 2147483647 w 624"/>
                  <a:gd name="T7" fmla="*/ 2147483647 h 450"/>
                  <a:gd name="T8" fmla="*/ 2147483647 w 624"/>
                  <a:gd name="T9" fmla="*/ 2147483647 h 450"/>
                  <a:gd name="T10" fmla="*/ 2147483647 w 624"/>
                  <a:gd name="T11" fmla="*/ 2147483647 h 450"/>
                  <a:gd name="T12" fmla="*/ 2147483647 w 624"/>
                  <a:gd name="T13" fmla="*/ 2147483647 h 450"/>
                  <a:gd name="T14" fmla="*/ 2147483647 w 624"/>
                  <a:gd name="T15" fmla="*/ 2147483647 h 450"/>
                  <a:gd name="T16" fmla="*/ 2147483647 w 624"/>
                  <a:gd name="T17" fmla="*/ 2147483647 h 450"/>
                  <a:gd name="T18" fmla="*/ 2147483647 w 624"/>
                  <a:gd name="T19" fmla="*/ 2147483647 h 450"/>
                  <a:gd name="T20" fmla="*/ 2147483647 w 624"/>
                  <a:gd name="T21" fmla="*/ 2147483647 h 450"/>
                  <a:gd name="T22" fmla="*/ 2147483647 w 624"/>
                  <a:gd name="T23" fmla="*/ 2147483647 h 450"/>
                  <a:gd name="T24" fmla="*/ 2147483647 w 624"/>
                  <a:gd name="T25" fmla="*/ 2147483647 h 450"/>
                  <a:gd name="T26" fmla="*/ 2147483647 w 624"/>
                  <a:gd name="T27" fmla="*/ 2147483647 h 450"/>
                  <a:gd name="T28" fmla="*/ 2147483647 w 624"/>
                  <a:gd name="T29" fmla="*/ 2147483647 h 450"/>
                  <a:gd name="T30" fmla="*/ 2147483647 w 624"/>
                  <a:gd name="T31" fmla="*/ 2147483647 h 450"/>
                  <a:gd name="T32" fmla="*/ 2147483647 w 624"/>
                  <a:gd name="T33" fmla="*/ 2147483647 h 450"/>
                  <a:gd name="T34" fmla="*/ 2147483647 w 624"/>
                  <a:gd name="T35" fmla="*/ 2147483647 h 450"/>
                  <a:gd name="T36" fmla="*/ 2147483647 w 624"/>
                  <a:gd name="T37" fmla="*/ 2147483647 h 450"/>
                  <a:gd name="T38" fmla="*/ 2147483647 w 624"/>
                  <a:gd name="T39" fmla="*/ 2147483647 h 450"/>
                  <a:gd name="T40" fmla="*/ 2147483647 w 624"/>
                  <a:gd name="T41" fmla="*/ 2147483647 h 450"/>
                  <a:gd name="T42" fmla="*/ 2147483647 w 624"/>
                  <a:gd name="T43" fmla="*/ 2147483647 h 450"/>
                  <a:gd name="T44" fmla="*/ 2147483647 w 624"/>
                  <a:gd name="T45" fmla="*/ 2147483647 h 450"/>
                  <a:gd name="T46" fmla="*/ 2147483647 w 624"/>
                  <a:gd name="T47" fmla="*/ 2147483647 h 450"/>
                  <a:gd name="T48" fmla="*/ 2147483647 w 624"/>
                  <a:gd name="T49" fmla="*/ 2147483647 h 450"/>
                  <a:gd name="T50" fmla="*/ 2147483647 w 624"/>
                  <a:gd name="T51" fmla="*/ 2147483647 h 450"/>
                  <a:gd name="T52" fmla="*/ 2147483647 w 624"/>
                  <a:gd name="T53" fmla="*/ 2147483647 h 450"/>
                  <a:gd name="T54" fmla="*/ 2147483647 w 624"/>
                  <a:gd name="T55" fmla="*/ 2147483647 h 450"/>
                  <a:gd name="T56" fmla="*/ 2147483647 w 624"/>
                  <a:gd name="T57" fmla="*/ 2147483647 h 450"/>
                  <a:gd name="T58" fmla="*/ 0 w 624"/>
                  <a:gd name="T59" fmla="*/ 2147483647 h 450"/>
                  <a:gd name="T60" fmla="*/ 2147483647 w 624"/>
                  <a:gd name="T61" fmla="*/ 2147483647 h 450"/>
                  <a:gd name="T62" fmla="*/ 2147483647 w 624"/>
                  <a:gd name="T63" fmla="*/ 2147483647 h 450"/>
                  <a:gd name="T64" fmla="*/ 2147483647 w 624"/>
                  <a:gd name="T65" fmla="*/ 2147483647 h 450"/>
                  <a:gd name="T66" fmla="*/ 2147483647 w 624"/>
                  <a:gd name="T67" fmla="*/ 2147483647 h 450"/>
                  <a:gd name="T68" fmla="*/ 2147483647 w 624"/>
                  <a:gd name="T69" fmla="*/ 2147483647 h 450"/>
                  <a:gd name="T70" fmla="*/ 2147483647 w 624"/>
                  <a:gd name="T71" fmla="*/ 2147483647 h 450"/>
                  <a:gd name="T72" fmla="*/ 2147483647 w 624"/>
                  <a:gd name="T73" fmla="*/ 2147483647 h 450"/>
                  <a:gd name="T74" fmla="*/ 2147483647 w 624"/>
                  <a:gd name="T75" fmla="*/ 2147483647 h 450"/>
                  <a:gd name="T76" fmla="*/ 2147483647 w 624"/>
                  <a:gd name="T77" fmla="*/ 2147483647 h 450"/>
                  <a:gd name="T78" fmla="*/ 2147483647 w 624"/>
                  <a:gd name="T79" fmla="*/ 2147483647 h 450"/>
                  <a:gd name="T80" fmla="*/ 2147483647 w 624"/>
                  <a:gd name="T81" fmla="*/ 2147483647 h 450"/>
                  <a:gd name="T82" fmla="*/ 2147483647 w 624"/>
                  <a:gd name="T83" fmla="*/ 2147483647 h 450"/>
                  <a:gd name="T84" fmla="*/ 2147483647 w 624"/>
                  <a:gd name="T85" fmla="*/ 2147483647 h 450"/>
                  <a:gd name="T86" fmla="*/ 2147483647 w 624"/>
                  <a:gd name="T87" fmla="*/ 2147483647 h 450"/>
                  <a:gd name="T88" fmla="*/ 2147483647 w 624"/>
                  <a:gd name="T89" fmla="*/ 2147483647 h 450"/>
                  <a:gd name="T90" fmla="*/ 2147483647 w 624"/>
                  <a:gd name="T91" fmla="*/ 2147483647 h 450"/>
                  <a:gd name="T92" fmla="*/ 2147483647 w 624"/>
                  <a:gd name="T93" fmla="*/ 2147483647 h 450"/>
                  <a:gd name="T94" fmla="*/ 2147483647 w 624"/>
                  <a:gd name="T95" fmla="*/ 2147483647 h 450"/>
                  <a:gd name="T96" fmla="*/ 2147483647 w 624"/>
                  <a:gd name="T97" fmla="*/ 2147483647 h 450"/>
                  <a:gd name="T98" fmla="*/ 2147483647 w 624"/>
                  <a:gd name="T99" fmla="*/ 2147483647 h 450"/>
                  <a:gd name="T100" fmla="*/ 2147483647 w 624"/>
                  <a:gd name="T101" fmla="*/ 2147483647 h 450"/>
                  <a:gd name="T102" fmla="*/ 2147483647 w 624"/>
                  <a:gd name="T103" fmla="*/ 2147483647 h 450"/>
                  <a:gd name="T104" fmla="*/ 2147483647 w 624"/>
                  <a:gd name="T105" fmla="*/ 2147483647 h 450"/>
                  <a:gd name="T106" fmla="*/ 2147483647 w 624"/>
                  <a:gd name="T107" fmla="*/ 2147483647 h 4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24"/>
                  <a:gd name="T163" fmla="*/ 0 h 450"/>
                  <a:gd name="T164" fmla="*/ 624 w 624"/>
                  <a:gd name="T165" fmla="*/ 450 h 4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24" h="450">
                    <a:moveTo>
                      <a:pt x="426" y="426"/>
                    </a:moveTo>
                    <a:lnTo>
                      <a:pt x="432" y="426"/>
                    </a:lnTo>
                    <a:lnTo>
                      <a:pt x="444" y="420"/>
                    </a:lnTo>
                    <a:lnTo>
                      <a:pt x="450" y="414"/>
                    </a:lnTo>
                    <a:lnTo>
                      <a:pt x="474" y="414"/>
                    </a:lnTo>
                    <a:lnTo>
                      <a:pt x="498" y="438"/>
                    </a:lnTo>
                    <a:lnTo>
                      <a:pt x="528" y="438"/>
                    </a:lnTo>
                    <a:lnTo>
                      <a:pt x="528" y="450"/>
                    </a:lnTo>
                    <a:lnTo>
                      <a:pt x="552" y="450"/>
                    </a:lnTo>
                    <a:lnTo>
                      <a:pt x="540" y="438"/>
                    </a:lnTo>
                    <a:lnTo>
                      <a:pt x="540" y="396"/>
                    </a:lnTo>
                    <a:lnTo>
                      <a:pt x="594" y="348"/>
                    </a:lnTo>
                    <a:lnTo>
                      <a:pt x="606" y="348"/>
                    </a:lnTo>
                    <a:lnTo>
                      <a:pt x="612" y="342"/>
                    </a:lnTo>
                    <a:lnTo>
                      <a:pt x="618" y="342"/>
                    </a:lnTo>
                    <a:lnTo>
                      <a:pt x="624" y="336"/>
                    </a:lnTo>
                    <a:lnTo>
                      <a:pt x="618" y="330"/>
                    </a:lnTo>
                    <a:lnTo>
                      <a:pt x="618" y="324"/>
                    </a:lnTo>
                    <a:lnTo>
                      <a:pt x="612" y="318"/>
                    </a:lnTo>
                    <a:lnTo>
                      <a:pt x="618" y="306"/>
                    </a:lnTo>
                    <a:lnTo>
                      <a:pt x="612" y="300"/>
                    </a:lnTo>
                    <a:lnTo>
                      <a:pt x="600" y="294"/>
                    </a:lnTo>
                    <a:lnTo>
                      <a:pt x="600" y="288"/>
                    </a:lnTo>
                    <a:lnTo>
                      <a:pt x="582" y="270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76" y="240"/>
                    </a:lnTo>
                    <a:lnTo>
                      <a:pt x="576" y="210"/>
                    </a:lnTo>
                    <a:lnTo>
                      <a:pt x="564" y="198"/>
                    </a:lnTo>
                    <a:lnTo>
                      <a:pt x="558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64" y="186"/>
                    </a:lnTo>
                    <a:lnTo>
                      <a:pt x="564" y="168"/>
                    </a:lnTo>
                    <a:lnTo>
                      <a:pt x="588" y="162"/>
                    </a:lnTo>
                    <a:lnTo>
                      <a:pt x="588" y="150"/>
                    </a:lnTo>
                    <a:lnTo>
                      <a:pt x="594" y="144"/>
                    </a:lnTo>
                    <a:lnTo>
                      <a:pt x="594" y="138"/>
                    </a:lnTo>
                    <a:lnTo>
                      <a:pt x="588" y="132"/>
                    </a:lnTo>
                    <a:lnTo>
                      <a:pt x="576" y="108"/>
                    </a:lnTo>
                    <a:lnTo>
                      <a:pt x="570" y="102"/>
                    </a:lnTo>
                    <a:lnTo>
                      <a:pt x="570" y="90"/>
                    </a:lnTo>
                    <a:lnTo>
                      <a:pt x="564" y="84"/>
                    </a:lnTo>
                    <a:lnTo>
                      <a:pt x="558" y="72"/>
                    </a:lnTo>
                    <a:lnTo>
                      <a:pt x="558" y="48"/>
                    </a:lnTo>
                    <a:lnTo>
                      <a:pt x="546" y="42"/>
                    </a:lnTo>
                    <a:lnTo>
                      <a:pt x="540" y="42"/>
                    </a:lnTo>
                    <a:lnTo>
                      <a:pt x="522" y="36"/>
                    </a:lnTo>
                    <a:lnTo>
                      <a:pt x="498" y="36"/>
                    </a:lnTo>
                    <a:lnTo>
                      <a:pt x="498" y="42"/>
                    </a:lnTo>
                    <a:lnTo>
                      <a:pt x="408" y="42"/>
                    </a:lnTo>
                    <a:lnTo>
                      <a:pt x="402" y="36"/>
                    </a:lnTo>
                    <a:lnTo>
                      <a:pt x="390" y="36"/>
                    </a:lnTo>
                    <a:lnTo>
                      <a:pt x="384" y="30"/>
                    </a:lnTo>
                    <a:lnTo>
                      <a:pt x="360" y="30"/>
                    </a:lnTo>
                    <a:lnTo>
                      <a:pt x="354" y="36"/>
                    </a:lnTo>
                    <a:lnTo>
                      <a:pt x="348" y="36"/>
                    </a:lnTo>
                    <a:lnTo>
                      <a:pt x="342" y="30"/>
                    </a:lnTo>
                    <a:lnTo>
                      <a:pt x="312" y="30"/>
                    </a:lnTo>
                    <a:lnTo>
                      <a:pt x="300" y="36"/>
                    </a:lnTo>
                    <a:lnTo>
                      <a:pt x="282" y="36"/>
                    </a:lnTo>
                    <a:lnTo>
                      <a:pt x="276" y="30"/>
                    </a:lnTo>
                    <a:lnTo>
                      <a:pt x="270" y="18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58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192" y="6"/>
                    </a:lnTo>
                    <a:lnTo>
                      <a:pt x="180" y="12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20" y="42"/>
                    </a:lnTo>
                    <a:lnTo>
                      <a:pt x="60" y="48"/>
                    </a:lnTo>
                    <a:lnTo>
                      <a:pt x="54" y="48"/>
                    </a:lnTo>
                    <a:lnTo>
                      <a:pt x="48" y="54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18" y="96"/>
                    </a:lnTo>
                    <a:lnTo>
                      <a:pt x="6" y="90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18" y="132"/>
                    </a:lnTo>
                    <a:lnTo>
                      <a:pt x="6" y="144"/>
                    </a:lnTo>
                    <a:lnTo>
                      <a:pt x="0" y="144"/>
                    </a:lnTo>
                    <a:lnTo>
                      <a:pt x="0" y="156"/>
                    </a:lnTo>
                    <a:lnTo>
                      <a:pt x="6" y="162"/>
                    </a:lnTo>
                    <a:lnTo>
                      <a:pt x="12" y="162"/>
                    </a:lnTo>
                    <a:lnTo>
                      <a:pt x="18" y="168"/>
                    </a:lnTo>
                    <a:lnTo>
                      <a:pt x="30" y="168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24" y="198"/>
                    </a:lnTo>
                    <a:lnTo>
                      <a:pt x="36" y="198"/>
                    </a:lnTo>
                    <a:lnTo>
                      <a:pt x="36" y="204"/>
                    </a:lnTo>
                    <a:lnTo>
                      <a:pt x="30" y="210"/>
                    </a:lnTo>
                    <a:lnTo>
                      <a:pt x="36" y="210"/>
                    </a:lnTo>
                    <a:lnTo>
                      <a:pt x="42" y="216"/>
                    </a:lnTo>
                    <a:lnTo>
                      <a:pt x="36" y="222"/>
                    </a:lnTo>
                    <a:lnTo>
                      <a:pt x="24" y="228"/>
                    </a:lnTo>
                    <a:lnTo>
                      <a:pt x="24" y="234"/>
                    </a:lnTo>
                    <a:lnTo>
                      <a:pt x="30" y="240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42" y="264"/>
                    </a:lnTo>
                    <a:lnTo>
                      <a:pt x="48" y="258"/>
                    </a:lnTo>
                    <a:lnTo>
                      <a:pt x="54" y="25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60" y="276"/>
                    </a:lnTo>
                    <a:lnTo>
                      <a:pt x="60" y="282"/>
                    </a:lnTo>
                    <a:lnTo>
                      <a:pt x="54" y="282"/>
                    </a:lnTo>
                    <a:lnTo>
                      <a:pt x="54" y="294"/>
                    </a:lnTo>
                    <a:lnTo>
                      <a:pt x="72" y="294"/>
                    </a:lnTo>
                    <a:lnTo>
                      <a:pt x="78" y="312"/>
                    </a:lnTo>
                    <a:lnTo>
                      <a:pt x="96" y="312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24"/>
                    </a:lnTo>
                    <a:lnTo>
                      <a:pt x="138" y="324"/>
                    </a:lnTo>
                    <a:lnTo>
                      <a:pt x="144" y="330"/>
                    </a:lnTo>
                    <a:lnTo>
                      <a:pt x="132" y="336"/>
                    </a:lnTo>
                    <a:lnTo>
                      <a:pt x="144" y="342"/>
                    </a:lnTo>
                    <a:lnTo>
                      <a:pt x="144" y="354"/>
                    </a:lnTo>
                    <a:lnTo>
                      <a:pt x="150" y="354"/>
                    </a:lnTo>
                    <a:lnTo>
                      <a:pt x="156" y="360"/>
                    </a:lnTo>
                    <a:lnTo>
                      <a:pt x="174" y="360"/>
                    </a:lnTo>
                    <a:lnTo>
                      <a:pt x="174" y="354"/>
                    </a:lnTo>
                    <a:lnTo>
                      <a:pt x="180" y="354"/>
                    </a:lnTo>
                    <a:lnTo>
                      <a:pt x="192" y="348"/>
                    </a:lnTo>
                    <a:lnTo>
                      <a:pt x="210" y="348"/>
                    </a:lnTo>
                    <a:lnTo>
                      <a:pt x="204" y="354"/>
                    </a:lnTo>
                    <a:lnTo>
                      <a:pt x="222" y="354"/>
                    </a:lnTo>
                    <a:lnTo>
                      <a:pt x="228" y="360"/>
                    </a:lnTo>
                    <a:lnTo>
                      <a:pt x="234" y="372"/>
                    </a:lnTo>
                    <a:lnTo>
                      <a:pt x="240" y="378"/>
                    </a:lnTo>
                    <a:lnTo>
                      <a:pt x="246" y="366"/>
                    </a:lnTo>
                    <a:lnTo>
                      <a:pt x="252" y="372"/>
                    </a:lnTo>
                    <a:lnTo>
                      <a:pt x="252" y="378"/>
                    </a:lnTo>
                    <a:lnTo>
                      <a:pt x="270" y="378"/>
                    </a:lnTo>
                    <a:lnTo>
                      <a:pt x="282" y="384"/>
                    </a:lnTo>
                    <a:lnTo>
                      <a:pt x="282" y="390"/>
                    </a:lnTo>
                    <a:lnTo>
                      <a:pt x="288" y="402"/>
                    </a:lnTo>
                    <a:lnTo>
                      <a:pt x="306" y="420"/>
                    </a:lnTo>
                    <a:lnTo>
                      <a:pt x="318" y="420"/>
                    </a:lnTo>
                    <a:lnTo>
                      <a:pt x="330" y="408"/>
                    </a:lnTo>
                    <a:lnTo>
                      <a:pt x="342" y="408"/>
                    </a:lnTo>
                    <a:lnTo>
                      <a:pt x="354" y="420"/>
                    </a:lnTo>
                    <a:lnTo>
                      <a:pt x="360" y="420"/>
                    </a:lnTo>
                    <a:lnTo>
                      <a:pt x="360" y="426"/>
                    </a:lnTo>
                    <a:lnTo>
                      <a:pt x="366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84" y="420"/>
                    </a:lnTo>
                    <a:lnTo>
                      <a:pt x="414" y="420"/>
                    </a:lnTo>
                    <a:lnTo>
                      <a:pt x="420" y="426"/>
                    </a:lnTo>
                    <a:lnTo>
                      <a:pt x="426" y="4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4" name="Norw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E738EB8-CA64-21F8-20D2-49F49AF58A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93797" y="1159853"/>
                <a:ext cx="611928" cy="672324"/>
              </a:xfrm>
              <a:custGeom>
                <a:avLst/>
                <a:gdLst>
                  <a:gd name="T0" fmla="*/ 2147483647 w 1362"/>
                  <a:gd name="T1" fmla="*/ 2147483647 h 1500"/>
                  <a:gd name="T2" fmla="*/ 2147483647 w 1362"/>
                  <a:gd name="T3" fmla="*/ 2147483647 h 1500"/>
                  <a:gd name="T4" fmla="*/ 2147483647 w 1362"/>
                  <a:gd name="T5" fmla="*/ 2147483647 h 1500"/>
                  <a:gd name="T6" fmla="*/ 2147483647 w 1362"/>
                  <a:gd name="T7" fmla="*/ 2147483647 h 1500"/>
                  <a:gd name="T8" fmla="*/ 2147483647 w 1362"/>
                  <a:gd name="T9" fmla="*/ 0 h 1500"/>
                  <a:gd name="T10" fmla="*/ 2147483647 w 1362"/>
                  <a:gd name="T11" fmla="*/ 2147483647 h 1500"/>
                  <a:gd name="T12" fmla="*/ 2147483647 w 1362"/>
                  <a:gd name="T13" fmla="*/ 2147483647 h 1500"/>
                  <a:gd name="T14" fmla="*/ 2147483647 w 1362"/>
                  <a:gd name="T15" fmla="*/ 2147483647 h 1500"/>
                  <a:gd name="T16" fmla="*/ 2147483647 w 1362"/>
                  <a:gd name="T17" fmla="*/ 2147483647 h 1500"/>
                  <a:gd name="T18" fmla="*/ 2147483647 w 1362"/>
                  <a:gd name="T19" fmla="*/ 2147483647 h 1500"/>
                  <a:gd name="T20" fmla="*/ 2147483647 w 1362"/>
                  <a:gd name="T21" fmla="*/ 2147483647 h 1500"/>
                  <a:gd name="T22" fmla="*/ 2147483647 w 1362"/>
                  <a:gd name="T23" fmla="*/ 2147483647 h 1500"/>
                  <a:gd name="T24" fmla="*/ 2147483647 w 1362"/>
                  <a:gd name="T25" fmla="*/ 2147483647 h 1500"/>
                  <a:gd name="T26" fmla="*/ 2147483647 w 1362"/>
                  <a:gd name="T27" fmla="*/ 2147483647 h 1500"/>
                  <a:gd name="T28" fmla="*/ 2147483647 w 1362"/>
                  <a:gd name="T29" fmla="*/ 2147483647 h 1500"/>
                  <a:gd name="T30" fmla="*/ 2147483647 w 1362"/>
                  <a:gd name="T31" fmla="*/ 2147483647 h 1500"/>
                  <a:gd name="T32" fmla="*/ 2147483647 w 1362"/>
                  <a:gd name="T33" fmla="*/ 2147483647 h 1500"/>
                  <a:gd name="T34" fmla="*/ 2147483647 w 1362"/>
                  <a:gd name="T35" fmla="*/ 2147483647 h 1500"/>
                  <a:gd name="T36" fmla="*/ 2147483647 w 1362"/>
                  <a:gd name="T37" fmla="*/ 2147483647 h 1500"/>
                  <a:gd name="T38" fmla="*/ 2147483647 w 1362"/>
                  <a:gd name="T39" fmla="*/ 2147483647 h 1500"/>
                  <a:gd name="T40" fmla="*/ 2147483647 w 1362"/>
                  <a:gd name="T41" fmla="*/ 2147483647 h 1500"/>
                  <a:gd name="T42" fmla="*/ 2147483647 w 1362"/>
                  <a:gd name="T43" fmla="*/ 2147483647 h 1500"/>
                  <a:gd name="T44" fmla="*/ 2147483647 w 1362"/>
                  <a:gd name="T45" fmla="*/ 2147483647 h 1500"/>
                  <a:gd name="T46" fmla="*/ 2147483647 w 1362"/>
                  <a:gd name="T47" fmla="*/ 2147483647 h 1500"/>
                  <a:gd name="T48" fmla="*/ 2147483647 w 1362"/>
                  <a:gd name="T49" fmla="*/ 2147483647 h 1500"/>
                  <a:gd name="T50" fmla="*/ 2147483647 w 1362"/>
                  <a:gd name="T51" fmla="*/ 2147483647 h 1500"/>
                  <a:gd name="T52" fmla="*/ 2147483647 w 1362"/>
                  <a:gd name="T53" fmla="*/ 2147483647 h 1500"/>
                  <a:gd name="T54" fmla="*/ 2147483647 w 1362"/>
                  <a:gd name="T55" fmla="*/ 2147483647 h 1500"/>
                  <a:gd name="T56" fmla="*/ 2147483647 w 1362"/>
                  <a:gd name="T57" fmla="*/ 2147483647 h 1500"/>
                  <a:gd name="T58" fmla="*/ 2147483647 w 1362"/>
                  <a:gd name="T59" fmla="*/ 2147483647 h 1500"/>
                  <a:gd name="T60" fmla="*/ 2147483647 w 1362"/>
                  <a:gd name="T61" fmla="*/ 2147483647 h 1500"/>
                  <a:gd name="T62" fmla="*/ 2147483647 w 1362"/>
                  <a:gd name="T63" fmla="*/ 2147483647 h 1500"/>
                  <a:gd name="T64" fmla="*/ 2147483647 w 1362"/>
                  <a:gd name="T65" fmla="*/ 2147483647 h 1500"/>
                  <a:gd name="T66" fmla="*/ 2147483647 w 1362"/>
                  <a:gd name="T67" fmla="*/ 2147483647 h 1500"/>
                  <a:gd name="T68" fmla="*/ 2147483647 w 1362"/>
                  <a:gd name="T69" fmla="*/ 2147483647 h 1500"/>
                  <a:gd name="T70" fmla="*/ 2147483647 w 1362"/>
                  <a:gd name="T71" fmla="*/ 2147483647 h 1500"/>
                  <a:gd name="T72" fmla="*/ 2147483647 w 1362"/>
                  <a:gd name="T73" fmla="*/ 2147483647 h 1500"/>
                  <a:gd name="T74" fmla="*/ 2147483647 w 1362"/>
                  <a:gd name="T75" fmla="*/ 2147483647 h 1500"/>
                  <a:gd name="T76" fmla="*/ 2147483647 w 1362"/>
                  <a:gd name="T77" fmla="*/ 2147483647 h 1500"/>
                  <a:gd name="T78" fmla="*/ 2147483647 w 1362"/>
                  <a:gd name="T79" fmla="*/ 2147483647 h 1500"/>
                  <a:gd name="T80" fmla="*/ 2147483647 w 1362"/>
                  <a:gd name="T81" fmla="*/ 2147483647 h 1500"/>
                  <a:gd name="T82" fmla="*/ 2147483647 w 1362"/>
                  <a:gd name="T83" fmla="*/ 2147483647 h 1500"/>
                  <a:gd name="T84" fmla="*/ 2147483647 w 1362"/>
                  <a:gd name="T85" fmla="*/ 2147483647 h 1500"/>
                  <a:gd name="T86" fmla="*/ 2147483647 w 1362"/>
                  <a:gd name="T87" fmla="*/ 2147483647 h 1500"/>
                  <a:gd name="T88" fmla="*/ 2147483647 w 1362"/>
                  <a:gd name="T89" fmla="*/ 2147483647 h 1500"/>
                  <a:gd name="T90" fmla="*/ 2147483647 w 1362"/>
                  <a:gd name="T91" fmla="*/ 2147483647 h 1500"/>
                  <a:gd name="T92" fmla="*/ 2147483647 w 1362"/>
                  <a:gd name="T93" fmla="*/ 2147483647 h 1500"/>
                  <a:gd name="T94" fmla="*/ 2147483647 w 1362"/>
                  <a:gd name="T95" fmla="*/ 2147483647 h 1500"/>
                  <a:gd name="T96" fmla="*/ 2147483647 w 1362"/>
                  <a:gd name="T97" fmla="*/ 2147483647 h 1500"/>
                  <a:gd name="T98" fmla="*/ 2147483647 w 1362"/>
                  <a:gd name="T99" fmla="*/ 2147483647 h 1500"/>
                  <a:gd name="T100" fmla="*/ 2147483647 w 1362"/>
                  <a:gd name="T101" fmla="*/ 2147483647 h 1500"/>
                  <a:gd name="T102" fmla="*/ 2147483647 w 1362"/>
                  <a:gd name="T103" fmla="*/ 2147483647 h 1500"/>
                  <a:gd name="T104" fmla="*/ 2147483647 w 1362"/>
                  <a:gd name="T105" fmla="*/ 2147483647 h 1500"/>
                  <a:gd name="T106" fmla="*/ 2147483647 w 1362"/>
                  <a:gd name="T107" fmla="*/ 2147483647 h 1500"/>
                  <a:gd name="T108" fmla="*/ 2147483647 w 1362"/>
                  <a:gd name="T109" fmla="*/ 2147483647 h 1500"/>
                  <a:gd name="T110" fmla="*/ 2147483647 w 1362"/>
                  <a:gd name="T111" fmla="*/ 2147483647 h 1500"/>
                  <a:gd name="T112" fmla="*/ 2147483647 w 1362"/>
                  <a:gd name="T113" fmla="*/ 2147483647 h 1500"/>
                  <a:gd name="T114" fmla="*/ 2147483647 w 1362"/>
                  <a:gd name="T115" fmla="*/ 2147483647 h 15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62"/>
                  <a:gd name="T175" fmla="*/ 0 h 1500"/>
                  <a:gd name="T176" fmla="*/ 1362 w 1362"/>
                  <a:gd name="T177" fmla="*/ 1500 h 15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62" h="1500">
                    <a:moveTo>
                      <a:pt x="324" y="120"/>
                    </a:moveTo>
                    <a:lnTo>
                      <a:pt x="336" y="126"/>
                    </a:lnTo>
                    <a:lnTo>
                      <a:pt x="354" y="132"/>
                    </a:lnTo>
                    <a:lnTo>
                      <a:pt x="378" y="132"/>
                    </a:lnTo>
                    <a:lnTo>
                      <a:pt x="294" y="90"/>
                    </a:lnTo>
                    <a:lnTo>
                      <a:pt x="294" y="102"/>
                    </a:lnTo>
                    <a:lnTo>
                      <a:pt x="306" y="108"/>
                    </a:lnTo>
                    <a:lnTo>
                      <a:pt x="312" y="114"/>
                    </a:lnTo>
                    <a:lnTo>
                      <a:pt x="324" y="120"/>
                    </a:lnTo>
                    <a:close/>
                    <a:moveTo>
                      <a:pt x="684" y="48"/>
                    </a:moveTo>
                    <a:lnTo>
                      <a:pt x="732" y="48"/>
                    </a:lnTo>
                    <a:lnTo>
                      <a:pt x="738" y="54"/>
                    </a:lnTo>
                    <a:lnTo>
                      <a:pt x="750" y="54"/>
                    </a:lnTo>
                    <a:lnTo>
                      <a:pt x="774" y="66"/>
                    </a:lnTo>
                    <a:lnTo>
                      <a:pt x="786" y="66"/>
                    </a:lnTo>
                    <a:lnTo>
                      <a:pt x="798" y="60"/>
                    </a:lnTo>
                    <a:lnTo>
                      <a:pt x="804" y="60"/>
                    </a:lnTo>
                    <a:lnTo>
                      <a:pt x="816" y="54"/>
                    </a:lnTo>
                    <a:lnTo>
                      <a:pt x="828" y="54"/>
                    </a:lnTo>
                    <a:lnTo>
                      <a:pt x="840" y="60"/>
                    </a:lnTo>
                    <a:lnTo>
                      <a:pt x="876" y="72"/>
                    </a:lnTo>
                    <a:lnTo>
                      <a:pt x="888" y="78"/>
                    </a:lnTo>
                    <a:lnTo>
                      <a:pt x="894" y="84"/>
                    </a:lnTo>
                    <a:lnTo>
                      <a:pt x="900" y="84"/>
                    </a:lnTo>
                    <a:lnTo>
                      <a:pt x="924" y="60"/>
                    </a:lnTo>
                    <a:lnTo>
                      <a:pt x="984" y="66"/>
                    </a:lnTo>
                    <a:lnTo>
                      <a:pt x="984" y="42"/>
                    </a:lnTo>
                    <a:lnTo>
                      <a:pt x="1014" y="42"/>
                    </a:lnTo>
                    <a:lnTo>
                      <a:pt x="1026" y="36"/>
                    </a:lnTo>
                    <a:lnTo>
                      <a:pt x="1032" y="24"/>
                    </a:lnTo>
                    <a:lnTo>
                      <a:pt x="1038" y="18"/>
                    </a:lnTo>
                    <a:lnTo>
                      <a:pt x="1032" y="12"/>
                    </a:lnTo>
                    <a:lnTo>
                      <a:pt x="1002" y="12"/>
                    </a:lnTo>
                    <a:lnTo>
                      <a:pt x="990" y="18"/>
                    </a:lnTo>
                    <a:lnTo>
                      <a:pt x="984" y="18"/>
                    </a:lnTo>
                    <a:lnTo>
                      <a:pt x="972" y="6"/>
                    </a:lnTo>
                    <a:lnTo>
                      <a:pt x="960" y="0"/>
                    </a:lnTo>
                    <a:lnTo>
                      <a:pt x="918" y="0"/>
                    </a:lnTo>
                    <a:lnTo>
                      <a:pt x="900" y="6"/>
                    </a:lnTo>
                    <a:lnTo>
                      <a:pt x="882" y="18"/>
                    </a:lnTo>
                    <a:lnTo>
                      <a:pt x="870" y="18"/>
                    </a:lnTo>
                    <a:lnTo>
                      <a:pt x="864" y="12"/>
                    </a:lnTo>
                    <a:lnTo>
                      <a:pt x="864" y="6"/>
                    </a:lnTo>
                    <a:lnTo>
                      <a:pt x="858" y="6"/>
                    </a:lnTo>
                    <a:lnTo>
                      <a:pt x="852" y="0"/>
                    </a:lnTo>
                    <a:lnTo>
                      <a:pt x="822" y="0"/>
                    </a:lnTo>
                    <a:lnTo>
                      <a:pt x="804" y="18"/>
                    </a:lnTo>
                    <a:lnTo>
                      <a:pt x="738" y="0"/>
                    </a:lnTo>
                    <a:lnTo>
                      <a:pt x="726" y="0"/>
                    </a:lnTo>
                    <a:lnTo>
                      <a:pt x="708" y="6"/>
                    </a:lnTo>
                    <a:lnTo>
                      <a:pt x="690" y="6"/>
                    </a:lnTo>
                    <a:lnTo>
                      <a:pt x="672" y="12"/>
                    </a:lnTo>
                    <a:lnTo>
                      <a:pt x="660" y="12"/>
                    </a:lnTo>
                    <a:lnTo>
                      <a:pt x="660" y="6"/>
                    </a:lnTo>
                    <a:lnTo>
                      <a:pt x="666" y="0"/>
                    </a:lnTo>
                    <a:lnTo>
                      <a:pt x="630" y="12"/>
                    </a:lnTo>
                    <a:lnTo>
                      <a:pt x="648" y="36"/>
                    </a:lnTo>
                    <a:lnTo>
                      <a:pt x="684" y="48"/>
                    </a:lnTo>
                    <a:close/>
                    <a:moveTo>
                      <a:pt x="324" y="66"/>
                    </a:moveTo>
                    <a:lnTo>
                      <a:pt x="342" y="66"/>
                    </a:lnTo>
                    <a:lnTo>
                      <a:pt x="348" y="72"/>
                    </a:lnTo>
                    <a:lnTo>
                      <a:pt x="360" y="72"/>
                    </a:lnTo>
                    <a:lnTo>
                      <a:pt x="360" y="78"/>
                    </a:lnTo>
                    <a:lnTo>
                      <a:pt x="342" y="96"/>
                    </a:lnTo>
                    <a:lnTo>
                      <a:pt x="336" y="96"/>
                    </a:lnTo>
                    <a:lnTo>
                      <a:pt x="378" y="114"/>
                    </a:lnTo>
                    <a:lnTo>
                      <a:pt x="390" y="120"/>
                    </a:lnTo>
                    <a:lnTo>
                      <a:pt x="396" y="126"/>
                    </a:lnTo>
                    <a:lnTo>
                      <a:pt x="414" y="126"/>
                    </a:lnTo>
                    <a:lnTo>
                      <a:pt x="426" y="132"/>
                    </a:lnTo>
                    <a:lnTo>
                      <a:pt x="438" y="132"/>
                    </a:lnTo>
                    <a:lnTo>
                      <a:pt x="462" y="108"/>
                    </a:lnTo>
                    <a:lnTo>
                      <a:pt x="504" y="96"/>
                    </a:lnTo>
                    <a:lnTo>
                      <a:pt x="534" y="120"/>
                    </a:lnTo>
                    <a:lnTo>
                      <a:pt x="528" y="120"/>
                    </a:lnTo>
                    <a:lnTo>
                      <a:pt x="516" y="126"/>
                    </a:lnTo>
                    <a:lnTo>
                      <a:pt x="504" y="126"/>
                    </a:lnTo>
                    <a:lnTo>
                      <a:pt x="480" y="132"/>
                    </a:lnTo>
                    <a:lnTo>
                      <a:pt x="468" y="138"/>
                    </a:lnTo>
                    <a:lnTo>
                      <a:pt x="456" y="150"/>
                    </a:lnTo>
                    <a:lnTo>
                      <a:pt x="486" y="150"/>
                    </a:lnTo>
                    <a:lnTo>
                      <a:pt x="498" y="156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86" y="168"/>
                    </a:lnTo>
                    <a:lnTo>
                      <a:pt x="474" y="174"/>
                    </a:lnTo>
                    <a:lnTo>
                      <a:pt x="468" y="180"/>
                    </a:lnTo>
                    <a:lnTo>
                      <a:pt x="462" y="180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8" y="204"/>
                    </a:lnTo>
                    <a:lnTo>
                      <a:pt x="540" y="210"/>
                    </a:lnTo>
                    <a:lnTo>
                      <a:pt x="558" y="210"/>
                    </a:lnTo>
                    <a:lnTo>
                      <a:pt x="576" y="216"/>
                    </a:lnTo>
                    <a:lnTo>
                      <a:pt x="594" y="210"/>
                    </a:lnTo>
                    <a:lnTo>
                      <a:pt x="606" y="204"/>
                    </a:lnTo>
                    <a:lnTo>
                      <a:pt x="612" y="204"/>
                    </a:lnTo>
                    <a:lnTo>
                      <a:pt x="618" y="198"/>
                    </a:lnTo>
                    <a:lnTo>
                      <a:pt x="612" y="192"/>
                    </a:lnTo>
                    <a:lnTo>
                      <a:pt x="612" y="186"/>
                    </a:lnTo>
                    <a:lnTo>
                      <a:pt x="606" y="180"/>
                    </a:lnTo>
                    <a:lnTo>
                      <a:pt x="606" y="174"/>
                    </a:lnTo>
                    <a:lnTo>
                      <a:pt x="612" y="168"/>
                    </a:lnTo>
                    <a:lnTo>
                      <a:pt x="618" y="168"/>
                    </a:lnTo>
                    <a:lnTo>
                      <a:pt x="630" y="162"/>
                    </a:lnTo>
                    <a:lnTo>
                      <a:pt x="648" y="162"/>
                    </a:lnTo>
                    <a:lnTo>
                      <a:pt x="648" y="144"/>
                    </a:lnTo>
                    <a:lnTo>
                      <a:pt x="678" y="132"/>
                    </a:lnTo>
                    <a:lnTo>
                      <a:pt x="690" y="102"/>
                    </a:lnTo>
                    <a:lnTo>
                      <a:pt x="714" y="114"/>
                    </a:lnTo>
                    <a:lnTo>
                      <a:pt x="738" y="102"/>
                    </a:lnTo>
                    <a:lnTo>
                      <a:pt x="750" y="114"/>
                    </a:lnTo>
                    <a:lnTo>
                      <a:pt x="762" y="120"/>
                    </a:lnTo>
                    <a:lnTo>
                      <a:pt x="780" y="126"/>
                    </a:lnTo>
                    <a:lnTo>
                      <a:pt x="792" y="138"/>
                    </a:lnTo>
                    <a:lnTo>
                      <a:pt x="792" y="144"/>
                    </a:lnTo>
                    <a:lnTo>
                      <a:pt x="786" y="150"/>
                    </a:lnTo>
                    <a:lnTo>
                      <a:pt x="786" y="162"/>
                    </a:lnTo>
                    <a:lnTo>
                      <a:pt x="774" y="174"/>
                    </a:lnTo>
                    <a:lnTo>
                      <a:pt x="828" y="174"/>
                    </a:lnTo>
                    <a:lnTo>
                      <a:pt x="834" y="180"/>
                    </a:lnTo>
                    <a:lnTo>
                      <a:pt x="846" y="186"/>
                    </a:lnTo>
                    <a:lnTo>
                      <a:pt x="852" y="192"/>
                    </a:lnTo>
                    <a:lnTo>
                      <a:pt x="858" y="192"/>
                    </a:lnTo>
                    <a:lnTo>
                      <a:pt x="864" y="186"/>
                    </a:lnTo>
                    <a:lnTo>
                      <a:pt x="876" y="186"/>
                    </a:lnTo>
                    <a:lnTo>
                      <a:pt x="894" y="174"/>
                    </a:lnTo>
                    <a:lnTo>
                      <a:pt x="906" y="168"/>
                    </a:lnTo>
                    <a:lnTo>
                      <a:pt x="924" y="162"/>
                    </a:lnTo>
                    <a:lnTo>
                      <a:pt x="936" y="156"/>
                    </a:lnTo>
                    <a:lnTo>
                      <a:pt x="942" y="150"/>
                    </a:lnTo>
                    <a:lnTo>
                      <a:pt x="942" y="144"/>
                    </a:lnTo>
                    <a:lnTo>
                      <a:pt x="936" y="144"/>
                    </a:lnTo>
                    <a:lnTo>
                      <a:pt x="924" y="138"/>
                    </a:lnTo>
                    <a:lnTo>
                      <a:pt x="888" y="138"/>
                    </a:lnTo>
                    <a:lnTo>
                      <a:pt x="882" y="120"/>
                    </a:lnTo>
                    <a:lnTo>
                      <a:pt x="828" y="114"/>
                    </a:lnTo>
                    <a:lnTo>
                      <a:pt x="828" y="96"/>
                    </a:lnTo>
                    <a:lnTo>
                      <a:pt x="798" y="102"/>
                    </a:lnTo>
                    <a:lnTo>
                      <a:pt x="798" y="84"/>
                    </a:lnTo>
                    <a:lnTo>
                      <a:pt x="726" y="84"/>
                    </a:lnTo>
                    <a:lnTo>
                      <a:pt x="720" y="72"/>
                    </a:lnTo>
                    <a:lnTo>
                      <a:pt x="684" y="72"/>
                    </a:lnTo>
                    <a:lnTo>
                      <a:pt x="678" y="60"/>
                    </a:lnTo>
                    <a:lnTo>
                      <a:pt x="654" y="48"/>
                    </a:lnTo>
                    <a:lnTo>
                      <a:pt x="624" y="48"/>
                    </a:lnTo>
                    <a:lnTo>
                      <a:pt x="624" y="30"/>
                    </a:lnTo>
                    <a:lnTo>
                      <a:pt x="618" y="30"/>
                    </a:lnTo>
                    <a:lnTo>
                      <a:pt x="612" y="24"/>
                    </a:lnTo>
                    <a:lnTo>
                      <a:pt x="540" y="24"/>
                    </a:lnTo>
                    <a:lnTo>
                      <a:pt x="534" y="30"/>
                    </a:lnTo>
                    <a:lnTo>
                      <a:pt x="534" y="36"/>
                    </a:lnTo>
                    <a:lnTo>
                      <a:pt x="540" y="42"/>
                    </a:lnTo>
                    <a:lnTo>
                      <a:pt x="546" y="54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6" y="60"/>
                    </a:lnTo>
                    <a:lnTo>
                      <a:pt x="528" y="48"/>
                    </a:lnTo>
                    <a:lnTo>
                      <a:pt x="492" y="30"/>
                    </a:lnTo>
                    <a:lnTo>
                      <a:pt x="480" y="30"/>
                    </a:lnTo>
                    <a:lnTo>
                      <a:pt x="474" y="36"/>
                    </a:lnTo>
                    <a:lnTo>
                      <a:pt x="468" y="48"/>
                    </a:lnTo>
                    <a:lnTo>
                      <a:pt x="462" y="54"/>
                    </a:lnTo>
                    <a:lnTo>
                      <a:pt x="450" y="54"/>
                    </a:lnTo>
                    <a:lnTo>
                      <a:pt x="438" y="48"/>
                    </a:lnTo>
                    <a:lnTo>
                      <a:pt x="420" y="48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8" y="30"/>
                    </a:lnTo>
                    <a:lnTo>
                      <a:pt x="384" y="30"/>
                    </a:lnTo>
                    <a:lnTo>
                      <a:pt x="372" y="42"/>
                    </a:lnTo>
                    <a:lnTo>
                      <a:pt x="366" y="30"/>
                    </a:lnTo>
                    <a:lnTo>
                      <a:pt x="354" y="30"/>
                    </a:lnTo>
                    <a:lnTo>
                      <a:pt x="318" y="48"/>
                    </a:lnTo>
                    <a:lnTo>
                      <a:pt x="318" y="60"/>
                    </a:lnTo>
                    <a:lnTo>
                      <a:pt x="324" y="66"/>
                    </a:lnTo>
                    <a:close/>
                    <a:moveTo>
                      <a:pt x="642" y="708"/>
                    </a:moveTo>
                    <a:lnTo>
                      <a:pt x="666" y="696"/>
                    </a:lnTo>
                    <a:lnTo>
                      <a:pt x="666" y="690"/>
                    </a:lnTo>
                    <a:lnTo>
                      <a:pt x="678" y="690"/>
                    </a:lnTo>
                    <a:lnTo>
                      <a:pt x="678" y="678"/>
                    </a:lnTo>
                    <a:lnTo>
                      <a:pt x="672" y="672"/>
                    </a:lnTo>
                    <a:lnTo>
                      <a:pt x="630" y="690"/>
                    </a:lnTo>
                    <a:lnTo>
                      <a:pt x="642" y="708"/>
                    </a:lnTo>
                    <a:close/>
                    <a:moveTo>
                      <a:pt x="774" y="648"/>
                    </a:moveTo>
                    <a:lnTo>
                      <a:pt x="780" y="642"/>
                    </a:lnTo>
                    <a:lnTo>
                      <a:pt x="786" y="642"/>
                    </a:lnTo>
                    <a:lnTo>
                      <a:pt x="792" y="636"/>
                    </a:lnTo>
                    <a:lnTo>
                      <a:pt x="792" y="630"/>
                    </a:lnTo>
                    <a:lnTo>
                      <a:pt x="786" y="624"/>
                    </a:lnTo>
                    <a:lnTo>
                      <a:pt x="774" y="624"/>
                    </a:lnTo>
                    <a:lnTo>
                      <a:pt x="768" y="630"/>
                    </a:lnTo>
                    <a:lnTo>
                      <a:pt x="768" y="642"/>
                    </a:lnTo>
                    <a:lnTo>
                      <a:pt x="774" y="648"/>
                    </a:lnTo>
                    <a:close/>
                    <a:moveTo>
                      <a:pt x="594" y="696"/>
                    </a:moveTo>
                    <a:lnTo>
                      <a:pt x="576" y="696"/>
                    </a:lnTo>
                    <a:lnTo>
                      <a:pt x="552" y="708"/>
                    </a:lnTo>
                    <a:lnTo>
                      <a:pt x="546" y="714"/>
                    </a:lnTo>
                    <a:lnTo>
                      <a:pt x="570" y="720"/>
                    </a:lnTo>
                    <a:lnTo>
                      <a:pt x="576" y="714"/>
                    </a:lnTo>
                    <a:lnTo>
                      <a:pt x="588" y="714"/>
                    </a:lnTo>
                    <a:lnTo>
                      <a:pt x="600" y="702"/>
                    </a:lnTo>
                    <a:lnTo>
                      <a:pt x="594" y="696"/>
                    </a:lnTo>
                    <a:close/>
                    <a:moveTo>
                      <a:pt x="918" y="612"/>
                    </a:moveTo>
                    <a:lnTo>
                      <a:pt x="936" y="618"/>
                    </a:lnTo>
                    <a:lnTo>
                      <a:pt x="942" y="606"/>
                    </a:lnTo>
                    <a:lnTo>
                      <a:pt x="948" y="600"/>
                    </a:lnTo>
                    <a:lnTo>
                      <a:pt x="948" y="594"/>
                    </a:lnTo>
                    <a:lnTo>
                      <a:pt x="918" y="594"/>
                    </a:lnTo>
                    <a:lnTo>
                      <a:pt x="918" y="612"/>
                    </a:lnTo>
                    <a:close/>
                    <a:moveTo>
                      <a:pt x="486" y="756"/>
                    </a:moveTo>
                    <a:lnTo>
                      <a:pt x="474" y="756"/>
                    </a:lnTo>
                    <a:lnTo>
                      <a:pt x="438" y="774"/>
                    </a:lnTo>
                    <a:lnTo>
                      <a:pt x="432" y="780"/>
                    </a:lnTo>
                    <a:lnTo>
                      <a:pt x="432" y="786"/>
                    </a:lnTo>
                    <a:lnTo>
                      <a:pt x="444" y="786"/>
                    </a:lnTo>
                    <a:lnTo>
                      <a:pt x="456" y="780"/>
                    </a:lnTo>
                    <a:lnTo>
                      <a:pt x="462" y="774"/>
                    </a:lnTo>
                    <a:lnTo>
                      <a:pt x="474" y="768"/>
                    </a:lnTo>
                    <a:lnTo>
                      <a:pt x="510" y="768"/>
                    </a:lnTo>
                    <a:lnTo>
                      <a:pt x="510" y="762"/>
                    </a:lnTo>
                    <a:lnTo>
                      <a:pt x="504" y="762"/>
                    </a:lnTo>
                    <a:lnTo>
                      <a:pt x="504" y="756"/>
                    </a:lnTo>
                    <a:lnTo>
                      <a:pt x="486" y="756"/>
                    </a:lnTo>
                    <a:close/>
                    <a:moveTo>
                      <a:pt x="1356" y="660"/>
                    </a:moveTo>
                    <a:lnTo>
                      <a:pt x="1326" y="666"/>
                    </a:lnTo>
                    <a:lnTo>
                      <a:pt x="1290" y="654"/>
                    </a:lnTo>
                    <a:lnTo>
                      <a:pt x="1260" y="642"/>
                    </a:lnTo>
                    <a:lnTo>
                      <a:pt x="1302" y="642"/>
                    </a:lnTo>
                    <a:lnTo>
                      <a:pt x="1326" y="630"/>
                    </a:lnTo>
                    <a:lnTo>
                      <a:pt x="1344" y="630"/>
                    </a:lnTo>
                    <a:lnTo>
                      <a:pt x="1350" y="624"/>
                    </a:lnTo>
                    <a:lnTo>
                      <a:pt x="1356" y="624"/>
                    </a:lnTo>
                    <a:lnTo>
                      <a:pt x="1344" y="618"/>
                    </a:lnTo>
                    <a:lnTo>
                      <a:pt x="1338" y="612"/>
                    </a:lnTo>
                    <a:lnTo>
                      <a:pt x="1320" y="606"/>
                    </a:lnTo>
                    <a:lnTo>
                      <a:pt x="1308" y="600"/>
                    </a:lnTo>
                    <a:lnTo>
                      <a:pt x="1284" y="600"/>
                    </a:lnTo>
                    <a:lnTo>
                      <a:pt x="1260" y="588"/>
                    </a:lnTo>
                    <a:lnTo>
                      <a:pt x="1254" y="588"/>
                    </a:lnTo>
                    <a:lnTo>
                      <a:pt x="1242" y="582"/>
                    </a:lnTo>
                    <a:lnTo>
                      <a:pt x="1242" y="588"/>
                    </a:lnTo>
                    <a:lnTo>
                      <a:pt x="1236" y="594"/>
                    </a:lnTo>
                    <a:lnTo>
                      <a:pt x="1236" y="600"/>
                    </a:lnTo>
                    <a:lnTo>
                      <a:pt x="1218" y="618"/>
                    </a:lnTo>
                    <a:lnTo>
                      <a:pt x="1206" y="618"/>
                    </a:lnTo>
                    <a:lnTo>
                      <a:pt x="1200" y="612"/>
                    </a:lnTo>
                    <a:lnTo>
                      <a:pt x="1224" y="588"/>
                    </a:lnTo>
                    <a:lnTo>
                      <a:pt x="1158" y="564"/>
                    </a:lnTo>
                    <a:lnTo>
                      <a:pt x="1158" y="576"/>
                    </a:lnTo>
                    <a:lnTo>
                      <a:pt x="1152" y="594"/>
                    </a:lnTo>
                    <a:lnTo>
                      <a:pt x="1134" y="630"/>
                    </a:lnTo>
                    <a:lnTo>
                      <a:pt x="1128" y="630"/>
                    </a:lnTo>
                    <a:lnTo>
                      <a:pt x="1122" y="624"/>
                    </a:lnTo>
                    <a:lnTo>
                      <a:pt x="1116" y="612"/>
                    </a:lnTo>
                    <a:lnTo>
                      <a:pt x="1116" y="594"/>
                    </a:lnTo>
                    <a:lnTo>
                      <a:pt x="1122" y="582"/>
                    </a:lnTo>
                    <a:lnTo>
                      <a:pt x="1116" y="594"/>
                    </a:lnTo>
                    <a:lnTo>
                      <a:pt x="1104" y="600"/>
                    </a:lnTo>
                    <a:lnTo>
                      <a:pt x="1080" y="624"/>
                    </a:lnTo>
                    <a:lnTo>
                      <a:pt x="1056" y="636"/>
                    </a:lnTo>
                    <a:lnTo>
                      <a:pt x="1050" y="636"/>
                    </a:lnTo>
                    <a:lnTo>
                      <a:pt x="1050" y="630"/>
                    </a:lnTo>
                    <a:lnTo>
                      <a:pt x="1056" y="618"/>
                    </a:lnTo>
                    <a:lnTo>
                      <a:pt x="1086" y="588"/>
                    </a:lnTo>
                    <a:lnTo>
                      <a:pt x="1092" y="576"/>
                    </a:lnTo>
                    <a:lnTo>
                      <a:pt x="1104" y="570"/>
                    </a:lnTo>
                    <a:lnTo>
                      <a:pt x="1068" y="570"/>
                    </a:lnTo>
                    <a:lnTo>
                      <a:pt x="1050" y="582"/>
                    </a:lnTo>
                    <a:lnTo>
                      <a:pt x="1026" y="582"/>
                    </a:lnTo>
                    <a:lnTo>
                      <a:pt x="984" y="606"/>
                    </a:lnTo>
                    <a:lnTo>
                      <a:pt x="960" y="606"/>
                    </a:lnTo>
                    <a:lnTo>
                      <a:pt x="954" y="636"/>
                    </a:lnTo>
                    <a:lnTo>
                      <a:pt x="918" y="624"/>
                    </a:lnTo>
                    <a:lnTo>
                      <a:pt x="882" y="630"/>
                    </a:lnTo>
                    <a:lnTo>
                      <a:pt x="894" y="660"/>
                    </a:lnTo>
                    <a:lnTo>
                      <a:pt x="846" y="648"/>
                    </a:lnTo>
                    <a:lnTo>
                      <a:pt x="828" y="654"/>
                    </a:lnTo>
                    <a:lnTo>
                      <a:pt x="834" y="678"/>
                    </a:lnTo>
                    <a:lnTo>
                      <a:pt x="792" y="690"/>
                    </a:lnTo>
                    <a:lnTo>
                      <a:pt x="792" y="654"/>
                    </a:lnTo>
                    <a:lnTo>
                      <a:pt x="762" y="654"/>
                    </a:lnTo>
                    <a:lnTo>
                      <a:pt x="774" y="678"/>
                    </a:lnTo>
                    <a:lnTo>
                      <a:pt x="750" y="660"/>
                    </a:lnTo>
                    <a:lnTo>
                      <a:pt x="750" y="690"/>
                    </a:lnTo>
                    <a:lnTo>
                      <a:pt x="726" y="690"/>
                    </a:lnTo>
                    <a:lnTo>
                      <a:pt x="726" y="660"/>
                    </a:lnTo>
                    <a:lnTo>
                      <a:pt x="738" y="654"/>
                    </a:lnTo>
                    <a:lnTo>
                      <a:pt x="744" y="648"/>
                    </a:lnTo>
                    <a:lnTo>
                      <a:pt x="708" y="642"/>
                    </a:lnTo>
                    <a:lnTo>
                      <a:pt x="708" y="684"/>
                    </a:lnTo>
                    <a:lnTo>
                      <a:pt x="678" y="696"/>
                    </a:lnTo>
                    <a:lnTo>
                      <a:pt x="696" y="708"/>
                    </a:lnTo>
                    <a:lnTo>
                      <a:pt x="660" y="714"/>
                    </a:lnTo>
                    <a:lnTo>
                      <a:pt x="672" y="726"/>
                    </a:lnTo>
                    <a:lnTo>
                      <a:pt x="630" y="726"/>
                    </a:lnTo>
                    <a:lnTo>
                      <a:pt x="630" y="738"/>
                    </a:lnTo>
                    <a:lnTo>
                      <a:pt x="660" y="750"/>
                    </a:lnTo>
                    <a:lnTo>
                      <a:pt x="654" y="762"/>
                    </a:lnTo>
                    <a:lnTo>
                      <a:pt x="618" y="744"/>
                    </a:lnTo>
                    <a:lnTo>
                      <a:pt x="600" y="750"/>
                    </a:lnTo>
                    <a:lnTo>
                      <a:pt x="624" y="762"/>
                    </a:lnTo>
                    <a:lnTo>
                      <a:pt x="606" y="780"/>
                    </a:lnTo>
                    <a:lnTo>
                      <a:pt x="594" y="762"/>
                    </a:lnTo>
                    <a:lnTo>
                      <a:pt x="576" y="768"/>
                    </a:lnTo>
                    <a:lnTo>
                      <a:pt x="576" y="780"/>
                    </a:lnTo>
                    <a:lnTo>
                      <a:pt x="546" y="780"/>
                    </a:lnTo>
                    <a:lnTo>
                      <a:pt x="540" y="792"/>
                    </a:lnTo>
                    <a:lnTo>
                      <a:pt x="564" y="804"/>
                    </a:lnTo>
                    <a:lnTo>
                      <a:pt x="564" y="822"/>
                    </a:lnTo>
                    <a:lnTo>
                      <a:pt x="528" y="810"/>
                    </a:lnTo>
                    <a:lnTo>
                      <a:pt x="522" y="822"/>
                    </a:lnTo>
                    <a:lnTo>
                      <a:pt x="552" y="834"/>
                    </a:lnTo>
                    <a:lnTo>
                      <a:pt x="504" y="834"/>
                    </a:lnTo>
                    <a:lnTo>
                      <a:pt x="504" y="852"/>
                    </a:lnTo>
                    <a:lnTo>
                      <a:pt x="492" y="846"/>
                    </a:lnTo>
                    <a:lnTo>
                      <a:pt x="486" y="846"/>
                    </a:lnTo>
                    <a:lnTo>
                      <a:pt x="474" y="852"/>
                    </a:lnTo>
                    <a:lnTo>
                      <a:pt x="468" y="858"/>
                    </a:lnTo>
                    <a:lnTo>
                      <a:pt x="456" y="858"/>
                    </a:lnTo>
                    <a:lnTo>
                      <a:pt x="456" y="870"/>
                    </a:lnTo>
                    <a:lnTo>
                      <a:pt x="462" y="876"/>
                    </a:lnTo>
                    <a:lnTo>
                      <a:pt x="456" y="876"/>
                    </a:lnTo>
                    <a:lnTo>
                      <a:pt x="450" y="882"/>
                    </a:lnTo>
                    <a:lnTo>
                      <a:pt x="444" y="882"/>
                    </a:lnTo>
                    <a:lnTo>
                      <a:pt x="444" y="900"/>
                    </a:lnTo>
                    <a:lnTo>
                      <a:pt x="480" y="900"/>
                    </a:lnTo>
                    <a:lnTo>
                      <a:pt x="468" y="912"/>
                    </a:lnTo>
                    <a:lnTo>
                      <a:pt x="432" y="906"/>
                    </a:lnTo>
                    <a:lnTo>
                      <a:pt x="420" y="912"/>
                    </a:lnTo>
                    <a:lnTo>
                      <a:pt x="414" y="918"/>
                    </a:lnTo>
                    <a:lnTo>
                      <a:pt x="414" y="930"/>
                    </a:lnTo>
                    <a:lnTo>
                      <a:pt x="420" y="936"/>
                    </a:lnTo>
                    <a:lnTo>
                      <a:pt x="420" y="948"/>
                    </a:lnTo>
                    <a:lnTo>
                      <a:pt x="408" y="954"/>
                    </a:lnTo>
                    <a:lnTo>
                      <a:pt x="390" y="954"/>
                    </a:lnTo>
                    <a:lnTo>
                      <a:pt x="390" y="972"/>
                    </a:lnTo>
                    <a:lnTo>
                      <a:pt x="408" y="990"/>
                    </a:lnTo>
                    <a:lnTo>
                      <a:pt x="408" y="996"/>
                    </a:lnTo>
                    <a:lnTo>
                      <a:pt x="402" y="1002"/>
                    </a:lnTo>
                    <a:lnTo>
                      <a:pt x="366" y="1002"/>
                    </a:lnTo>
                    <a:lnTo>
                      <a:pt x="360" y="1008"/>
                    </a:lnTo>
                    <a:lnTo>
                      <a:pt x="360" y="1026"/>
                    </a:lnTo>
                    <a:lnTo>
                      <a:pt x="354" y="1032"/>
                    </a:lnTo>
                    <a:lnTo>
                      <a:pt x="342" y="1032"/>
                    </a:lnTo>
                    <a:lnTo>
                      <a:pt x="336" y="1026"/>
                    </a:lnTo>
                    <a:lnTo>
                      <a:pt x="318" y="1026"/>
                    </a:lnTo>
                    <a:lnTo>
                      <a:pt x="294" y="1050"/>
                    </a:lnTo>
                    <a:lnTo>
                      <a:pt x="282" y="1050"/>
                    </a:lnTo>
                    <a:lnTo>
                      <a:pt x="270" y="1062"/>
                    </a:lnTo>
                    <a:lnTo>
                      <a:pt x="270" y="1068"/>
                    </a:lnTo>
                    <a:lnTo>
                      <a:pt x="276" y="1074"/>
                    </a:lnTo>
                    <a:lnTo>
                      <a:pt x="276" y="1080"/>
                    </a:lnTo>
                    <a:lnTo>
                      <a:pt x="264" y="1092"/>
                    </a:lnTo>
                    <a:lnTo>
                      <a:pt x="252" y="1092"/>
                    </a:lnTo>
                    <a:lnTo>
                      <a:pt x="246" y="1086"/>
                    </a:lnTo>
                    <a:lnTo>
                      <a:pt x="234" y="1080"/>
                    </a:lnTo>
                    <a:lnTo>
                      <a:pt x="234" y="1074"/>
                    </a:lnTo>
                    <a:lnTo>
                      <a:pt x="228" y="1074"/>
                    </a:lnTo>
                    <a:lnTo>
                      <a:pt x="204" y="1086"/>
                    </a:lnTo>
                    <a:lnTo>
                      <a:pt x="198" y="1092"/>
                    </a:lnTo>
                    <a:lnTo>
                      <a:pt x="180" y="1092"/>
                    </a:lnTo>
                    <a:lnTo>
                      <a:pt x="180" y="1110"/>
                    </a:lnTo>
                    <a:lnTo>
                      <a:pt x="186" y="1116"/>
                    </a:lnTo>
                    <a:lnTo>
                      <a:pt x="192" y="1116"/>
                    </a:lnTo>
                    <a:lnTo>
                      <a:pt x="192" y="1128"/>
                    </a:lnTo>
                    <a:lnTo>
                      <a:pt x="186" y="1128"/>
                    </a:lnTo>
                    <a:lnTo>
                      <a:pt x="174" y="1116"/>
                    </a:lnTo>
                    <a:lnTo>
                      <a:pt x="162" y="1116"/>
                    </a:lnTo>
                    <a:lnTo>
                      <a:pt x="156" y="1122"/>
                    </a:lnTo>
                    <a:lnTo>
                      <a:pt x="156" y="1134"/>
                    </a:lnTo>
                    <a:lnTo>
                      <a:pt x="168" y="1134"/>
                    </a:lnTo>
                    <a:lnTo>
                      <a:pt x="174" y="1140"/>
                    </a:lnTo>
                    <a:lnTo>
                      <a:pt x="180" y="1140"/>
                    </a:lnTo>
                    <a:lnTo>
                      <a:pt x="180" y="1152"/>
                    </a:lnTo>
                    <a:lnTo>
                      <a:pt x="138" y="1152"/>
                    </a:lnTo>
                    <a:lnTo>
                      <a:pt x="138" y="1146"/>
                    </a:lnTo>
                    <a:lnTo>
                      <a:pt x="132" y="1146"/>
                    </a:lnTo>
                    <a:lnTo>
                      <a:pt x="126" y="1158"/>
                    </a:lnTo>
                    <a:lnTo>
                      <a:pt x="126" y="1170"/>
                    </a:lnTo>
                    <a:lnTo>
                      <a:pt x="120" y="1164"/>
                    </a:lnTo>
                    <a:lnTo>
                      <a:pt x="102" y="1164"/>
                    </a:lnTo>
                    <a:lnTo>
                      <a:pt x="96" y="1158"/>
                    </a:lnTo>
                    <a:lnTo>
                      <a:pt x="90" y="1158"/>
                    </a:lnTo>
                    <a:lnTo>
                      <a:pt x="90" y="1164"/>
                    </a:lnTo>
                    <a:lnTo>
                      <a:pt x="96" y="1170"/>
                    </a:lnTo>
                    <a:lnTo>
                      <a:pt x="120" y="1182"/>
                    </a:lnTo>
                    <a:lnTo>
                      <a:pt x="132" y="1182"/>
                    </a:lnTo>
                    <a:lnTo>
                      <a:pt x="108" y="1200"/>
                    </a:lnTo>
                    <a:lnTo>
                      <a:pt x="108" y="1188"/>
                    </a:lnTo>
                    <a:lnTo>
                      <a:pt x="90" y="1188"/>
                    </a:lnTo>
                    <a:lnTo>
                      <a:pt x="84" y="1194"/>
                    </a:lnTo>
                    <a:lnTo>
                      <a:pt x="60" y="1182"/>
                    </a:lnTo>
                    <a:lnTo>
                      <a:pt x="54" y="1194"/>
                    </a:lnTo>
                    <a:lnTo>
                      <a:pt x="66" y="1200"/>
                    </a:lnTo>
                    <a:lnTo>
                      <a:pt x="30" y="1194"/>
                    </a:lnTo>
                    <a:lnTo>
                      <a:pt x="30" y="1212"/>
                    </a:lnTo>
                    <a:lnTo>
                      <a:pt x="78" y="1212"/>
                    </a:lnTo>
                    <a:lnTo>
                      <a:pt x="54" y="1218"/>
                    </a:lnTo>
                    <a:lnTo>
                      <a:pt x="18" y="1212"/>
                    </a:lnTo>
                    <a:lnTo>
                      <a:pt x="6" y="1224"/>
                    </a:lnTo>
                    <a:lnTo>
                      <a:pt x="6" y="1230"/>
                    </a:lnTo>
                    <a:lnTo>
                      <a:pt x="18" y="1242"/>
                    </a:lnTo>
                    <a:lnTo>
                      <a:pt x="36" y="1242"/>
                    </a:lnTo>
                    <a:lnTo>
                      <a:pt x="18" y="1248"/>
                    </a:lnTo>
                    <a:lnTo>
                      <a:pt x="12" y="1254"/>
                    </a:lnTo>
                    <a:lnTo>
                      <a:pt x="12" y="1260"/>
                    </a:lnTo>
                    <a:lnTo>
                      <a:pt x="66" y="1260"/>
                    </a:lnTo>
                    <a:lnTo>
                      <a:pt x="78" y="1272"/>
                    </a:lnTo>
                    <a:lnTo>
                      <a:pt x="96" y="1260"/>
                    </a:lnTo>
                    <a:lnTo>
                      <a:pt x="108" y="1272"/>
                    </a:lnTo>
                    <a:lnTo>
                      <a:pt x="138" y="1260"/>
                    </a:lnTo>
                    <a:lnTo>
                      <a:pt x="132" y="1266"/>
                    </a:lnTo>
                    <a:lnTo>
                      <a:pt x="126" y="1278"/>
                    </a:lnTo>
                    <a:lnTo>
                      <a:pt x="60" y="1278"/>
                    </a:lnTo>
                    <a:lnTo>
                      <a:pt x="54" y="1272"/>
                    </a:lnTo>
                    <a:lnTo>
                      <a:pt x="24" y="1272"/>
                    </a:lnTo>
                    <a:lnTo>
                      <a:pt x="12" y="1278"/>
                    </a:lnTo>
                    <a:lnTo>
                      <a:pt x="0" y="1278"/>
                    </a:lnTo>
                    <a:lnTo>
                      <a:pt x="6" y="1284"/>
                    </a:lnTo>
                    <a:lnTo>
                      <a:pt x="6" y="1296"/>
                    </a:lnTo>
                    <a:lnTo>
                      <a:pt x="12" y="1296"/>
                    </a:lnTo>
                    <a:lnTo>
                      <a:pt x="18" y="1302"/>
                    </a:lnTo>
                    <a:lnTo>
                      <a:pt x="30" y="1302"/>
                    </a:lnTo>
                    <a:lnTo>
                      <a:pt x="24" y="1308"/>
                    </a:lnTo>
                    <a:lnTo>
                      <a:pt x="18" y="1320"/>
                    </a:lnTo>
                    <a:lnTo>
                      <a:pt x="36" y="1338"/>
                    </a:lnTo>
                    <a:lnTo>
                      <a:pt x="48" y="1338"/>
                    </a:lnTo>
                    <a:lnTo>
                      <a:pt x="72" y="1320"/>
                    </a:lnTo>
                    <a:lnTo>
                      <a:pt x="102" y="1314"/>
                    </a:lnTo>
                    <a:lnTo>
                      <a:pt x="90" y="1338"/>
                    </a:lnTo>
                    <a:lnTo>
                      <a:pt x="78" y="1332"/>
                    </a:lnTo>
                    <a:lnTo>
                      <a:pt x="66" y="1350"/>
                    </a:lnTo>
                    <a:lnTo>
                      <a:pt x="30" y="1350"/>
                    </a:lnTo>
                    <a:lnTo>
                      <a:pt x="48" y="1368"/>
                    </a:lnTo>
                    <a:lnTo>
                      <a:pt x="24" y="1380"/>
                    </a:lnTo>
                    <a:lnTo>
                      <a:pt x="6" y="1380"/>
                    </a:lnTo>
                    <a:lnTo>
                      <a:pt x="6" y="1398"/>
                    </a:lnTo>
                    <a:lnTo>
                      <a:pt x="66" y="1398"/>
                    </a:lnTo>
                    <a:lnTo>
                      <a:pt x="54" y="1422"/>
                    </a:lnTo>
                    <a:lnTo>
                      <a:pt x="66" y="1422"/>
                    </a:lnTo>
                    <a:lnTo>
                      <a:pt x="54" y="1440"/>
                    </a:lnTo>
                    <a:lnTo>
                      <a:pt x="42" y="1434"/>
                    </a:lnTo>
                    <a:lnTo>
                      <a:pt x="36" y="1434"/>
                    </a:lnTo>
                    <a:lnTo>
                      <a:pt x="30" y="1428"/>
                    </a:lnTo>
                    <a:lnTo>
                      <a:pt x="18" y="1428"/>
                    </a:lnTo>
                    <a:lnTo>
                      <a:pt x="18" y="1440"/>
                    </a:lnTo>
                    <a:lnTo>
                      <a:pt x="24" y="1452"/>
                    </a:lnTo>
                    <a:lnTo>
                      <a:pt x="36" y="1464"/>
                    </a:lnTo>
                    <a:lnTo>
                      <a:pt x="84" y="1482"/>
                    </a:lnTo>
                    <a:lnTo>
                      <a:pt x="78" y="1488"/>
                    </a:lnTo>
                    <a:lnTo>
                      <a:pt x="84" y="1494"/>
                    </a:lnTo>
                    <a:lnTo>
                      <a:pt x="126" y="1494"/>
                    </a:lnTo>
                    <a:lnTo>
                      <a:pt x="132" y="1500"/>
                    </a:lnTo>
                    <a:lnTo>
                      <a:pt x="144" y="1500"/>
                    </a:lnTo>
                    <a:lnTo>
                      <a:pt x="192" y="1476"/>
                    </a:lnTo>
                    <a:lnTo>
                      <a:pt x="204" y="1464"/>
                    </a:lnTo>
                    <a:lnTo>
                      <a:pt x="216" y="1458"/>
                    </a:lnTo>
                    <a:lnTo>
                      <a:pt x="222" y="1452"/>
                    </a:lnTo>
                    <a:lnTo>
                      <a:pt x="258" y="1422"/>
                    </a:lnTo>
                    <a:lnTo>
                      <a:pt x="282" y="1422"/>
                    </a:lnTo>
                    <a:lnTo>
                      <a:pt x="294" y="1416"/>
                    </a:lnTo>
                    <a:lnTo>
                      <a:pt x="300" y="1410"/>
                    </a:lnTo>
                    <a:lnTo>
                      <a:pt x="300" y="1386"/>
                    </a:lnTo>
                    <a:lnTo>
                      <a:pt x="294" y="1380"/>
                    </a:lnTo>
                    <a:lnTo>
                      <a:pt x="294" y="1374"/>
                    </a:lnTo>
                    <a:lnTo>
                      <a:pt x="312" y="1368"/>
                    </a:lnTo>
                    <a:lnTo>
                      <a:pt x="306" y="1374"/>
                    </a:lnTo>
                    <a:lnTo>
                      <a:pt x="306" y="1380"/>
                    </a:lnTo>
                    <a:lnTo>
                      <a:pt x="300" y="1386"/>
                    </a:lnTo>
                    <a:lnTo>
                      <a:pt x="300" y="1392"/>
                    </a:lnTo>
                    <a:lnTo>
                      <a:pt x="312" y="1404"/>
                    </a:lnTo>
                    <a:lnTo>
                      <a:pt x="330" y="1410"/>
                    </a:lnTo>
                    <a:lnTo>
                      <a:pt x="342" y="1410"/>
                    </a:lnTo>
                    <a:lnTo>
                      <a:pt x="348" y="1416"/>
                    </a:lnTo>
                    <a:lnTo>
                      <a:pt x="354" y="1416"/>
                    </a:lnTo>
                    <a:lnTo>
                      <a:pt x="372" y="1434"/>
                    </a:lnTo>
                    <a:lnTo>
                      <a:pt x="378" y="1422"/>
                    </a:lnTo>
                    <a:lnTo>
                      <a:pt x="384" y="1416"/>
                    </a:lnTo>
                    <a:lnTo>
                      <a:pt x="384" y="1398"/>
                    </a:lnTo>
                    <a:lnTo>
                      <a:pt x="372" y="1386"/>
                    </a:lnTo>
                    <a:lnTo>
                      <a:pt x="372" y="1380"/>
                    </a:lnTo>
                    <a:lnTo>
                      <a:pt x="378" y="1374"/>
                    </a:lnTo>
                    <a:lnTo>
                      <a:pt x="384" y="1374"/>
                    </a:lnTo>
                    <a:lnTo>
                      <a:pt x="384" y="1368"/>
                    </a:lnTo>
                    <a:lnTo>
                      <a:pt x="378" y="1356"/>
                    </a:lnTo>
                    <a:lnTo>
                      <a:pt x="414" y="1356"/>
                    </a:lnTo>
                    <a:lnTo>
                      <a:pt x="420" y="1350"/>
                    </a:lnTo>
                    <a:lnTo>
                      <a:pt x="420" y="1326"/>
                    </a:lnTo>
                    <a:lnTo>
                      <a:pt x="426" y="1326"/>
                    </a:lnTo>
                    <a:lnTo>
                      <a:pt x="420" y="1314"/>
                    </a:lnTo>
                    <a:lnTo>
                      <a:pt x="420" y="1308"/>
                    </a:lnTo>
                    <a:lnTo>
                      <a:pt x="414" y="1302"/>
                    </a:lnTo>
                    <a:lnTo>
                      <a:pt x="414" y="1296"/>
                    </a:lnTo>
                    <a:lnTo>
                      <a:pt x="408" y="1284"/>
                    </a:lnTo>
                    <a:lnTo>
                      <a:pt x="402" y="1278"/>
                    </a:lnTo>
                    <a:lnTo>
                      <a:pt x="426" y="1272"/>
                    </a:lnTo>
                    <a:lnTo>
                      <a:pt x="438" y="1260"/>
                    </a:lnTo>
                    <a:lnTo>
                      <a:pt x="438" y="1248"/>
                    </a:lnTo>
                    <a:lnTo>
                      <a:pt x="420" y="1230"/>
                    </a:lnTo>
                    <a:lnTo>
                      <a:pt x="414" y="1230"/>
                    </a:lnTo>
                    <a:lnTo>
                      <a:pt x="402" y="1218"/>
                    </a:lnTo>
                    <a:lnTo>
                      <a:pt x="402" y="1200"/>
                    </a:lnTo>
                    <a:lnTo>
                      <a:pt x="408" y="1188"/>
                    </a:lnTo>
                    <a:lnTo>
                      <a:pt x="408" y="1176"/>
                    </a:lnTo>
                    <a:lnTo>
                      <a:pt x="384" y="1152"/>
                    </a:lnTo>
                    <a:lnTo>
                      <a:pt x="384" y="1140"/>
                    </a:lnTo>
                    <a:lnTo>
                      <a:pt x="390" y="1134"/>
                    </a:lnTo>
                    <a:lnTo>
                      <a:pt x="396" y="1134"/>
                    </a:lnTo>
                    <a:lnTo>
                      <a:pt x="402" y="1128"/>
                    </a:lnTo>
                    <a:lnTo>
                      <a:pt x="402" y="1122"/>
                    </a:lnTo>
                    <a:lnTo>
                      <a:pt x="396" y="1116"/>
                    </a:lnTo>
                    <a:lnTo>
                      <a:pt x="390" y="1116"/>
                    </a:lnTo>
                    <a:lnTo>
                      <a:pt x="384" y="1110"/>
                    </a:lnTo>
                    <a:lnTo>
                      <a:pt x="426" y="1068"/>
                    </a:lnTo>
                    <a:lnTo>
                      <a:pt x="438" y="1062"/>
                    </a:lnTo>
                    <a:lnTo>
                      <a:pt x="444" y="1056"/>
                    </a:lnTo>
                    <a:lnTo>
                      <a:pt x="456" y="1050"/>
                    </a:lnTo>
                    <a:lnTo>
                      <a:pt x="498" y="1050"/>
                    </a:lnTo>
                    <a:lnTo>
                      <a:pt x="504" y="1044"/>
                    </a:lnTo>
                    <a:lnTo>
                      <a:pt x="504" y="1038"/>
                    </a:lnTo>
                    <a:lnTo>
                      <a:pt x="486" y="1020"/>
                    </a:lnTo>
                    <a:lnTo>
                      <a:pt x="474" y="1014"/>
                    </a:lnTo>
                    <a:lnTo>
                      <a:pt x="486" y="1008"/>
                    </a:lnTo>
                    <a:lnTo>
                      <a:pt x="492" y="1008"/>
                    </a:lnTo>
                    <a:lnTo>
                      <a:pt x="522" y="978"/>
                    </a:lnTo>
                    <a:lnTo>
                      <a:pt x="528" y="936"/>
                    </a:lnTo>
                    <a:lnTo>
                      <a:pt x="528" y="900"/>
                    </a:lnTo>
                    <a:lnTo>
                      <a:pt x="546" y="912"/>
                    </a:lnTo>
                    <a:lnTo>
                      <a:pt x="558" y="906"/>
                    </a:lnTo>
                    <a:lnTo>
                      <a:pt x="564" y="906"/>
                    </a:lnTo>
                    <a:lnTo>
                      <a:pt x="570" y="900"/>
                    </a:lnTo>
                    <a:lnTo>
                      <a:pt x="576" y="900"/>
                    </a:lnTo>
                    <a:lnTo>
                      <a:pt x="576" y="894"/>
                    </a:lnTo>
                    <a:lnTo>
                      <a:pt x="570" y="888"/>
                    </a:lnTo>
                    <a:lnTo>
                      <a:pt x="570" y="882"/>
                    </a:lnTo>
                    <a:lnTo>
                      <a:pt x="564" y="876"/>
                    </a:lnTo>
                    <a:lnTo>
                      <a:pt x="582" y="876"/>
                    </a:lnTo>
                    <a:lnTo>
                      <a:pt x="588" y="870"/>
                    </a:lnTo>
                    <a:lnTo>
                      <a:pt x="588" y="864"/>
                    </a:lnTo>
                    <a:lnTo>
                      <a:pt x="594" y="858"/>
                    </a:lnTo>
                    <a:lnTo>
                      <a:pt x="606" y="852"/>
                    </a:lnTo>
                    <a:lnTo>
                      <a:pt x="612" y="852"/>
                    </a:lnTo>
                    <a:lnTo>
                      <a:pt x="618" y="834"/>
                    </a:lnTo>
                    <a:lnTo>
                      <a:pt x="612" y="828"/>
                    </a:lnTo>
                    <a:lnTo>
                      <a:pt x="600" y="822"/>
                    </a:lnTo>
                    <a:lnTo>
                      <a:pt x="600" y="810"/>
                    </a:lnTo>
                    <a:lnTo>
                      <a:pt x="606" y="810"/>
                    </a:lnTo>
                    <a:lnTo>
                      <a:pt x="618" y="804"/>
                    </a:lnTo>
                    <a:lnTo>
                      <a:pt x="636" y="786"/>
                    </a:lnTo>
                    <a:lnTo>
                      <a:pt x="678" y="780"/>
                    </a:lnTo>
                    <a:lnTo>
                      <a:pt x="696" y="780"/>
                    </a:lnTo>
                    <a:lnTo>
                      <a:pt x="702" y="774"/>
                    </a:lnTo>
                    <a:lnTo>
                      <a:pt x="702" y="744"/>
                    </a:lnTo>
                    <a:lnTo>
                      <a:pt x="714" y="732"/>
                    </a:lnTo>
                    <a:lnTo>
                      <a:pt x="720" y="738"/>
                    </a:lnTo>
                    <a:lnTo>
                      <a:pt x="720" y="750"/>
                    </a:lnTo>
                    <a:lnTo>
                      <a:pt x="744" y="744"/>
                    </a:lnTo>
                    <a:lnTo>
                      <a:pt x="768" y="750"/>
                    </a:lnTo>
                    <a:lnTo>
                      <a:pt x="792" y="750"/>
                    </a:lnTo>
                    <a:lnTo>
                      <a:pt x="798" y="756"/>
                    </a:lnTo>
                    <a:lnTo>
                      <a:pt x="810" y="756"/>
                    </a:lnTo>
                    <a:lnTo>
                      <a:pt x="816" y="750"/>
                    </a:lnTo>
                    <a:lnTo>
                      <a:pt x="810" y="750"/>
                    </a:lnTo>
                    <a:lnTo>
                      <a:pt x="798" y="738"/>
                    </a:lnTo>
                    <a:lnTo>
                      <a:pt x="798" y="732"/>
                    </a:lnTo>
                    <a:lnTo>
                      <a:pt x="810" y="732"/>
                    </a:lnTo>
                    <a:lnTo>
                      <a:pt x="810" y="708"/>
                    </a:lnTo>
                    <a:lnTo>
                      <a:pt x="840" y="714"/>
                    </a:lnTo>
                    <a:lnTo>
                      <a:pt x="834" y="708"/>
                    </a:lnTo>
                    <a:lnTo>
                      <a:pt x="840" y="702"/>
                    </a:lnTo>
                    <a:lnTo>
                      <a:pt x="858" y="708"/>
                    </a:lnTo>
                    <a:lnTo>
                      <a:pt x="858" y="696"/>
                    </a:lnTo>
                    <a:lnTo>
                      <a:pt x="864" y="690"/>
                    </a:lnTo>
                    <a:lnTo>
                      <a:pt x="882" y="690"/>
                    </a:lnTo>
                    <a:lnTo>
                      <a:pt x="888" y="696"/>
                    </a:lnTo>
                    <a:lnTo>
                      <a:pt x="894" y="708"/>
                    </a:lnTo>
                    <a:lnTo>
                      <a:pt x="906" y="714"/>
                    </a:lnTo>
                    <a:lnTo>
                      <a:pt x="918" y="726"/>
                    </a:lnTo>
                    <a:lnTo>
                      <a:pt x="930" y="726"/>
                    </a:lnTo>
                    <a:lnTo>
                      <a:pt x="942" y="732"/>
                    </a:lnTo>
                    <a:lnTo>
                      <a:pt x="960" y="732"/>
                    </a:lnTo>
                    <a:lnTo>
                      <a:pt x="966" y="738"/>
                    </a:lnTo>
                    <a:lnTo>
                      <a:pt x="978" y="738"/>
                    </a:lnTo>
                    <a:lnTo>
                      <a:pt x="990" y="732"/>
                    </a:lnTo>
                    <a:lnTo>
                      <a:pt x="996" y="726"/>
                    </a:lnTo>
                    <a:lnTo>
                      <a:pt x="1026" y="726"/>
                    </a:lnTo>
                    <a:lnTo>
                      <a:pt x="1038" y="732"/>
                    </a:lnTo>
                    <a:lnTo>
                      <a:pt x="1044" y="738"/>
                    </a:lnTo>
                    <a:lnTo>
                      <a:pt x="1062" y="738"/>
                    </a:lnTo>
                    <a:lnTo>
                      <a:pt x="1062" y="726"/>
                    </a:lnTo>
                    <a:lnTo>
                      <a:pt x="1068" y="720"/>
                    </a:lnTo>
                    <a:lnTo>
                      <a:pt x="1068" y="714"/>
                    </a:lnTo>
                    <a:lnTo>
                      <a:pt x="1092" y="714"/>
                    </a:lnTo>
                    <a:lnTo>
                      <a:pt x="1092" y="678"/>
                    </a:lnTo>
                    <a:lnTo>
                      <a:pt x="1098" y="672"/>
                    </a:lnTo>
                    <a:lnTo>
                      <a:pt x="1098" y="660"/>
                    </a:lnTo>
                    <a:lnTo>
                      <a:pt x="1110" y="654"/>
                    </a:lnTo>
                    <a:lnTo>
                      <a:pt x="1116" y="654"/>
                    </a:lnTo>
                    <a:lnTo>
                      <a:pt x="1128" y="648"/>
                    </a:lnTo>
                    <a:lnTo>
                      <a:pt x="1158" y="648"/>
                    </a:lnTo>
                    <a:lnTo>
                      <a:pt x="1170" y="642"/>
                    </a:lnTo>
                    <a:lnTo>
                      <a:pt x="1206" y="642"/>
                    </a:lnTo>
                    <a:lnTo>
                      <a:pt x="1206" y="654"/>
                    </a:lnTo>
                    <a:lnTo>
                      <a:pt x="1242" y="660"/>
                    </a:lnTo>
                    <a:lnTo>
                      <a:pt x="1248" y="660"/>
                    </a:lnTo>
                    <a:lnTo>
                      <a:pt x="1260" y="672"/>
                    </a:lnTo>
                    <a:lnTo>
                      <a:pt x="1266" y="684"/>
                    </a:lnTo>
                    <a:lnTo>
                      <a:pt x="1266" y="702"/>
                    </a:lnTo>
                    <a:lnTo>
                      <a:pt x="1260" y="702"/>
                    </a:lnTo>
                    <a:lnTo>
                      <a:pt x="1260" y="696"/>
                    </a:lnTo>
                    <a:lnTo>
                      <a:pt x="1254" y="696"/>
                    </a:lnTo>
                    <a:lnTo>
                      <a:pt x="1254" y="708"/>
                    </a:lnTo>
                    <a:lnTo>
                      <a:pt x="1278" y="708"/>
                    </a:lnTo>
                    <a:lnTo>
                      <a:pt x="1284" y="696"/>
                    </a:lnTo>
                    <a:lnTo>
                      <a:pt x="1284" y="690"/>
                    </a:lnTo>
                    <a:lnTo>
                      <a:pt x="1308" y="684"/>
                    </a:lnTo>
                    <a:lnTo>
                      <a:pt x="1314" y="672"/>
                    </a:lnTo>
                    <a:lnTo>
                      <a:pt x="1350" y="672"/>
                    </a:lnTo>
                    <a:lnTo>
                      <a:pt x="1362" y="660"/>
                    </a:lnTo>
                    <a:lnTo>
                      <a:pt x="1356" y="660"/>
                    </a:lnTo>
                    <a:close/>
                    <a:moveTo>
                      <a:pt x="564" y="726"/>
                    </a:moveTo>
                    <a:lnTo>
                      <a:pt x="540" y="738"/>
                    </a:lnTo>
                    <a:lnTo>
                      <a:pt x="546" y="756"/>
                    </a:lnTo>
                    <a:lnTo>
                      <a:pt x="576" y="756"/>
                    </a:lnTo>
                    <a:lnTo>
                      <a:pt x="570" y="738"/>
                    </a:lnTo>
                    <a:lnTo>
                      <a:pt x="564" y="726"/>
                    </a:lnTo>
                    <a:close/>
                    <a:moveTo>
                      <a:pt x="522" y="714"/>
                    </a:moveTo>
                    <a:lnTo>
                      <a:pt x="516" y="720"/>
                    </a:lnTo>
                    <a:lnTo>
                      <a:pt x="510" y="732"/>
                    </a:lnTo>
                    <a:lnTo>
                      <a:pt x="510" y="750"/>
                    </a:lnTo>
                    <a:lnTo>
                      <a:pt x="528" y="768"/>
                    </a:lnTo>
                    <a:lnTo>
                      <a:pt x="528" y="756"/>
                    </a:lnTo>
                    <a:lnTo>
                      <a:pt x="534" y="744"/>
                    </a:lnTo>
                    <a:lnTo>
                      <a:pt x="534" y="720"/>
                    </a:lnTo>
                    <a:lnTo>
                      <a:pt x="528" y="714"/>
                    </a:lnTo>
                    <a:lnTo>
                      <a:pt x="522" y="714"/>
                    </a:lnTo>
                    <a:close/>
                    <a:moveTo>
                      <a:pt x="606" y="738"/>
                    </a:moveTo>
                    <a:lnTo>
                      <a:pt x="618" y="732"/>
                    </a:lnTo>
                    <a:lnTo>
                      <a:pt x="624" y="732"/>
                    </a:lnTo>
                    <a:lnTo>
                      <a:pt x="630" y="726"/>
                    </a:lnTo>
                    <a:lnTo>
                      <a:pt x="618" y="720"/>
                    </a:lnTo>
                    <a:lnTo>
                      <a:pt x="588" y="720"/>
                    </a:lnTo>
                    <a:lnTo>
                      <a:pt x="576" y="732"/>
                    </a:lnTo>
                    <a:lnTo>
                      <a:pt x="582" y="744"/>
                    </a:lnTo>
                    <a:lnTo>
                      <a:pt x="606" y="7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5" name="Nether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965B261-9915-D73C-4467-2BBED95DF2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2850" y="1990058"/>
                <a:ext cx="122385" cy="94019"/>
              </a:xfrm>
              <a:custGeom>
                <a:avLst/>
                <a:gdLst>
                  <a:gd name="T0" fmla="*/ 0 w 270"/>
                  <a:gd name="T1" fmla="*/ 2147483647 h 210"/>
                  <a:gd name="T2" fmla="*/ 2147483647 w 270"/>
                  <a:gd name="T3" fmla="*/ 2147483647 h 210"/>
                  <a:gd name="T4" fmla="*/ 2147483647 w 270"/>
                  <a:gd name="T5" fmla="*/ 2147483647 h 210"/>
                  <a:gd name="T6" fmla="*/ 2147483647 w 270"/>
                  <a:gd name="T7" fmla="*/ 2147483647 h 210"/>
                  <a:gd name="T8" fmla="*/ 2147483647 w 270"/>
                  <a:gd name="T9" fmla="*/ 2147483647 h 210"/>
                  <a:gd name="T10" fmla="*/ 2147483647 w 270"/>
                  <a:gd name="T11" fmla="*/ 2147483647 h 210"/>
                  <a:gd name="T12" fmla="*/ 2147483647 w 270"/>
                  <a:gd name="T13" fmla="*/ 2147483647 h 210"/>
                  <a:gd name="T14" fmla="*/ 2147483647 w 270"/>
                  <a:gd name="T15" fmla="*/ 2147483647 h 210"/>
                  <a:gd name="T16" fmla="*/ 2147483647 w 270"/>
                  <a:gd name="T17" fmla="*/ 2147483647 h 210"/>
                  <a:gd name="T18" fmla="*/ 2147483647 w 270"/>
                  <a:gd name="T19" fmla="*/ 2147483647 h 210"/>
                  <a:gd name="T20" fmla="*/ 2147483647 w 270"/>
                  <a:gd name="T21" fmla="*/ 2147483647 h 210"/>
                  <a:gd name="T22" fmla="*/ 2147483647 w 270"/>
                  <a:gd name="T23" fmla="*/ 2147483647 h 210"/>
                  <a:gd name="T24" fmla="*/ 2147483647 w 270"/>
                  <a:gd name="T25" fmla="*/ 2147483647 h 210"/>
                  <a:gd name="T26" fmla="*/ 2147483647 w 270"/>
                  <a:gd name="T27" fmla="*/ 2147483647 h 210"/>
                  <a:gd name="T28" fmla="*/ 2147483647 w 270"/>
                  <a:gd name="T29" fmla="*/ 2147483647 h 210"/>
                  <a:gd name="T30" fmla="*/ 2147483647 w 270"/>
                  <a:gd name="T31" fmla="*/ 2147483647 h 210"/>
                  <a:gd name="T32" fmla="*/ 2147483647 w 270"/>
                  <a:gd name="T33" fmla="*/ 2147483647 h 210"/>
                  <a:gd name="T34" fmla="*/ 2147483647 w 270"/>
                  <a:gd name="T35" fmla="*/ 2147483647 h 210"/>
                  <a:gd name="T36" fmla="*/ 2147483647 w 270"/>
                  <a:gd name="T37" fmla="*/ 2147483647 h 210"/>
                  <a:gd name="T38" fmla="*/ 2147483647 w 270"/>
                  <a:gd name="T39" fmla="*/ 2147483647 h 210"/>
                  <a:gd name="T40" fmla="*/ 2147483647 w 270"/>
                  <a:gd name="T41" fmla="*/ 2147483647 h 210"/>
                  <a:gd name="T42" fmla="*/ 2147483647 w 270"/>
                  <a:gd name="T43" fmla="*/ 2147483647 h 210"/>
                  <a:gd name="T44" fmla="*/ 2147483647 w 270"/>
                  <a:gd name="T45" fmla="*/ 2147483647 h 210"/>
                  <a:gd name="T46" fmla="*/ 2147483647 w 270"/>
                  <a:gd name="T47" fmla="*/ 2147483647 h 210"/>
                  <a:gd name="T48" fmla="*/ 2147483647 w 270"/>
                  <a:gd name="T49" fmla="*/ 2147483647 h 210"/>
                  <a:gd name="T50" fmla="*/ 2147483647 w 270"/>
                  <a:gd name="T51" fmla="*/ 2147483647 h 210"/>
                  <a:gd name="T52" fmla="*/ 2147483647 w 270"/>
                  <a:gd name="T53" fmla="*/ 2147483647 h 210"/>
                  <a:gd name="T54" fmla="*/ 2147483647 w 270"/>
                  <a:gd name="T55" fmla="*/ 2147483647 h 210"/>
                  <a:gd name="T56" fmla="*/ 2147483647 w 270"/>
                  <a:gd name="T57" fmla="*/ 2147483647 h 210"/>
                  <a:gd name="T58" fmla="*/ 2147483647 w 270"/>
                  <a:gd name="T59" fmla="*/ 0 h 210"/>
                  <a:gd name="T60" fmla="*/ 2147483647 w 270"/>
                  <a:gd name="T61" fmla="*/ 2147483647 h 210"/>
                  <a:gd name="T62" fmla="*/ 2147483647 w 270"/>
                  <a:gd name="T63" fmla="*/ 2147483647 h 210"/>
                  <a:gd name="T64" fmla="*/ 2147483647 w 270"/>
                  <a:gd name="T65" fmla="*/ 2147483647 h 210"/>
                  <a:gd name="T66" fmla="*/ 2147483647 w 270"/>
                  <a:gd name="T67" fmla="*/ 2147483647 h 210"/>
                  <a:gd name="T68" fmla="*/ 2147483647 w 270"/>
                  <a:gd name="T69" fmla="*/ 2147483647 h 210"/>
                  <a:gd name="T70" fmla="*/ 2147483647 w 270"/>
                  <a:gd name="T71" fmla="*/ 2147483647 h 210"/>
                  <a:gd name="T72" fmla="*/ 2147483647 w 270"/>
                  <a:gd name="T73" fmla="*/ 2147483647 h 210"/>
                  <a:gd name="T74" fmla="*/ 2147483647 w 270"/>
                  <a:gd name="T75" fmla="*/ 2147483647 h 210"/>
                  <a:gd name="T76" fmla="*/ 2147483647 w 270"/>
                  <a:gd name="T77" fmla="*/ 2147483647 h 210"/>
                  <a:gd name="T78" fmla="*/ 2147483647 w 270"/>
                  <a:gd name="T79" fmla="*/ 2147483647 h 210"/>
                  <a:gd name="T80" fmla="*/ 2147483647 w 270"/>
                  <a:gd name="T81" fmla="*/ 2147483647 h 210"/>
                  <a:gd name="T82" fmla="*/ 2147483647 w 270"/>
                  <a:gd name="T83" fmla="*/ 2147483647 h 210"/>
                  <a:gd name="T84" fmla="*/ 2147483647 w 270"/>
                  <a:gd name="T85" fmla="*/ 2147483647 h 210"/>
                  <a:gd name="T86" fmla="*/ 2147483647 w 270"/>
                  <a:gd name="T87" fmla="*/ 2147483647 h 210"/>
                  <a:gd name="T88" fmla="*/ 2147483647 w 270"/>
                  <a:gd name="T89" fmla="*/ 2147483647 h 21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70"/>
                  <a:gd name="T136" fmla="*/ 0 h 210"/>
                  <a:gd name="T137" fmla="*/ 270 w 270"/>
                  <a:gd name="T138" fmla="*/ 210 h 21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70" h="210">
                    <a:moveTo>
                      <a:pt x="18" y="156"/>
                    </a:moveTo>
                    <a:lnTo>
                      <a:pt x="0" y="174"/>
                    </a:lnTo>
                    <a:lnTo>
                      <a:pt x="12" y="162"/>
                    </a:lnTo>
                    <a:lnTo>
                      <a:pt x="24" y="162"/>
                    </a:lnTo>
                    <a:lnTo>
                      <a:pt x="30" y="168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62"/>
                    </a:lnTo>
                    <a:lnTo>
                      <a:pt x="84" y="168"/>
                    </a:lnTo>
                    <a:lnTo>
                      <a:pt x="84" y="156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8" y="174"/>
                    </a:lnTo>
                    <a:lnTo>
                      <a:pt x="150" y="174"/>
                    </a:lnTo>
                    <a:lnTo>
                      <a:pt x="162" y="168"/>
                    </a:lnTo>
                    <a:lnTo>
                      <a:pt x="168" y="168"/>
                    </a:lnTo>
                    <a:lnTo>
                      <a:pt x="174" y="174"/>
                    </a:lnTo>
                    <a:lnTo>
                      <a:pt x="174" y="192"/>
                    </a:lnTo>
                    <a:lnTo>
                      <a:pt x="168" y="198"/>
                    </a:lnTo>
                    <a:lnTo>
                      <a:pt x="168" y="210"/>
                    </a:lnTo>
                    <a:lnTo>
                      <a:pt x="180" y="210"/>
                    </a:lnTo>
                    <a:lnTo>
                      <a:pt x="180" y="198"/>
                    </a:lnTo>
                    <a:lnTo>
                      <a:pt x="186" y="192"/>
                    </a:lnTo>
                    <a:lnTo>
                      <a:pt x="186" y="180"/>
                    </a:lnTo>
                    <a:lnTo>
                      <a:pt x="180" y="174"/>
                    </a:lnTo>
                    <a:lnTo>
                      <a:pt x="186" y="168"/>
                    </a:lnTo>
                    <a:lnTo>
                      <a:pt x="198" y="162"/>
                    </a:lnTo>
                    <a:lnTo>
                      <a:pt x="198" y="156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22" y="126"/>
                    </a:lnTo>
                    <a:lnTo>
                      <a:pt x="222" y="120"/>
                    </a:lnTo>
                    <a:lnTo>
                      <a:pt x="228" y="114"/>
                    </a:lnTo>
                    <a:lnTo>
                      <a:pt x="234" y="114"/>
                    </a:lnTo>
                    <a:lnTo>
                      <a:pt x="240" y="102"/>
                    </a:lnTo>
                    <a:lnTo>
                      <a:pt x="246" y="96"/>
                    </a:lnTo>
                    <a:lnTo>
                      <a:pt x="252" y="96"/>
                    </a:lnTo>
                    <a:lnTo>
                      <a:pt x="252" y="90"/>
                    </a:lnTo>
                    <a:lnTo>
                      <a:pt x="240" y="78"/>
                    </a:lnTo>
                    <a:lnTo>
                      <a:pt x="234" y="78"/>
                    </a:lnTo>
                    <a:lnTo>
                      <a:pt x="228" y="72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46" y="60"/>
                    </a:lnTo>
                    <a:lnTo>
                      <a:pt x="258" y="60"/>
                    </a:lnTo>
                    <a:lnTo>
                      <a:pt x="252" y="54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70" y="30"/>
                    </a:lnTo>
                    <a:lnTo>
                      <a:pt x="264" y="18"/>
                    </a:lnTo>
                    <a:lnTo>
                      <a:pt x="270" y="12"/>
                    </a:lnTo>
                    <a:lnTo>
                      <a:pt x="264" y="12"/>
                    </a:lnTo>
                    <a:lnTo>
                      <a:pt x="252" y="6"/>
                    </a:lnTo>
                    <a:lnTo>
                      <a:pt x="246" y="6"/>
                    </a:lnTo>
                    <a:lnTo>
                      <a:pt x="234" y="0"/>
                    </a:lnTo>
                    <a:lnTo>
                      <a:pt x="180" y="0"/>
                    </a:lnTo>
                    <a:lnTo>
                      <a:pt x="168" y="12"/>
                    </a:lnTo>
                    <a:lnTo>
                      <a:pt x="156" y="18"/>
                    </a:lnTo>
                    <a:lnTo>
                      <a:pt x="156" y="30"/>
                    </a:lnTo>
                    <a:lnTo>
                      <a:pt x="162" y="36"/>
                    </a:lnTo>
                    <a:lnTo>
                      <a:pt x="162" y="54"/>
                    </a:lnTo>
                    <a:lnTo>
                      <a:pt x="168" y="60"/>
                    </a:lnTo>
                    <a:lnTo>
                      <a:pt x="174" y="60"/>
                    </a:lnTo>
                    <a:lnTo>
                      <a:pt x="180" y="66"/>
                    </a:lnTo>
                    <a:lnTo>
                      <a:pt x="180" y="78"/>
                    </a:lnTo>
                    <a:lnTo>
                      <a:pt x="168" y="84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84"/>
                    </a:lnTo>
                    <a:lnTo>
                      <a:pt x="138" y="66"/>
                    </a:lnTo>
                    <a:lnTo>
                      <a:pt x="150" y="54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36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90" y="90"/>
                    </a:lnTo>
                    <a:lnTo>
                      <a:pt x="90" y="102"/>
                    </a:lnTo>
                    <a:lnTo>
                      <a:pt x="60" y="132"/>
                    </a:lnTo>
                    <a:lnTo>
                      <a:pt x="72" y="144"/>
                    </a:lnTo>
                    <a:lnTo>
                      <a:pt x="42" y="144"/>
                    </a:lnTo>
                    <a:lnTo>
                      <a:pt x="18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6" name="Montenegr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E13FB2E-3B30-6A02-35CF-1F495EB4DD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60953" y="2335976"/>
                <a:ext cx="51437" cy="60314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2147483647 w 114"/>
                  <a:gd name="T7" fmla="*/ 2147483647 h 138"/>
                  <a:gd name="T8" fmla="*/ 2147483647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0 h 138"/>
                  <a:gd name="T14" fmla="*/ 2147483647 w 114"/>
                  <a:gd name="T15" fmla="*/ 0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0 w 114"/>
                  <a:gd name="T29" fmla="*/ 2147483647 h 138"/>
                  <a:gd name="T30" fmla="*/ 0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2147483647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2147483647 w 114"/>
                  <a:gd name="T61" fmla="*/ 2147483647 h 138"/>
                  <a:gd name="T62" fmla="*/ 2147483647 w 114"/>
                  <a:gd name="T63" fmla="*/ 2147483647 h 138"/>
                  <a:gd name="T64" fmla="*/ 2147483647 w 114"/>
                  <a:gd name="T65" fmla="*/ 2147483647 h 138"/>
                  <a:gd name="T66" fmla="*/ 2147483647 w 114"/>
                  <a:gd name="T67" fmla="*/ 2147483647 h 138"/>
                  <a:gd name="T68" fmla="*/ 2147483647 w 114"/>
                  <a:gd name="T69" fmla="*/ 2147483647 h 138"/>
                  <a:gd name="T70" fmla="*/ 2147483647 w 114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"/>
                  <a:gd name="T109" fmla="*/ 0 h 138"/>
                  <a:gd name="T110" fmla="*/ 114 w 114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" h="138">
                    <a:moveTo>
                      <a:pt x="114" y="42"/>
                    </a:moveTo>
                    <a:lnTo>
                      <a:pt x="108" y="48"/>
                    </a:lnTo>
                    <a:lnTo>
                      <a:pt x="96" y="30"/>
                    </a:lnTo>
                    <a:lnTo>
                      <a:pt x="84" y="1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6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6" y="96"/>
                    </a:lnTo>
                    <a:lnTo>
                      <a:pt x="36" y="114"/>
                    </a:lnTo>
                    <a:lnTo>
                      <a:pt x="60" y="138"/>
                    </a:lnTo>
                    <a:lnTo>
                      <a:pt x="72" y="126"/>
                    </a:lnTo>
                    <a:lnTo>
                      <a:pt x="66" y="108"/>
                    </a:lnTo>
                    <a:lnTo>
                      <a:pt x="60" y="114"/>
                    </a:lnTo>
                    <a:lnTo>
                      <a:pt x="42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78"/>
                    </a:lnTo>
                    <a:lnTo>
                      <a:pt x="108" y="90"/>
                    </a:lnTo>
                    <a:lnTo>
                      <a:pt x="114" y="84"/>
                    </a:lnTo>
                    <a:lnTo>
                      <a:pt x="114" y="90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7" name="Moldov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7D8F8B-5F13-B44E-93DA-E15B7B6779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87988" y="2163905"/>
                <a:ext cx="97553" cy="106437"/>
              </a:xfrm>
              <a:custGeom>
                <a:avLst/>
                <a:gdLst>
                  <a:gd name="T0" fmla="*/ 2147483647 w 216"/>
                  <a:gd name="T1" fmla="*/ 2147483647 h 240"/>
                  <a:gd name="T2" fmla="*/ 2147483647 w 216"/>
                  <a:gd name="T3" fmla="*/ 2147483647 h 240"/>
                  <a:gd name="T4" fmla="*/ 2147483647 w 216"/>
                  <a:gd name="T5" fmla="*/ 2147483647 h 240"/>
                  <a:gd name="T6" fmla="*/ 2147483647 w 216"/>
                  <a:gd name="T7" fmla="*/ 2147483647 h 240"/>
                  <a:gd name="T8" fmla="*/ 2147483647 w 216"/>
                  <a:gd name="T9" fmla="*/ 2147483647 h 240"/>
                  <a:gd name="T10" fmla="*/ 2147483647 w 216"/>
                  <a:gd name="T11" fmla="*/ 2147483647 h 240"/>
                  <a:gd name="T12" fmla="*/ 2147483647 w 216"/>
                  <a:gd name="T13" fmla="*/ 2147483647 h 240"/>
                  <a:gd name="T14" fmla="*/ 2147483647 w 216"/>
                  <a:gd name="T15" fmla="*/ 2147483647 h 240"/>
                  <a:gd name="T16" fmla="*/ 2147483647 w 216"/>
                  <a:gd name="T17" fmla="*/ 2147483647 h 240"/>
                  <a:gd name="T18" fmla="*/ 2147483647 w 216"/>
                  <a:gd name="T19" fmla="*/ 2147483647 h 240"/>
                  <a:gd name="T20" fmla="*/ 2147483647 w 216"/>
                  <a:gd name="T21" fmla="*/ 2147483647 h 240"/>
                  <a:gd name="T22" fmla="*/ 2147483647 w 216"/>
                  <a:gd name="T23" fmla="*/ 2147483647 h 240"/>
                  <a:gd name="T24" fmla="*/ 2147483647 w 216"/>
                  <a:gd name="T25" fmla="*/ 2147483647 h 240"/>
                  <a:gd name="T26" fmla="*/ 2147483647 w 216"/>
                  <a:gd name="T27" fmla="*/ 2147483647 h 240"/>
                  <a:gd name="T28" fmla="*/ 2147483647 w 216"/>
                  <a:gd name="T29" fmla="*/ 2147483647 h 240"/>
                  <a:gd name="T30" fmla="*/ 2147483647 w 216"/>
                  <a:gd name="T31" fmla="*/ 2147483647 h 240"/>
                  <a:gd name="T32" fmla="*/ 2147483647 w 216"/>
                  <a:gd name="T33" fmla="*/ 2147483647 h 240"/>
                  <a:gd name="T34" fmla="*/ 2147483647 w 216"/>
                  <a:gd name="T35" fmla="*/ 2147483647 h 240"/>
                  <a:gd name="T36" fmla="*/ 2147483647 w 216"/>
                  <a:gd name="T37" fmla="*/ 2147483647 h 240"/>
                  <a:gd name="T38" fmla="*/ 2147483647 w 216"/>
                  <a:gd name="T39" fmla="*/ 2147483647 h 240"/>
                  <a:gd name="T40" fmla="*/ 2147483647 w 216"/>
                  <a:gd name="T41" fmla="*/ 2147483647 h 240"/>
                  <a:gd name="T42" fmla="*/ 2147483647 w 216"/>
                  <a:gd name="T43" fmla="*/ 2147483647 h 240"/>
                  <a:gd name="T44" fmla="*/ 2147483647 w 216"/>
                  <a:gd name="T45" fmla="*/ 2147483647 h 240"/>
                  <a:gd name="T46" fmla="*/ 2147483647 w 216"/>
                  <a:gd name="T47" fmla="*/ 2147483647 h 240"/>
                  <a:gd name="T48" fmla="*/ 2147483647 w 216"/>
                  <a:gd name="T49" fmla="*/ 2147483647 h 240"/>
                  <a:gd name="T50" fmla="*/ 2147483647 w 216"/>
                  <a:gd name="T51" fmla="*/ 2147483647 h 240"/>
                  <a:gd name="T52" fmla="*/ 2147483647 w 216"/>
                  <a:gd name="T53" fmla="*/ 2147483647 h 240"/>
                  <a:gd name="T54" fmla="*/ 2147483647 w 216"/>
                  <a:gd name="T55" fmla="*/ 2147483647 h 240"/>
                  <a:gd name="T56" fmla="*/ 2147483647 w 216"/>
                  <a:gd name="T57" fmla="*/ 2147483647 h 240"/>
                  <a:gd name="T58" fmla="*/ 2147483647 w 216"/>
                  <a:gd name="T59" fmla="*/ 2147483647 h 240"/>
                  <a:gd name="T60" fmla="*/ 2147483647 w 216"/>
                  <a:gd name="T61" fmla="*/ 0 h 240"/>
                  <a:gd name="T62" fmla="*/ 2147483647 w 216"/>
                  <a:gd name="T63" fmla="*/ 2147483647 h 240"/>
                  <a:gd name="T64" fmla="*/ 2147483647 w 216"/>
                  <a:gd name="T65" fmla="*/ 2147483647 h 240"/>
                  <a:gd name="T66" fmla="*/ 2147483647 w 216"/>
                  <a:gd name="T67" fmla="*/ 2147483647 h 2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240"/>
                  <a:gd name="T104" fmla="*/ 216 w 216"/>
                  <a:gd name="T105" fmla="*/ 240 h 2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240">
                    <a:moveTo>
                      <a:pt x="0" y="18"/>
                    </a:moveTo>
                    <a:lnTo>
                      <a:pt x="18" y="24"/>
                    </a:lnTo>
                    <a:lnTo>
                      <a:pt x="24" y="30"/>
                    </a:lnTo>
                    <a:lnTo>
                      <a:pt x="30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60" y="72"/>
                    </a:lnTo>
                    <a:lnTo>
                      <a:pt x="66" y="96"/>
                    </a:lnTo>
                    <a:lnTo>
                      <a:pt x="78" y="96"/>
                    </a:lnTo>
                    <a:lnTo>
                      <a:pt x="84" y="114"/>
                    </a:lnTo>
                    <a:lnTo>
                      <a:pt x="102" y="114"/>
                    </a:lnTo>
                    <a:lnTo>
                      <a:pt x="108" y="120"/>
                    </a:lnTo>
                    <a:lnTo>
                      <a:pt x="108" y="162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102" y="198"/>
                    </a:lnTo>
                    <a:lnTo>
                      <a:pt x="108" y="210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38" y="234"/>
                    </a:lnTo>
                    <a:lnTo>
                      <a:pt x="138" y="222"/>
                    </a:lnTo>
                    <a:lnTo>
                      <a:pt x="132" y="216"/>
                    </a:lnTo>
                    <a:lnTo>
                      <a:pt x="132" y="204"/>
                    </a:lnTo>
                    <a:lnTo>
                      <a:pt x="138" y="204"/>
                    </a:lnTo>
                    <a:lnTo>
                      <a:pt x="150" y="198"/>
                    </a:lnTo>
                    <a:lnTo>
                      <a:pt x="156" y="192"/>
                    </a:lnTo>
                    <a:lnTo>
                      <a:pt x="174" y="180"/>
                    </a:lnTo>
                    <a:lnTo>
                      <a:pt x="168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62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98" y="162"/>
                    </a:lnTo>
                    <a:lnTo>
                      <a:pt x="210" y="156"/>
                    </a:lnTo>
                    <a:lnTo>
                      <a:pt x="216" y="156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20"/>
                    </a:lnTo>
                    <a:lnTo>
                      <a:pt x="192" y="114"/>
                    </a:lnTo>
                    <a:lnTo>
                      <a:pt x="180" y="114"/>
                    </a:lnTo>
                    <a:lnTo>
                      <a:pt x="180" y="96"/>
                    </a:lnTo>
                    <a:lnTo>
                      <a:pt x="186" y="90"/>
                    </a:lnTo>
                    <a:lnTo>
                      <a:pt x="180" y="84"/>
                    </a:lnTo>
                    <a:lnTo>
                      <a:pt x="174" y="84"/>
                    </a:lnTo>
                    <a:lnTo>
                      <a:pt x="162" y="90"/>
                    </a:lnTo>
                    <a:lnTo>
                      <a:pt x="162" y="66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44" y="36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78" y="18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8" name="Malt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8D75463-B444-29B6-1E2B-1204A155F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42117" y="2602067"/>
                <a:ext cx="14191" cy="12418"/>
              </a:xfrm>
              <a:custGeom>
                <a:avLst/>
                <a:gdLst>
                  <a:gd name="T0" fmla="*/ 2147483647 w 30"/>
                  <a:gd name="T1" fmla="*/ 2147483647 h 30"/>
                  <a:gd name="T2" fmla="*/ 2147483647 w 30"/>
                  <a:gd name="T3" fmla="*/ 2147483647 h 30"/>
                  <a:gd name="T4" fmla="*/ 2147483647 w 30"/>
                  <a:gd name="T5" fmla="*/ 2147483647 h 30"/>
                  <a:gd name="T6" fmla="*/ 2147483647 w 30"/>
                  <a:gd name="T7" fmla="*/ 0 h 30"/>
                  <a:gd name="T8" fmla="*/ 2147483647 w 30"/>
                  <a:gd name="T9" fmla="*/ 0 h 30"/>
                  <a:gd name="T10" fmla="*/ 0 w 30"/>
                  <a:gd name="T11" fmla="*/ 2147483647 h 30"/>
                  <a:gd name="T12" fmla="*/ 0 w 30"/>
                  <a:gd name="T13" fmla="*/ 2147483647 h 30"/>
                  <a:gd name="T14" fmla="*/ 2147483647 w 30"/>
                  <a:gd name="T15" fmla="*/ 2147483647 h 30"/>
                  <a:gd name="T16" fmla="*/ 2147483647 w 30"/>
                  <a:gd name="T17" fmla="*/ 2147483647 h 30"/>
                  <a:gd name="T18" fmla="*/ 2147483647 w 30"/>
                  <a:gd name="T19" fmla="*/ 2147483647 h 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"/>
                  <a:gd name="T31" fmla="*/ 0 h 30"/>
                  <a:gd name="T32" fmla="*/ 30 w 30"/>
                  <a:gd name="T33" fmla="*/ 30 h 3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" h="30">
                    <a:moveTo>
                      <a:pt x="24" y="30"/>
                    </a:moveTo>
                    <a:lnTo>
                      <a:pt x="30" y="24"/>
                    </a:lnTo>
                    <a:lnTo>
                      <a:pt x="30" y="12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8" y="30"/>
                    </a:lnTo>
                    <a:lnTo>
                      <a:pt x="24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9" name="Maced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5DB650-9435-CC5E-07F0-6C8617CFBB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24807" y="2378551"/>
                <a:ext cx="74496" cy="56766"/>
              </a:xfrm>
              <a:custGeom>
                <a:avLst/>
                <a:gdLst>
                  <a:gd name="T0" fmla="*/ 2147483647 w 162"/>
                  <a:gd name="T1" fmla="*/ 2147483647 h 126"/>
                  <a:gd name="T2" fmla="*/ 2147483647 w 162"/>
                  <a:gd name="T3" fmla="*/ 2147483647 h 126"/>
                  <a:gd name="T4" fmla="*/ 2147483647 w 162"/>
                  <a:gd name="T5" fmla="*/ 2147483647 h 126"/>
                  <a:gd name="T6" fmla="*/ 2147483647 w 162"/>
                  <a:gd name="T7" fmla="*/ 2147483647 h 126"/>
                  <a:gd name="T8" fmla="*/ 2147483647 w 162"/>
                  <a:gd name="T9" fmla="*/ 0 h 126"/>
                  <a:gd name="T10" fmla="*/ 2147483647 w 162"/>
                  <a:gd name="T11" fmla="*/ 2147483647 h 126"/>
                  <a:gd name="T12" fmla="*/ 2147483647 w 162"/>
                  <a:gd name="T13" fmla="*/ 2147483647 h 126"/>
                  <a:gd name="T14" fmla="*/ 2147483647 w 162"/>
                  <a:gd name="T15" fmla="*/ 2147483647 h 126"/>
                  <a:gd name="T16" fmla="*/ 2147483647 w 162"/>
                  <a:gd name="T17" fmla="*/ 2147483647 h 126"/>
                  <a:gd name="T18" fmla="*/ 2147483647 w 162"/>
                  <a:gd name="T19" fmla="*/ 2147483647 h 126"/>
                  <a:gd name="T20" fmla="*/ 2147483647 w 162"/>
                  <a:gd name="T21" fmla="*/ 2147483647 h 126"/>
                  <a:gd name="T22" fmla="*/ 0 w 162"/>
                  <a:gd name="T23" fmla="*/ 2147483647 h 126"/>
                  <a:gd name="T24" fmla="*/ 0 w 162"/>
                  <a:gd name="T25" fmla="*/ 2147483647 h 126"/>
                  <a:gd name="T26" fmla="*/ 2147483647 w 162"/>
                  <a:gd name="T27" fmla="*/ 2147483647 h 126"/>
                  <a:gd name="T28" fmla="*/ 2147483647 w 162"/>
                  <a:gd name="T29" fmla="*/ 2147483647 h 126"/>
                  <a:gd name="T30" fmla="*/ 2147483647 w 162"/>
                  <a:gd name="T31" fmla="*/ 2147483647 h 126"/>
                  <a:gd name="T32" fmla="*/ 2147483647 w 162"/>
                  <a:gd name="T33" fmla="*/ 2147483647 h 126"/>
                  <a:gd name="T34" fmla="*/ 2147483647 w 162"/>
                  <a:gd name="T35" fmla="*/ 2147483647 h 126"/>
                  <a:gd name="T36" fmla="*/ 2147483647 w 162"/>
                  <a:gd name="T37" fmla="*/ 2147483647 h 126"/>
                  <a:gd name="T38" fmla="*/ 2147483647 w 162"/>
                  <a:gd name="T39" fmla="*/ 2147483647 h 126"/>
                  <a:gd name="T40" fmla="*/ 2147483647 w 162"/>
                  <a:gd name="T41" fmla="*/ 2147483647 h 126"/>
                  <a:gd name="T42" fmla="*/ 2147483647 w 162"/>
                  <a:gd name="T43" fmla="*/ 2147483647 h 126"/>
                  <a:gd name="T44" fmla="*/ 2147483647 w 162"/>
                  <a:gd name="T45" fmla="*/ 2147483647 h 126"/>
                  <a:gd name="T46" fmla="*/ 2147483647 w 162"/>
                  <a:gd name="T47" fmla="*/ 2147483647 h 126"/>
                  <a:gd name="T48" fmla="*/ 2147483647 w 162"/>
                  <a:gd name="T49" fmla="*/ 2147483647 h 126"/>
                  <a:gd name="T50" fmla="*/ 2147483647 w 162"/>
                  <a:gd name="T51" fmla="*/ 2147483647 h 126"/>
                  <a:gd name="T52" fmla="*/ 2147483647 w 162"/>
                  <a:gd name="T53" fmla="*/ 2147483647 h 126"/>
                  <a:gd name="T54" fmla="*/ 2147483647 w 162"/>
                  <a:gd name="T55" fmla="*/ 2147483647 h 126"/>
                  <a:gd name="T56" fmla="*/ 2147483647 w 162"/>
                  <a:gd name="T57" fmla="*/ 2147483647 h 126"/>
                  <a:gd name="T58" fmla="*/ 2147483647 w 162"/>
                  <a:gd name="T59" fmla="*/ 2147483647 h 126"/>
                  <a:gd name="T60" fmla="*/ 2147483647 w 162"/>
                  <a:gd name="T61" fmla="*/ 2147483647 h 126"/>
                  <a:gd name="T62" fmla="*/ 2147483647 w 162"/>
                  <a:gd name="T63" fmla="*/ 2147483647 h 126"/>
                  <a:gd name="T64" fmla="*/ 2147483647 w 162"/>
                  <a:gd name="T65" fmla="*/ 2147483647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2"/>
                  <a:gd name="T100" fmla="*/ 0 h 126"/>
                  <a:gd name="T101" fmla="*/ 162 w 162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2" h="126">
                    <a:moveTo>
                      <a:pt x="150" y="42"/>
                    </a:moveTo>
                    <a:lnTo>
                      <a:pt x="132" y="30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1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18" y="36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78"/>
                    </a:lnTo>
                    <a:lnTo>
                      <a:pt x="6" y="102"/>
                    </a:lnTo>
                    <a:lnTo>
                      <a:pt x="12" y="108"/>
                    </a:lnTo>
                    <a:lnTo>
                      <a:pt x="18" y="108"/>
                    </a:lnTo>
                    <a:lnTo>
                      <a:pt x="18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90" y="126"/>
                    </a:lnTo>
                    <a:lnTo>
                      <a:pt x="96" y="114"/>
                    </a:lnTo>
                    <a:lnTo>
                      <a:pt x="96" y="108"/>
                    </a:lnTo>
                    <a:lnTo>
                      <a:pt x="120" y="108"/>
                    </a:lnTo>
                    <a:lnTo>
                      <a:pt x="132" y="102"/>
                    </a:lnTo>
                    <a:lnTo>
                      <a:pt x="156" y="78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48"/>
                    </a:lnTo>
                    <a:lnTo>
                      <a:pt x="15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0" name="Luxembourg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0992985-0630-AA5B-0296-A806A66E60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97344" y="2105365"/>
                <a:ext cx="23058" cy="19514"/>
              </a:xfrm>
              <a:custGeom>
                <a:avLst/>
                <a:gdLst>
                  <a:gd name="T0" fmla="*/ 2147483647 w 54"/>
                  <a:gd name="T1" fmla="*/ 2147483647 h 42"/>
                  <a:gd name="T2" fmla="*/ 2147483647 w 54"/>
                  <a:gd name="T3" fmla="*/ 2147483647 h 42"/>
                  <a:gd name="T4" fmla="*/ 2147483647 w 54"/>
                  <a:gd name="T5" fmla="*/ 2147483647 h 42"/>
                  <a:gd name="T6" fmla="*/ 2147483647 w 54"/>
                  <a:gd name="T7" fmla="*/ 2147483647 h 42"/>
                  <a:gd name="T8" fmla="*/ 2147483647 w 54"/>
                  <a:gd name="T9" fmla="*/ 2147483647 h 42"/>
                  <a:gd name="T10" fmla="*/ 2147483647 w 54"/>
                  <a:gd name="T11" fmla="*/ 2147483647 h 42"/>
                  <a:gd name="T12" fmla="*/ 2147483647 w 54"/>
                  <a:gd name="T13" fmla="*/ 2147483647 h 42"/>
                  <a:gd name="T14" fmla="*/ 2147483647 w 54"/>
                  <a:gd name="T15" fmla="*/ 2147483647 h 42"/>
                  <a:gd name="T16" fmla="*/ 2147483647 w 54"/>
                  <a:gd name="T17" fmla="*/ 0 h 42"/>
                  <a:gd name="T18" fmla="*/ 2147483647 w 54"/>
                  <a:gd name="T19" fmla="*/ 0 h 42"/>
                  <a:gd name="T20" fmla="*/ 2147483647 w 54"/>
                  <a:gd name="T21" fmla="*/ 2147483647 h 42"/>
                  <a:gd name="T22" fmla="*/ 2147483647 w 54"/>
                  <a:gd name="T23" fmla="*/ 2147483647 h 42"/>
                  <a:gd name="T24" fmla="*/ 0 w 54"/>
                  <a:gd name="T25" fmla="*/ 2147483647 h 42"/>
                  <a:gd name="T26" fmla="*/ 0 w 54"/>
                  <a:gd name="T27" fmla="*/ 2147483647 h 42"/>
                  <a:gd name="T28" fmla="*/ 2147483647 w 54"/>
                  <a:gd name="T29" fmla="*/ 2147483647 h 42"/>
                  <a:gd name="T30" fmla="*/ 2147483647 w 54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4"/>
                  <a:gd name="T49" fmla="*/ 0 h 42"/>
                  <a:gd name="T50" fmla="*/ 54 w 54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4" h="42">
                    <a:moveTo>
                      <a:pt x="18" y="42"/>
                    </a:moveTo>
                    <a:lnTo>
                      <a:pt x="30" y="36"/>
                    </a:lnTo>
                    <a:lnTo>
                      <a:pt x="48" y="42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2" y="30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1" name="Lithu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946CA88-6D8A-969B-5EE0-4779A0F096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12392" y="1885395"/>
                <a:ext cx="152538" cy="88697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2" name="Liechtenste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4E1E0D-D4E1-56A4-1BEC-603A38B24A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98446" y="2202930"/>
                <a:ext cx="7095" cy="10644"/>
              </a:xfrm>
              <a:custGeom>
                <a:avLst/>
                <a:gdLst>
                  <a:gd name="T0" fmla="*/ 2147483647 w 18"/>
                  <a:gd name="T1" fmla="*/ 0 h 24"/>
                  <a:gd name="T2" fmla="*/ 2147483647 w 18"/>
                  <a:gd name="T3" fmla="*/ 2147483647 h 24"/>
                  <a:gd name="T4" fmla="*/ 0 w 18"/>
                  <a:gd name="T5" fmla="*/ 2147483647 h 24"/>
                  <a:gd name="T6" fmla="*/ 0 w 18"/>
                  <a:gd name="T7" fmla="*/ 2147483647 h 24"/>
                  <a:gd name="T8" fmla="*/ 2147483647 w 18"/>
                  <a:gd name="T9" fmla="*/ 2147483647 h 24"/>
                  <a:gd name="T10" fmla="*/ 2147483647 w 18"/>
                  <a:gd name="T11" fmla="*/ 0 h 24"/>
                  <a:gd name="T12" fmla="*/ 2147483647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12" y="0"/>
                    </a:moveTo>
                    <a:lnTo>
                      <a:pt x="6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3" name="Leban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868C551-F962-79D2-D7EF-878B7728E9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73556" y="2658834"/>
                <a:ext cx="47890" cy="70957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4" name="Lat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B9D6BAF-92FE-887F-C6CB-4E5777061D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08844" y="1830402"/>
                <a:ext cx="191560" cy="81601"/>
              </a:xfrm>
              <a:custGeom>
                <a:avLst/>
                <a:gdLst>
                  <a:gd name="T0" fmla="*/ 2147483647 w 426"/>
                  <a:gd name="T1" fmla="*/ 2147483647 h 180"/>
                  <a:gd name="T2" fmla="*/ 2147483647 w 426"/>
                  <a:gd name="T3" fmla="*/ 2147483647 h 180"/>
                  <a:gd name="T4" fmla="*/ 2147483647 w 426"/>
                  <a:gd name="T5" fmla="*/ 2147483647 h 180"/>
                  <a:gd name="T6" fmla="*/ 2147483647 w 426"/>
                  <a:gd name="T7" fmla="*/ 2147483647 h 180"/>
                  <a:gd name="T8" fmla="*/ 2147483647 w 426"/>
                  <a:gd name="T9" fmla="*/ 2147483647 h 180"/>
                  <a:gd name="T10" fmla="*/ 2147483647 w 426"/>
                  <a:gd name="T11" fmla="*/ 2147483647 h 180"/>
                  <a:gd name="T12" fmla="*/ 2147483647 w 426"/>
                  <a:gd name="T13" fmla="*/ 2147483647 h 180"/>
                  <a:gd name="T14" fmla="*/ 2147483647 w 426"/>
                  <a:gd name="T15" fmla="*/ 2147483647 h 180"/>
                  <a:gd name="T16" fmla="*/ 2147483647 w 426"/>
                  <a:gd name="T17" fmla="*/ 2147483647 h 180"/>
                  <a:gd name="T18" fmla="*/ 2147483647 w 426"/>
                  <a:gd name="T19" fmla="*/ 2147483647 h 180"/>
                  <a:gd name="T20" fmla="*/ 2147483647 w 426"/>
                  <a:gd name="T21" fmla="*/ 2147483647 h 180"/>
                  <a:gd name="T22" fmla="*/ 2147483647 w 426"/>
                  <a:gd name="T23" fmla="*/ 2147483647 h 180"/>
                  <a:gd name="T24" fmla="*/ 2147483647 w 426"/>
                  <a:gd name="T25" fmla="*/ 2147483647 h 180"/>
                  <a:gd name="T26" fmla="*/ 2147483647 w 426"/>
                  <a:gd name="T27" fmla="*/ 2147483647 h 180"/>
                  <a:gd name="T28" fmla="*/ 2147483647 w 426"/>
                  <a:gd name="T29" fmla="*/ 2147483647 h 180"/>
                  <a:gd name="T30" fmla="*/ 2147483647 w 426"/>
                  <a:gd name="T31" fmla="*/ 2147483647 h 180"/>
                  <a:gd name="T32" fmla="*/ 2147483647 w 426"/>
                  <a:gd name="T33" fmla="*/ 2147483647 h 180"/>
                  <a:gd name="T34" fmla="*/ 2147483647 w 426"/>
                  <a:gd name="T35" fmla="*/ 2147483647 h 180"/>
                  <a:gd name="T36" fmla="*/ 2147483647 w 426"/>
                  <a:gd name="T37" fmla="*/ 2147483647 h 180"/>
                  <a:gd name="T38" fmla="*/ 2147483647 w 426"/>
                  <a:gd name="T39" fmla="*/ 2147483647 h 180"/>
                  <a:gd name="T40" fmla="*/ 2147483647 w 426"/>
                  <a:gd name="T41" fmla="*/ 2147483647 h 180"/>
                  <a:gd name="T42" fmla="*/ 2147483647 w 426"/>
                  <a:gd name="T43" fmla="*/ 2147483647 h 180"/>
                  <a:gd name="T44" fmla="*/ 2147483647 w 426"/>
                  <a:gd name="T45" fmla="*/ 2147483647 h 180"/>
                  <a:gd name="T46" fmla="*/ 2147483647 w 426"/>
                  <a:gd name="T47" fmla="*/ 2147483647 h 180"/>
                  <a:gd name="T48" fmla="*/ 2147483647 w 426"/>
                  <a:gd name="T49" fmla="*/ 2147483647 h 180"/>
                  <a:gd name="T50" fmla="*/ 2147483647 w 426"/>
                  <a:gd name="T51" fmla="*/ 2147483647 h 180"/>
                  <a:gd name="T52" fmla="*/ 2147483647 w 426"/>
                  <a:gd name="T53" fmla="*/ 2147483647 h 180"/>
                  <a:gd name="T54" fmla="*/ 2147483647 w 426"/>
                  <a:gd name="T55" fmla="*/ 2147483647 h 180"/>
                  <a:gd name="T56" fmla="*/ 2147483647 w 426"/>
                  <a:gd name="T57" fmla="*/ 2147483647 h 180"/>
                  <a:gd name="T58" fmla="*/ 2147483647 w 426"/>
                  <a:gd name="T59" fmla="*/ 2147483647 h 180"/>
                  <a:gd name="T60" fmla="*/ 2147483647 w 426"/>
                  <a:gd name="T61" fmla="*/ 0 h 180"/>
                  <a:gd name="T62" fmla="*/ 2147483647 w 426"/>
                  <a:gd name="T63" fmla="*/ 2147483647 h 180"/>
                  <a:gd name="T64" fmla="*/ 2147483647 w 426"/>
                  <a:gd name="T65" fmla="*/ 2147483647 h 180"/>
                  <a:gd name="T66" fmla="*/ 2147483647 w 426"/>
                  <a:gd name="T67" fmla="*/ 2147483647 h 180"/>
                  <a:gd name="T68" fmla="*/ 2147483647 w 426"/>
                  <a:gd name="T69" fmla="*/ 2147483647 h 180"/>
                  <a:gd name="T70" fmla="*/ 2147483647 w 426"/>
                  <a:gd name="T71" fmla="*/ 2147483647 h 180"/>
                  <a:gd name="T72" fmla="*/ 2147483647 w 426"/>
                  <a:gd name="T73" fmla="*/ 2147483647 h 180"/>
                  <a:gd name="T74" fmla="*/ 2147483647 w 426"/>
                  <a:gd name="T75" fmla="*/ 2147483647 h 180"/>
                  <a:gd name="T76" fmla="*/ 2147483647 w 426"/>
                  <a:gd name="T77" fmla="*/ 2147483647 h 180"/>
                  <a:gd name="T78" fmla="*/ 2147483647 w 426"/>
                  <a:gd name="T79" fmla="*/ 2147483647 h 180"/>
                  <a:gd name="T80" fmla="*/ 2147483647 w 426"/>
                  <a:gd name="T81" fmla="*/ 2147483647 h 180"/>
                  <a:gd name="T82" fmla="*/ 2147483647 w 426"/>
                  <a:gd name="T83" fmla="*/ 2147483647 h 180"/>
                  <a:gd name="T84" fmla="*/ 0 w 426"/>
                  <a:gd name="T85" fmla="*/ 2147483647 h 180"/>
                  <a:gd name="T86" fmla="*/ 2147483647 w 426"/>
                  <a:gd name="T87" fmla="*/ 2147483647 h 1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6"/>
                  <a:gd name="T133" fmla="*/ 0 h 180"/>
                  <a:gd name="T134" fmla="*/ 426 w 426"/>
                  <a:gd name="T135" fmla="*/ 180 h 1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6" h="180">
                    <a:moveTo>
                      <a:pt x="6" y="144"/>
                    </a:moveTo>
                    <a:lnTo>
                      <a:pt x="6" y="138"/>
                    </a:lnTo>
                    <a:lnTo>
                      <a:pt x="12" y="138"/>
                    </a:lnTo>
                    <a:lnTo>
                      <a:pt x="24" y="132"/>
                    </a:lnTo>
                    <a:lnTo>
                      <a:pt x="66" y="132"/>
                    </a:lnTo>
                    <a:lnTo>
                      <a:pt x="78" y="120"/>
                    </a:lnTo>
                    <a:lnTo>
                      <a:pt x="96" y="120"/>
                    </a:lnTo>
                    <a:lnTo>
                      <a:pt x="102" y="126"/>
                    </a:lnTo>
                    <a:lnTo>
                      <a:pt x="108" y="126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2"/>
                    </a:lnTo>
                    <a:lnTo>
                      <a:pt x="180" y="132"/>
                    </a:lnTo>
                    <a:lnTo>
                      <a:pt x="186" y="138"/>
                    </a:lnTo>
                    <a:lnTo>
                      <a:pt x="204" y="138"/>
                    </a:lnTo>
                    <a:lnTo>
                      <a:pt x="216" y="126"/>
                    </a:lnTo>
                    <a:lnTo>
                      <a:pt x="228" y="126"/>
                    </a:lnTo>
                    <a:lnTo>
                      <a:pt x="234" y="132"/>
                    </a:lnTo>
                    <a:lnTo>
                      <a:pt x="240" y="144"/>
                    </a:lnTo>
                    <a:lnTo>
                      <a:pt x="270" y="144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300" y="162"/>
                    </a:lnTo>
                    <a:lnTo>
                      <a:pt x="318" y="174"/>
                    </a:lnTo>
                    <a:lnTo>
                      <a:pt x="336" y="180"/>
                    </a:lnTo>
                    <a:lnTo>
                      <a:pt x="360" y="168"/>
                    </a:lnTo>
                    <a:lnTo>
                      <a:pt x="378" y="168"/>
                    </a:lnTo>
                    <a:lnTo>
                      <a:pt x="384" y="174"/>
                    </a:lnTo>
                    <a:lnTo>
                      <a:pt x="390" y="168"/>
                    </a:lnTo>
                    <a:lnTo>
                      <a:pt x="396" y="168"/>
                    </a:lnTo>
                    <a:lnTo>
                      <a:pt x="402" y="162"/>
                    </a:lnTo>
                    <a:lnTo>
                      <a:pt x="408" y="150"/>
                    </a:lnTo>
                    <a:lnTo>
                      <a:pt x="414" y="144"/>
                    </a:lnTo>
                    <a:lnTo>
                      <a:pt x="420" y="150"/>
                    </a:lnTo>
                    <a:lnTo>
                      <a:pt x="426" y="150"/>
                    </a:lnTo>
                    <a:lnTo>
                      <a:pt x="426" y="126"/>
                    </a:lnTo>
                    <a:lnTo>
                      <a:pt x="414" y="114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78" y="90"/>
                    </a:lnTo>
                    <a:lnTo>
                      <a:pt x="384" y="72"/>
                    </a:lnTo>
                    <a:lnTo>
                      <a:pt x="402" y="72"/>
                    </a:lnTo>
                    <a:lnTo>
                      <a:pt x="402" y="66"/>
                    </a:lnTo>
                    <a:lnTo>
                      <a:pt x="396" y="60"/>
                    </a:lnTo>
                    <a:lnTo>
                      <a:pt x="384" y="54"/>
                    </a:lnTo>
                    <a:lnTo>
                      <a:pt x="372" y="42"/>
                    </a:lnTo>
                    <a:lnTo>
                      <a:pt x="354" y="42"/>
                    </a:lnTo>
                    <a:lnTo>
                      <a:pt x="348" y="36"/>
                    </a:lnTo>
                    <a:lnTo>
                      <a:pt x="330" y="36"/>
                    </a:lnTo>
                    <a:lnTo>
                      <a:pt x="324" y="42"/>
                    </a:lnTo>
                    <a:lnTo>
                      <a:pt x="306" y="42"/>
                    </a:lnTo>
                    <a:lnTo>
                      <a:pt x="288" y="24"/>
                    </a:lnTo>
                    <a:lnTo>
                      <a:pt x="276" y="18"/>
                    </a:lnTo>
                    <a:lnTo>
                      <a:pt x="270" y="12"/>
                    </a:lnTo>
                    <a:lnTo>
                      <a:pt x="246" y="0"/>
                    </a:lnTo>
                    <a:lnTo>
                      <a:pt x="216" y="0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6" y="42"/>
                    </a:lnTo>
                    <a:lnTo>
                      <a:pt x="186" y="60"/>
                    </a:lnTo>
                    <a:lnTo>
                      <a:pt x="192" y="66"/>
                    </a:lnTo>
                    <a:lnTo>
                      <a:pt x="186" y="78"/>
                    </a:lnTo>
                    <a:lnTo>
                      <a:pt x="156" y="78"/>
                    </a:lnTo>
                    <a:lnTo>
                      <a:pt x="138" y="72"/>
                    </a:lnTo>
                    <a:lnTo>
                      <a:pt x="126" y="72"/>
                    </a:lnTo>
                    <a:lnTo>
                      <a:pt x="114" y="54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0" y="30"/>
                    </a:lnTo>
                    <a:lnTo>
                      <a:pt x="48" y="30"/>
                    </a:lnTo>
                    <a:lnTo>
                      <a:pt x="36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18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6" y="150"/>
                    </a:lnTo>
                    <a:lnTo>
                      <a:pt x="6" y="14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5" name="Ital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20BE45D-3346-9248-496C-009C0C61A28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18630" y="2210026"/>
                <a:ext cx="349420" cy="374302"/>
              </a:xfrm>
              <a:custGeom>
                <a:avLst/>
                <a:gdLst>
                  <a:gd name="T0" fmla="*/ 2147483647 w 780"/>
                  <a:gd name="T1" fmla="*/ 2147483647 h 828"/>
                  <a:gd name="T2" fmla="*/ 2147483647 w 780"/>
                  <a:gd name="T3" fmla="*/ 2147483647 h 828"/>
                  <a:gd name="T4" fmla="*/ 2147483647 w 780"/>
                  <a:gd name="T5" fmla="*/ 2147483647 h 828"/>
                  <a:gd name="T6" fmla="*/ 2147483647 w 780"/>
                  <a:gd name="T7" fmla="*/ 2147483647 h 828"/>
                  <a:gd name="T8" fmla="*/ 2147483647 w 780"/>
                  <a:gd name="T9" fmla="*/ 2147483647 h 828"/>
                  <a:gd name="T10" fmla="*/ 2147483647 w 780"/>
                  <a:gd name="T11" fmla="*/ 2147483647 h 828"/>
                  <a:gd name="T12" fmla="*/ 2147483647 w 780"/>
                  <a:gd name="T13" fmla="*/ 2147483647 h 828"/>
                  <a:gd name="T14" fmla="*/ 2147483647 w 780"/>
                  <a:gd name="T15" fmla="*/ 2147483647 h 828"/>
                  <a:gd name="T16" fmla="*/ 2147483647 w 780"/>
                  <a:gd name="T17" fmla="*/ 2147483647 h 828"/>
                  <a:gd name="T18" fmla="*/ 2147483647 w 780"/>
                  <a:gd name="T19" fmla="*/ 2147483647 h 828"/>
                  <a:gd name="T20" fmla="*/ 2147483647 w 780"/>
                  <a:gd name="T21" fmla="*/ 2147483647 h 828"/>
                  <a:gd name="T22" fmla="*/ 2147483647 w 780"/>
                  <a:gd name="T23" fmla="*/ 2147483647 h 828"/>
                  <a:gd name="T24" fmla="*/ 2147483647 w 780"/>
                  <a:gd name="T25" fmla="*/ 2147483647 h 828"/>
                  <a:gd name="T26" fmla="*/ 2147483647 w 780"/>
                  <a:gd name="T27" fmla="*/ 2147483647 h 828"/>
                  <a:gd name="T28" fmla="*/ 2147483647 w 780"/>
                  <a:gd name="T29" fmla="*/ 2147483647 h 828"/>
                  <a:gd name="T30" fmla="*/ 2147483647 w 780"/>
                  <a:gd name="T31" fmla="*/ 2147483647 h 828"/>
                  <a:gd name="T32" fmla="*/ 2147483647 w 780"/>
                  <a:gd name="T33" fmla="*/ 2147483647 h 828"/>
                  <a:gd name="T34" fmla="*/ 2147483647 w 780"/>
                  <a:gd name="T35" fmla="*/ 2147483647 h 828"/>
                  <a:gd name="T36" fmla="*/ 2147483647 w 780"/>
                  <a:gd name="T37" fmla="*/ 2147483647 h 828"/>
                  <a:gd name="T38" fmla="*/ 2147483647 w 780"/>
                  <a:gd name="T39" fmla="*/ 2147483647 h 828"/>
                  <a:gd name="T40" fmla="*/ 2147483647 w 780"/>
                  <a:gd name="T41" fmla="*/ 2147483647 h 828"/>
                  <a:gd name="T42" fmla="*/ 2147483647 w 780"/>
                  <a:gd name="T43" fmla="*/ 2147483647 h 828"/>
                  <a:gd name="T44" fmla="*/ 2147483647 w 780"/>
                  <a:gd name="T45" fmla="*/ 2147483647 h 828"/>
                  <a:gd name="T46" fmla="*/ 2147483647 w 780"/>
                  <a:gd name="T47" fmla="*/ 2147483647 h 828"/>
                  <a:gd name="T48" fmla="*/ 2147483647 w 780"/>
                  <a:gd name="T49" fmla="*/ 2147483647 h 828"/>
                  <a:gd name="T50" fmla="*/ 2147483647 w 780"/>
                  <a:gd name="T51" fmla="*/ 2147483647 h 828"/>
                  <a:gd name="T52" fmla="*/ 2147483647 w 780"/>
                  <a:gd name="T53" fmla="*/ 2147483647 h 828"/>
                  <a:gd name="T54" fmla="*/ 2147483647 w 780"/>
                  <a:gd name="T55" fmla="*/ 2147483647 h 828"/>
                  <a:gd name="T56" fmla="*/ 2147483647 w 780"/>
                  <a:gd name="T57" fmla="*/ 2147483647 h 828"/>
                  <a:gd name="T58" fmla="*/ 2147483647 w 780"/>
                  <a:gd name="T59" fmla="*/ 2147483647 h 828"/>
                  <a:gd name="T60" fmla="*/ 2147483647 w 780"/>
                  <a:gd name="T61" fmla="*/ 2147483647 h 828"/>
                  <a:gd name="T62" fmla="*/ 2147483647 w 780"/>
                  <a:gd name="T63" fmla="*/ 2147483647 h 828"/>
                  <a:gd name="T64" fmla="*/ 2147483647 w 780"/>
                  <a:gd name="T65" fmla="*/ 2147483647 h 828"/>
                  <a:gd name="T66" fmla="*/ 2147483647 w 780"/>
                  <a:gd name="T67" fmla="*/ 2147483647 h 828"/>
                  <a:gd name="T68" fmla="*/ 2147483647 w 780"/>
                  <a:gd name="T69" fmla="*/ 2147483647 h 828"/>
                  <a:gd name="T70" fmla="*/ 2147483647 w 780"/>
                  <a:gd name="T71" fmla="*/ 2147483647 h 828"/>
                  <a:gd name="T72" fmla="*/ 2147483647 w 780"/>
                  <a:gd name="T73" fmla="*/ 2147483647 h 828"/>
                  <a:gd name="T74" fmla="*/ 2147483647 w 780"/>
                  <a:gd name="T75" fmla="*/ 2147483647 h 828"/>
                  <a:gd name="T76" fmla="*/ 2147483647 w 780"/>
                  <a:gd name="T77" fmla="*/ 2147483647 h 828"/>
                  <a:gd name="T78" fmla="*/ 2147483647 w 780"/>
                  <a:gd name="T79" fmla="*/ 2147483647 h 828"/>
                  <a:gd name="T80" fmla="*/ 2147483647 w 780"/>
                  <a:gd name="T81" fmla="*/ 2147483647 h 828"/>
                  <a:gd name="T82" fmla="*/ 2147483647 w 780"/>
                  <a:gd name="T83" fmla="*/ 2147483647 h 828"/>
                  <a:gd name="T84" fmla="*/ 2147483647 w 780"/>
                  <a:gd name="T85" fmla="*/ 2147483647 h 828"/>
                  <a:gd name="T86" fmla="*/ 2147483647 w 780"/>
                  <a:gd name="T87" fmla="*/ 2147483647 h 828"/>
                  <a:gd name="T88" fmla="*/ 2147483647 w 780"/>
                  <a:gd name="T89" fmla="*/ 2147483647 h 828"/>
                  <a:gd name="T90" fmla="*/ 2147483647 w 780"/>
                  <a:gd name="T91" fmla="*/ 2147483647 h 828"/>
                  <a:gd name="T92" fmla="*/ 2147483647 w 780"/>
                  <a:gd name="T93" fmla="*/ 2147483647 h 828"/>
                  <a:gd name="T94" fmla="*/ 2147483647 w 780"/>
                  <a:gd name="T95" fmla="*/ 2147483647 h 828"/>
                  <a:gd name="T96" fmla="*/ 2147483647 w 780"/>
                  <a:gd name="T97" fmla="*/ 2147483647 h 828"/>
                  <a:gd name="T98" fmla="*/ 2147483647 w 780"/>
                  <a:gd name="T99" fmla="*/ 2147483647 h 828"/>
                  <a:gd name="T100" fmla="*/ 2147483647 w 780"/>
                  <a:gd name="T101" fmla="*/ 2147483647 h 828"/>
                  <a:gd name="T102" fmla="*/ 2147483647 w 780"/>
                  <a:gd name="T103" fmla="*/ 2147483647 h 828"/>
                  <a:gd name="T104" fmla="*/ 2147483647 w 780"/>
                  <a:gd name="T105" fmla="*/ 2147483647 h 828"/>
                  <a:gd name="T106" fmla="*/ 2147483647 w 780"/>
                  <a:gd name="T107" fmla="*/ 2147483647 h 828"/>
                  <a:gd name="T108" fmla="*/ 2147483647 w 780"/>
                  <a:gd name="T109" fmla="*/ 2147483647 h 828"/>
                  <a:gd name="T110" fmla="*/ 2147483647 w 780"/>
                  <a:gd name="T111" fmla="*/ 2147483647 h 828"/>
                  <a:gd name="T112" fmla="*/ 2147483647 w 780"/>
                  <a:gd name="T113" fmla="*/ 2147483647 h 82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0"/>
                  <a:gd name="T172" fmla="*/ 0 h 828"/>
                  <a:gd name="T173" fmla="*/ 780 w 780"/>
                  <a:gd name="T174" fmla="*/ 828 h 82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0" h="828">
                    <a:moveTo>
                      <a:pt x="570" y="720"/>
                    </a:moveTo>
                    <a:lnTo>
                      <a:pt x="558" y="714"/>
                    </a:lnTo>
                    <a:lnTo>
                      <a:pt x="552" y="708"/>
                    </a:lnTo>
                    <a:lnTo>
                      <a:pt x="540" y="708"/>
                    </a:lnTo>
                    <a:lnTo>
                      <a:pt x="534" y="714"/>
                    </a:lnTo>
                    <a:lnTo>
                      <a:pt x="522" y="720"/>
                    </a:lnTo>
                    <a:lnTo>
                      <a:pt x="516" y="726"/>
                    </a:lnTo>
                    <a:lnTo>
                      <a:pt x="468" y="726"/>
                    </a:lnTo>
                    <a:lnTo>
                      <a:pt x="456" y="720"/>
                    </a:lnTo>
                    <a:lnTo>
                      <a:pt x="444" y="708"/>
                    </a:lnTo>
                    <a:lnTo>
                      <a:pt x="438" y="708"/>
                    </a:lnTo>
                    <a:lnTo>
                      <a:pt x="420" y="726"/>
                    </a:lnTo>
                    <a:lnTo>
                      <a:pt x="402" y="714"/>
                    </a:lnTo>
                    <a:lnTo>
                      <a:pt x="396" y="714"/>
                    </a:lnTo>
                    <a:lnTo>
                      <a:pt x="384" y="726"/>
                    </a:lnTo>
                    <a:lnTo>
                      <a:pt x="384" y="738"/>
                    </a:lnTo>
                    <a:lnTo>
                      <a:pt x="396" y="750"/>
                    </a:lnTo>
                    <a:lnTo>
                      <a:pt x="420" y="762"/>
                    </a:lnTo>
                    <a:lnTo>
                      <a:pt x="426" y="762"/>
                    </a:lnTo>
                    <a:lnTo>
                      <a:pt x="444" y="780"/>
                    </a:lnTo>
                    <a:lnTo>
                      <a:pt x="444" y="786"/>
                    </a:lnTo>
                    <a:lnTo>
                      <a:pt x="456" y="786"/>
                    </a:lnTo>
                    <a:lnTo>
                      <a:pt x="468" y="798"/>
                    </a:lnTo>
                    <a:lnTo>
                      <a:pt x="480" y="804"/>
                    </a:lnTo>
                    <a:lnTo>
                      <a:pt x="498" y="798"/>
                    </a:lnTo>
                    <a:lnTo>
                      <a:pt x="504" y="804"/>
                    </a:lnTo>
                    <a:lnTo>
                      <a:pt x="516" y="810"/>
                    </a:lnTo>
                    <a:lnTo>
                      <a:pt x="522" y="822"/>
                    </a:lnTo>
                    <a:lnTo>
                      <a:pt x="534" y="828"/>
                    </a:lnTo>
                    <a:lnTo>
                      <a:pt x="558" y="828"/>
                    </a:lnTo>
                    <a:lnTo>
                      <a:pt x="570" y="816"/>
                    </a:lnTo>
                    <a:lnTo>
                      <a:pt x="570" y="792"/>
                    </a:lnTo>
                    <a:lnTo>
                      <a:pt x="564" y="780"/>
                    </a:lnTo>
                    <a:lnTo>
                      <a:pt x="564" y="768"/>
                    </a:lnTo>
                    <a:lnTo>
                      <a:pt x="570" y="750"/>
                    </a:lnTo>
                    <a:lnTo>
                      <a:pt x="576" y="738"/>
                    </a:lnTo>
                    <a:lnTo>
                      <a:pt x="582" y="732"/>
                    </a:lnTo>
                    <a:lnTo>
                      <a:pt x="582" y="714"/>
                    </a:lnTo>
                    <a:lnTo>
                      <a:pt x="576" y="702"/>
                    </a:lnTo>
                    <a:lnTo>
                      <a:pt x="570" y="720"/>
                    </a:lnTo>
                    <a:close/>
                    <a:moveTo>
                      <a:pt x="180" y="468"/>
                    </a:moveTo>
                    <a:lnTo>
                      <a:pt x="156" y="480"/>
                    </a:lnTo>
                    <a:lnTo>
                      <a:pt x="150" y="486"/>
                    </a:lnTo>
                    <a:lnTo>
                      <a:pt x="138" y="492"/>
                    </a:lnTo>
                    <a:lnTo>
                      <a:pt x="132" y="498"/>
                    </a:lnTo>
                    <a:lnTo>
                      <a:pt x="126" y="498"/>
                    </a:lnTo>
                    <a:lnTo>
                      <a:pt x="114" y="492"/>
                    </a:lnTo>
                    <a:lnTo>
                      <a:pt x="102" y="480"/>
                    </a:lnTo>
                    <a:lnTo>
                      <a:pt x="96" y="498"/>
                    </a:lnTo>
                    <a:lnTo>
                      <a:pt x="102" y="504"/>
                    </a:lnTo>
                    <a:lnTo>
                      <a:pt x="114" y="510"/>
                    </a:lnTo>
                    <a:lnTo>
                      <a:pt x="120" y="522"/>
                    </a:lnTo>
                    <a:lnTo>
                      <a:pt x="120" y="540"/>
                    </a:lnTo>
                    <a:lnTo>
                      <a:pt x="114" y="558"/>
                    </a:lnTo>
                    <a:lnTo>
                      <a:pt x="114" y="570"/>
                    </a:lnTo>
                    <a:lnTo>
                      <a:pt x="126" y="582"/>
                    </a:lnTo>
                    <a:lnTo>
                      <a:pt x="114" y="588"/>
                    </a:lnTo>
                    <a:lnTo>
                      <a:pt x="120" y="636"/>
                    </a:lnTo>
                    <a:lnTo>
                      <a:pt x="108" y="636"/>
                    </a:lnTo>
                    <a:lnTo>
                      <a:pt x="126" y="654"/>
                    </a:lnTo>
                    <a:lnTo>
                      <a:pt x="138" y="654"/>
                    </a:lnTo>
                    <a:lnTo>
                      <a:pt x="144" y="642"/>
                    </a:lnTo>
                    <a:lnTo>
                      <a:pt x="156" y="630"/>
                    </a:lnTo>
                    <a:lnTo>
                      <a:pt x="156" y="618"/>
                    </a:lnTo>
                    <a:lnTo>
                      <a:pt x="168" y="630"/>
                    </a:lnTo>
                    <a:lnTo>
                      <a:pt x="180" y="636"/>
                    </a:lnTo>
                    <a:lnTo>
                      <a:pt x="186" y="636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198" y="594"/>
                    </a:lnTo>
                    <a:lnTo>
                      <a:pt x="204" y="582"/>
                    </a:lnTo>
                    <a:lnTo>
                      <a:pt x="204" y="558"/>
                    </a:lnTo>
                    <a:lnTo>
                      <a:pt x="198" y="552"/>
                    </a:lnTo>
                    <a:lnTo>
                      <a:pt x="192" y="552"/>
                    </a:lnTo>
                    <a:lnTo>
                      <a:pt x="192" y="546"/>
                    </a:lnTo>
                    <a:lnTo>
                      <a:pt x="198" y="540"/>
                    </a:lnTo>
                    <a:lnTo>
                      <a:pt x="204" y="540"/>
                    </a:lnTo>
                    <a:lnTo>
                      <a:pt x="210" y="534"/>
                    </a:lnTo>
                    <a:lnTo>
                      <a:pt x="210" y="522"/>
                    </a:lnTo>
                    <a:lnTo>
                      <a:pt x="204" y="510"/>
                    </a:lnTo>
                    <a:lnTo>
                      <a:pt x="204" y="492"/>
                    </a:lnTo>
                    <a:lnTo>
                      <a:pt x="198" y="480"/>
                    </a:lnTo>
                    <a:lnTo>
                      <a:pt x="186" y="474"/>
                    </a:lnTo>
                    <a:lnTo>
                      <a:pt x="180" y="468"/>
                    </a:lnTo>
                    <a:close/>
                    <a:moveTo>
                      <a:pt x="774" y="546"/>
                    </a:moveTo>
                    <a:lnTo>
                      <a:pt x="768" y="534"/>
                    </a:lnTo>
                    <a:lnTo>
                      <a:pt x="756" y="528"/>
                    </a:lnTo>
                    <a:lnTo>
                      <a:pt x="738" y="51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74"/>
                    </a:lnTo>
                    <a:lnTo>
                      <a:pt x="648" y="474"/>
                    </a:lnTo>
                    <a:lnTo>
                      <a:pt x="630" y="468"/>
                    </a:lnTo>
                    <a:lnTo>
                      <a:pt x="606" y="456"/>
                    </a:lnTo>
                    <a:lnTo>
                      <a:pt x="606" y="450"/>
                    </a:lnTo>
                    <a:lnTo>
                      <a:pt x="612" y="438"/>
                    </a:lnTo>
                    <a:lnTo>
                      <a:pt x="624" y="426"/>
                    </a:lnTo>
                    <a:lnTo>
                      <a:pt x="624" y="420"/>
                    </a:lnTo>
                    <a:lnTo>
                      <a:pt x="618" y="414"/>
                    </a:lnTo>
                    <a:lnTo>
                      <a:pt x="612" y="414"/>
                    </a:lnTo>
                    <a:lnTo>
                      <a:pt x="594" y="408"/>
                    </a:lnTo>
                    <a:lnTo>
                      <a:pt x="552" y="408"/>
                    </a:lnTo>
                    <a:lnTo>
                      <a:pt x="540" y="402"/>
                    </a:lnTo>
                    <a:lnTo>
                      <a:pt x="534" y="396"/>
                    </a:lnTo>
                    <a:lnTo>
                      <a:pt x="516" y="384"/>
                    </a:lnTo>
                    <a:lnTo>
                      <a:pt x="492" y="360"/>
                    </a:lnTo>
                    <a:lnTo>
                      <a:pt x="480" y="342"/>
                    </a:lnTo>
                    <a:lnTo>
                      <a:pt x="474" y="336"/>
                    </a:lnTo>
                    <a:lnTo>
                      <a:pt x="468" y="324"/>
                    </a:lnTo>
                    <a:lnTo>
                      <a:pt x="468" y="312"/>
                    </a:lnTo>
                    <a:lnTo>
                      <a:pt x="450" y="276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20" y="258"/>
                    </a:lnTo>
                    <a:lnTo>
                      <a:pt x="414" y="252"/>
                    </a:lnTo>
                    <a:lnTo>
                      <a:pt x="378" y="222"/>
                    </a:lnTo>
                    <a:lnTo>
                      <a:pt x="372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66" y="180"/>
                    </a:lnTo>
                    <a:lnTo>
                      <a:pt x="384" y="180"/>
                    </a:lnTo>
                    <a:lnTo>
                      <a:pt x="384" y="174"/>
                    </a:lnTo>
                    <a:lnTo>
                      <a:pt x="372" y="162"/>
                    </a:lnTo>
                    <a:lnTo>
                      <a:pt x="366" y="150"/>
                    </a:lnTo>
                    <a:lnTo>
                      <a:pt x="366" y="138"/>
                    </a:lnTo>
                    <a:lnTo>
                      <a:pt x="402" y="120"/>
                    </a:lnTo>
                    <a:lnTo>
                      <a:pt x="408" y="114"/>
                    </a:lnTo>
                    <a:lnTo>
                      <a:pt x="414" y="114"/>
                    </a:lnTo>
                    <a:lnTo>
                      <a:pt x="438" y="108"/>
                    </a:lnTo>
                    <a:lnTo>
                      <a:pt x="444" y="72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2"/>
                    </a:lnTo>
                    <a:lnTo>
                      <a:pt x="384" y="42"/>
                    </a:lnTo>
                    <a:lnTo>
                      <a:pt x="378" y="24"/>
                    </a:lnTo>
                    <a:lnTo>
                      <a:pt x="366" y="24"/>
                    </a:lnTo>
                    <a:lnTo>
                      <a:pt x="366" y="6"/>
                    </a:lnTo>
                    <a:lnTo>
                      <a:pt x="360" y="0"/>
                    </a:lnTo>
                    <a:lnTo>
                      <a:pt x="342" y="0"/>
                    </a:lnTo>
                    <a:lnTo>
                      <a:pt x="336" y="6"/>
                    </a:lnTo>
                    <a:lnTo>
                      <a:pt x="336" y="12"/>
                    </a:lnTo>
                    <a:lnTo>
                      <a:pt x="294" y="12"/>
                    </a:lnTo>
                    <a:lnTo>
                      <a:pt x="282" y="30"/>
                    </a:lnTo>
                    <a:lnTo>
                      <a:pt x="270" y="24"/>
                    </a:lnTo>
                    <a:lnTo>
                      <a:pt x="252" y="24"/>
                    </a:lnTo>
                    <a:lnTo>
                      <a:pt x="246" y="42"/>
                    </a:lnTo>
                    <a:lnTo>
                      <a:pt x="222" y="42"/>
                    </a:lnTo>
                    <a:lnTo>
                      <a:pt x="222" y="48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0" y="60"/>
                    </a:lnTo>
                    <a:lnTo>
                      <a:pt x="192" y="66"/>
                    </a:lnTo>
                    <a:lnTo>
                      <a:pt x="180" y="48"/>
                    </a:lnTo>
                    <a:lnTo>
                      <a:pt x="174" y="72"/>
                    </a:lnTo>
                    <a:lnTo>
                      <a:pt x="162" y="84"/>
                    </a:lnTo>
                    <a:lnTo>
                      <a:pt x="162" y="102"/>
                    </a:lnTo>
                    <a:lnTo>
                      <a:pt x="138" y="78"/>
                    </a:lnTo>
                    <a:lnTo>
                      <a:pt x="132" y="78"/>
                    </a:lnTo>
                    <a:lnTo>
                      <a:pt x="132" y="72"/>
                    </a:lnTo>
                    <a:lnTo>
                      <a:pt x="126" y="66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84" y="96"/>
                    </a:lnTo>
                    <a:lnTo>
                      <a:pt x="78" y="96"/>
                    </a:lnTo>
                    <a:lnTo>
                      <a:pt x="66" y="84"/>
                    </a:lnTo>
                    <a:lnTo>
                      <a:pt x="54" y="84"/>
                    </a:lnTo>
                    <a:lnTo>
                      <a:pt x="42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42" y="132"/>
                    </a:lnTo>
                    <a:lnTo>
                      <a:pt x="42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12" y="174"/>
                    </a:lnTo>
                    <a:lnTo>
                      <a:pt x="24" y="174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24" y="198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22"/>
                    </a:lnTo>
                    <a:lnTo>
                      <a:pt x="36" y="228"/>
                    </a:lnTo>
                    <a:lnTo>
                      <a:pt x="42" y="228"/>
                    </a:lnTo>
                    <a:lnTo>
                      <a:pt x="42" y="234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2" y="246"/>
                    </a:lnTo>
                    <a:lnTo>
                      <a:pt x="54" y="264"/>
                    </a:lnTo>
                    <a:lnTo>
                      <a:pt x="54" y="270"/>
                    </a:lnTo>
                    <a:lnTo>
                      <a:pt x="66" y="270"/>
                    </a:lnTo>
                    <a:lnTo>
                      <a:pt x="90" y="258"/>
                    </a:lnTo>
                    <a:lnTo>
                      <a:pt x="120" y="228"/>
                    </a:lnTo>
                    <a:lnTo>
                      <a:pt x="144" y="216"/>
                    </a:lnTo>
                    <a:lnTo>
                      <a:pt x="156" y="216"/>
                    </a:lnTo>
                    <a:lnTo>
                      <a:pt x="168" y="222"/>
                    </a:lnTo>
                    <a:lnTo>
                      <a:pt x="204" y="234"/>
                    </a:lnTo>
                    <a:lnTo>
                      <a:pt x="216" y="240"/>
                    </a:lnTo>
                    <a:lnTo>
                      <a:pt x="228" y="252"/>
                    </a:lnTo>
                    <a:lnTo>
                      <a:pt x="234" y="264"/>
                    </a:lnTo>
                    <a:lnTo>
                      <a:pt x="234" y="276"/>
                    </a:lnTo>
                    <a:lnTo>
                      <a:pt x="240" y="282"/>
                    </a:lnTo>
                    <a:lnTo>
                      <a:pt x="240" y="288"/>
                    </a:lnTo>
                    <a:lnTo>
                      <a:pt x="252" y="300"/>
                    </a:lnTo>
                    <a:lnTo>
                      <a:pt x="252" y="306"/>
                    </a:lnTo>
                    <a:lnTo>
                      <a:pt x="246" y="318"/>
                    </a:lnTo>
                    <a:lnTo>
                      <a:pt x="246" y="324"/>
                    </a:lnTo>
                    <a:lnTo>
                      <a:pt x="258" y="336"/>
                    </a:lnTo>
                    <a:lnTo>
                      <a:pt x="282" y="348"/>
                    </a:lnTo>
                    <a:lnTo>
                      <a:pt x="288" y="354"/>
                    </a:lnTo>
                    <a:lnTo>
                      <a:pt x="294" y="354"/>
                    </a:lnTo>
                    <a:lnTo>
                      <a:pt x="300" y="372"/>
                    </a:lnTo>
                    <a:lnTo>
                      <a:pt x="330" y="372"/>
                    </a:lnTo>
                    <a:lnTo>
                      <a:pt x="348" y="390"/>
                    </a:lnTo>
                    <a:lnTo>
                      <a:pt x="354" y="402"/>
                    </a:lnTo>
                    <a:lnTo>
                      <a:pt x="366" y="414"/>
                    </a:lnTo>
                    <a:lnTo>
                      <a:pt x="378" y="420"/>
                    </a:lnTo>
                    <a:lnTo>
                      <a:pt x="384" y="432"/>
                    </a:lnTo>
                    <a:lnTo>
                      <a:pt x="420" y="468"/>
                    </a:lnTo>
                    <a:lnTo>
                      <a:pt x="456" y="468"/>
                    </a:lnTo>
                    <a:lnTo>
                      <a:pt x="462" y="474"/>
                    </a:lnTo>
                    <a:lnTo>
                      <a:pt x="468" y="486"/>
                    </a:lnTo>
                    <a:lnTo>
                      <a:pt x="492" y="498"/>
                    </a:lnTo>
                    <a:lnTo>
                      <a:pt x="510" y="504"/>
                    </a:lnTo>
                    <a:lnTo>
                      <a:pt x="528" y="504"/>
                    </a:lnTo>
                    <a:lnTo>
                      <a:pt x="540" y="510"/>
                    </a:lnTo>
                    <a:lnTo>
                      <a:pt x="546" y="510"/>
                    </a:lnTo>
                    <a:lnTo>
                      <a:pt x="552" y="522"/>
                    </a:lnTo>
                    <a:lnTo>
                      <a:pt x="552" y="534"/>
                    </a:lnTo>
                    <a:lnTo>
                      <a:pt x="564" y="558"/>
                    </a:lnTo>
                    <a:lnTo>
                      <a:pt x="570" y="564"/>
                    </a:lnTo>
                    <a:lnTo>
                      <a:pt x="582" y="564"/>
                    </a:lnTo>
                    <a:lnTo>
                      <a:pt x="594" y="558"/>
                    </a:lnTo>
                    <a:lnTo>
                      <a:pt x="600" y="558"/>
                    </a:lnTo>
                    <a:lnTo>
                      <a:pt x="600" y="570"/>
                    </a:lnTo>
                    <a:lnTo>
                      <a:pt x="606" y="582"/>
                    </a:lnTo>
                    <a:lnTo>
                      <a:pt x="606" y="606"/>
                    </a:lnTo>
                    <a:lnTo>
                      <a:pt x="612" y="618"/>
                    </a:lnTo>
                    <a:lnTo>
                      <a:pt x="630" y="636"/>
                    </a:lnTo>
                    <a:lnTo>
                      <a:pt x="630" y="666"/>
                    </a:lnTo>
                    <a:lnTo>
                      <a:pt x="612" y="666"/>
                    </a:lnTo>
                    <a:lnTo>
                      <a:pt x="612" y="690"/>
                    </a:lnTo>
                    <a:lnTo>
                      <a:pt x="606" y="696"/>
                    </a:lnTo>
                    <a:lnTo>
                      <a:pt x="600" y="708"/>
                    </a:lnTo>
                    <a:lnTo>
                      <a:pt x="594" y="714"/>
                    </a:lnTo>
                    <a:lnTo>
                      <a:pt x="594" y="732"/>
                    </a:lnTo>
                    <a:lnTo>
                      <a:pt x="606" y="732"/>
                    </a:lnTo>
                    <a:lnTo>
                      <a:pt x="618" y="726"/>
                    </a:lnTo>
                    <a:lnTo>
                      <a:pt x="624" y="726"/>
                    </a:lnTo>
                    <a:lnTo>
                      <a:pt x="636" y="702"/>
                    </a:lnTo>
                    <a:lnTo>
                      <a:pt x="654" y="696"/>
                    </a:lnTo>
                    <a:lnTo>
                      <a:pt x="654" y="666"/>
                    </a:lnTo>
                    <a:lnTo>
                      <a:pt x="666" y="654"/>
                    </a:lnTo>
                    <a:lnTo>
                      <a:pt x="678" y="654"/>
                    </a:lnTo>
                    <a:lnTo>
                      <a:pt x="684" y="648"/>
                    </a:lnTo>
                    <a:lnTo>
                      <a:pt x="696" y="648"/>
                    </a:lnTo>
                    <a:lnTo>
                      <a:pt x="696" y="636"/>
                    </a:lnTo>
                    <a:lnTo>
                      <a:pt x="690" y="630"/>
                    </a:lnTo>
                    <a:lnTo>
                      <a:pt x="690" y="618"/>
                    </a:lnTo>
                    <a:lnTo>
                      <a:pt x="678" y="606"/>
                    </a:lnTo>
                    <a:lnTo>
                      <a:pt x="666" y="606"/>
                    </a:lnTo>
                    <a:lnTo>
                      <a:pt x="648" y="588"/>
                    </a:lnTo>
                    <a:lnTo>
                      <a:pt x="654" y="582"/>
                    </a:lnTo>
                    <a:lnTo>
                      <a:pt x="660" y="570"/>
                    </a:lnTo>
                    <a:lnTo>
                      <a:pt x="666" y="552"/>
                    </a:lnTo>
                    <a:lnTo>
                      <a:pt x="672" y="540"/>
                    </a:lnTo>
                    <a:lnTo>
                      <a:pt x="684" y="528"/>
                    </a:lnTo>
                    <a:lnTo>
                      <a:pt x="690" y="534"/>
                    </a:lnTo>
                    <a:lnTo>
                      <a:pt x="702" y="534"/>
                    </a:lnTo>
                    <a:lnTo>
                      <a:pt x="708" y="540"/>
                    </a:lnTo>
                    <a:lnTo>
                      <a:pt x="738" y="540"/>
                    </a:lnTo>
                    <a:lnTo>
                      <a:pt x="738" y="552"/>
                    </a:lnTo>
                    <a:lnTo>
                      <a:pt x="744" y="558"/>
                    </a:lnTo>
                    <a:lnTo>
                      <a:pt x="744" y="564"/>
                    </a:lnTo>
                    <a:lnTo>
                      <a:pt x="750" y="576"/>
                    </a:lnTo>
                    <a:lnTo>
                      <a:pt x="762" y="576"/>
                    </a:lnTo>
                    <a:lnTo>
                      <a:pt x="774" y="570"/>
                    </a:lnTo>
                    <a:lnTo>
                      <a:pt x="780" y="564"/>
                    </a:lnTo>
                    <a:lnTo>
                      <a:pt x="780" y="558"/>
                    </a:lnTo>
                    <a:lnTo>
                      <a:pt x="774" y="54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6" name="Ir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F325AB9-14BA-2FA6-BA82-2895E97E99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59239" y="1926196"/>
                <a:ext cx="125933" cy="133046"/>
              </a:xfrm>
              <a:custGeom>
                <a:avLst/>
                <a:gdLst>
                  <a:gd name="T0" fmla="*/ 2147483647 w 282"/>
                  <a:gd name="T1" fmla="*/ 2147483647 h 300"/>
                  <a:gd name="T2" fmla="*/ 2147483647 w 282"/>
                  <a:gd name="T3" fmla="*/ 2147483647 h 300"/>
                  <a:gd name="T4" fmla="*/ 2147483647 w 282"/>
                  <a:gd name="T5" fmla="*/ 2147483647 h 300"/>
                  <a:gd name="T6" fmla="*/ 2147483647 w 282"/>
                  <a:gd name="T7" fmla="*/ 2147483647 h 300"/>
                  <a:gd name="T8" fmla="*/ 2147483647 w 282"/>
                  <a:gd name="T9" fmla="*/ 2147483647 h 300"/>
                  <a:gd name="T10" fmla="*/ 2147483647 w 282"/>
                  <a:gd name="T11" fmla="*/ 2147483647 h 300"/>
                  <a:gd name="T12" fmla="*/ 2147483647 w 282"/>
                  <a:gd name="T13" fmla="*/ 2147483647 h 300"/>
                  <a:gd name="T14" fmla="*/ 2147483647 w 282"/>
                  <a:gd name="T15" fmla="*/ 2147483647 h 300"/>
                  <a:gd name="T16" fmla="*/ 2147483647 w 282"/>
                  <a:gd name="T17" fmla="*/ 2147483647 h 300"/>
                  <a:gd name="T18" fmla="*/ 2147483647 w 282"/>
                  <a:gd name="T19" fmla="*/ 2147483647 h 300"/>
                  <a:gd name="T20" fmla="*/ 2147483647 w 282"/>
                  <a:gd name="T21" fmla="*/ 2147483647 h 300"/>
                  <a:gd name="T22" fmla="*/ 2147483647 w 282"/>
                  <a:gd name="T23" fmla="*/ 2147483647 h 300"/>
                  <a:gd name="T24" fmla="*/ 2147483647 w 282"/>
                  <a:gd name="T25" fmla="*/ 0 h 300"/>
                  <a:gd name="T26" fmla="*/ 2147483647 w 282"/>
                  <a:gd name="T27" fmla="*/ 2147483647 h 300"/>
                  <a:gd name="T28" fmla="*/ 2147483647 w 282"/>
                  <a:gd name="T29" fmla="*/ 2147483647 h 300"/>
                  <a:gd name="T30" fmla="*/ 2147483647 w 282"/>
                  <a:gd name="T31" fmla="*/ 2147483647 h 300"/>
                  <a:gd name="T32" fmla="*/ 2147483647 w 282"/>
                  <a:gd name="T33" fmla="*/ 2147483647 h 300"/>
                  <a:gd name="T34" fmla="*/ 2147483647 w 282"/>
                  <a:gd name="T35" fmla="*/ 2147483647 h 300"/>
                  <a:gd name="T36" fmla="*/ 2147483647 w 282"/>
                  <a:gd name="T37" fmla="*/ 2147483647 h 300"/>
                  <a:gd name="T38" fmla="*/ 2147483647 w 282"/>
                  <a:gd name="T39" fmla="*/ 2147483647 h 300"/>
                  <a:gd name="T40" fmla="*/ 2147483647 w 282"/>
                  <a:gd name="T41" fmla="*/ 2147483647 h 300"/>
                  <a:gd name="T42" fmla="*/ 2147483647 w 282"/>
                  <a:gd name="T43" fmla="*/ 2147483647 h 300"/>
                  <a:gd name="T44" fmla="*/ 2147483647 w 282"/>
                  <a:gd name="T45" fmla="*/ 2147483647 h 300"/>
                  <a:gd name="T46" fmla="*/ 2147483647 w 282"/>
                  <a:gd name="T47" fmla="*/ 2147483647 h 300"/>
                  <a:gd name="T48" fmla="*/ 2147483647 w 282"/>
                  <a:gd name="T49" fmla="*/ 2147483647 h 300"/>
                  <a:gd name="T50" fmla="*/ 2147483647 w 282"/>
                  <a:gd name="T51" fmla="*/ 2147483647 h 300"/>
                  <a:gd name="T52" fmla="*/ 2147483647 w 282"/>
                  <a:gd name="T53" fmla="*/ 2147483647 h 300"/>
                  <a:gd name="T54" fmla="*/ 2147483647 w 282"/>
                  <a:gd name="T55" fmla="*/ 2147483647 h 300"/>
                  <a:gd name="T56" fmla="*/ 2147483647 w 282"/>
                  <a:gd name="T57" fmla="*/ 2147483647 h 300"/>
                  <a:gd name="T58" fmla="*/ 2147483647 w 282"/>
                  <a:gd name="T59" fmla="*/ 2147483647 h 300"/>
                  <a:gd name="T60" fmla="*/ 2147483647 w 282"/>
                  <a:gd name="T61" fmla="*/ 2147483647 h 300"/>
                  <a:gd name="T62" fmla="*/ 2147483647 w 282"/>
                  <a:gd name="T63" fmla="*/ 2147483647 h 300"/>
                  <a:gd name="T64" fmla="*/ 2147483647 w 282"/>
                  <a:gd name="T65" fmla="*/ 2147483647 h 300"/>
                  <a:gd name="T66" fmla="*/ 2147483647 w 282"/>
                  <a:gd name="T67" fmla="*/ 2147483647 h 300"/>
                  <a:gd name="T68" fmla="*/ 2147483647 w 282"/>
                  <a:gd name="T69" fmla="*/ 2147483647 h 300"/>
                  <a:gd name="T70" fmla="*/ 2147483647 w 282"/>
                  <a:gd name="T71" fmla="*/ 2147483647 h 300"/>
                  <a:gd name="T72" fmla="*/ 2147483647 w 282"/>
                  <a:gd name="T73" fmla="*/ 2147483647 h 300"/>
                  <a:gd name="T74" fmla="*/ 2147483647 w 282"/>
                  <a:gd name="T75" fmla="*/ 2147483647 h 300"/>
                  <a:gd name="T76" fmla="*/ 2147483647 w 282"/>
                  <a:gd name="T77" fmla="*/ 2147483647 h 300"/>
                  <a:gd name="T78" fmla="*/ 2147483647 w 282"/>
                  <a:gd name="T79" fmla="*/ 2147483647 h 300"/>
                  <a:gd name="T80" fmla="*/ 0 w 282"/>
                  <a:gd name="T81" fmla="*/ 2147483647 h 300"/>
                  <a:gd name="T82" fmla="*/ 2147483647 w 282"/>
                  <a:gd name="T83" fmla="*/ 2147483647 h 300"/>
                  <a:gd name="T84" fmla="*/ 2147483647 w 282"/>
                  <a:gd name="T85" fmla="*/ 2147483647 h 300"/>
                  <a:gd name="T86" fmla="*/ 2147483647 w 282"/>
                  <a:gd name="T87" fmla="*/ 2147483647 h 300"/>
                  <a:gd name="T88" fmla="*/ 2147483647 w 282"/>
                  <a:gd name="T89" fmla="*/ 2147483647 h 300"/>
                  <a:gd name="T90" fmla="*/ 2147483647 w 282"/>
                  <a:gd name="T91" fmla="*/ 2147483647 h 300"/>
                  <a:gd name="T92" fmla="*/ 2147483647 w 282"/>
                  <a:gd name="T93" fmla="*/ 2147483647 h 300"/>
                  <a:gd name="T94" fmla="*/ 2147483647 w 282"/>
                  <a:gd name="T95" fmla="*/ 2147483647 h 300"/>
                  <a:gd name="T96" fmla="*/ 2147483647 w 282"/>
                  <a:gd name="T97" fmla="*/ 2147483647 h 300"/>
                  <a:gd name="T98" fmla="*/ 2147483647 w 282"/>
                  <a:gd name="T99" fmla="*/ 2147483647 h 300"/>
                  <a:gd name="T100" fmla="*/ 2147483647 w 282"/>
                  <a:gd name="T101" fmla="*/ 2147483647 h 300"/>
                  <a:gd name="T102" fmla="*/ 2147483647 w 282"/>
                  <a:gd name="T103" fmla="*/ 2147483647 h 300"/>
                  <a:gd name="T104" fmla="*/ 2147483647 w 282"/>
                  <a:gd name="T105" fmla="*/ 2147483647 h 300"/>
                  <a:gd name="T106" fmla="*/ 2147483647 w 282"/>
                  <a:gd name="T107" fmla="*/ 2147483647 h 300"/>
                  <a:gd name="T108" fmla="*/ 2147483647 w 282"/>
                  <a:gd name="T109" fmla="*/ 2147483647 h 300"/>
                  <a:gd name="T110" fmla="*/ 2147483647 w 282"/>
                  <a:gd name="T111" fmla="*/ 2147483647 h 3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2"/>
                  <a:gd name="T169" fmla="*/ 0 h 300"/>
                  <a:gd name="T170" fmla="*/ 282 w 282"/>
                  <a:gd name="T171" fmla="*/ 300 h 3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2" h="300">
                    <a:moveTo>
                      <a:pt x="276" y="156"/>
                    </a:moveTo>
                    <a:lnTo>
                      <a:pt x="276" y="144"/>
                    </a:lnTo>
                    <a:lnTo>
                      <a:pt x="270" y="132"/>
                    </a:lnTo>
                    <a:lnTo>
                      <a:pt x="264" y="126"/>
                    </a:lnTo>
                    <a:lnTo>
                      <a:pt x="264" y="114"/>
                    </a:lnTo>
                    <a:lnTo>
                      <a:pt x="258" y="108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46" y="90"/>
                    </a:lnTo>
                    <a:lnTo>
                      <a:pt x="228" y="66"/>
                    </a:lnTo>
                    <a:lnTo>
                      <a:pt x="204" y="90"/>
                    </a:lnTo>
                    <a:lnTo>
                      <a:pt x="192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74" y="60"/>
                    </a:lnTo>
                    <a:lnTo>
                      <a:pt x="180" y="60"/>
                    </a:lnTo>
                    <a:lnTo>
                      <a:pt x="186" y="54"/>
                    </a:lnTo>
                    <a:lnTo>
                      <a:pt x="192" y="54"/>
                    </a:lnTo>
                    <a:lnTo>
                      <a:pt x="192" y="42"/>
                    </a:lnTo>
                    <a:lnTo>
                      <a:pt x="234" y="18"/>
                    </a:lnTo>
                    <a:lnTo>
                      <a:pt x="240" y="12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28" y="0"/>
                    </a:lnTo>
                    <a:lnTo>
                      <a:pt x="222" y="0"/>
                    </a:lnTo>
                    <a:lnTo>
                      <a:pt x="210" y="6"/>
                    </a:lnTo>
                    <a:lnTo>
                      <a:pt x="204" y="18"/>
                    </a:lnTo>
                    <a:lnTo>
                      <a:pt x="198" y="6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26" y="42"/>
                    </a:lnTo>
                    <a:lnTo>
                      <a:pt x="120" y="48"/>
                    </a:lnTo>
                    <a:lnTo>
                      <a:pt x="120" y="54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44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26" y="84"/>
                    </a:lnTo>
                    <a:lnTo>
                      <a:pt x="102" y="84"/>
                    </a:lnTo>
                    <a:lnTo>
                      <a:pt x="102" y="90"/>
                    </a:lnTo>
                    <a:lnTo>
                      <a:pt x="90" y="78"/>
                    </a:lnTo>
                    <a:lnTo>
                      <a:pt x="42" y="78"/>
                    </a:lnTo>
                    <a:lnTo>
                      <a:pt x="42" y="102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0" y="132"/>
                    </a:lnTo>
                    <a:lnTo>
                      <a:pt x="30" y="138"/>
                    </a:lnTo>
                    <a:lnTo>
                      <a:pt x="42" y="150"/>
                    </a:lnTo>
                    <a:lnTo>
                      <a:pt x="54" y="156"/>
                    </a:lnTo>
                    <a:lnTo>
                      <a:pt x="60" y="162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96" y="156"/>
                    </a:lnTo>
                    <a:lnTo>
                      <a:pt x="96" y="168"/>
                    </a:lnTo>
                    <a:lnTo>
                      <a:pt x="90" y="174"/>
                    </a:lnTo>
                    <a:lnTo>
                      <a:pt x="72" y="174"/>
                    </a:lnTo>
                    <a:lnTo>
                      <a:pt x="72" y="192"/>
                    </a:lnTo>
                    <a:lnTo>
                      <a:pt x="54" y="192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2" y="234"/>
                    </a:lnTo>
                    <a:lnTo>
                      <a:pt x="18" y="234"/>
                    </a:lnTo>
                    <a:lnTo>
                      <a:pt x="12" y="240"/>
                    </a:lnTo>
                    <a:lnTo>
                      <a:pt x="6" y="240"/>
                    </a:lnTo>
                    <a:lnTo>
                      <a:pt x="6" y="246"/>
                    </a:lnTo>
                    <a:lnTo>
                      <a:pt x="12" y="246"/>
                    </a:lnTo>
                    <a:lnTo>
                      <a:pt x="18" y="252"/>
                    </a:lnTo>
                    <a:lnTo>
                      <a:pt x="6" y="252"/>
                    </a:lnTo>
                    <a:lnTo>
                      <a:pt x="0" y="258"/>
                    </a:lnTo>
                    <a:lnTo>
                      <a:pt x="0" y="270"/>
                    </a:lnTo>
                    <a:lnTo>
                      <a:pt x="42" y="270"/>
                    </a:lnTo>
                    <a:lnTo>
                      <a:pt x="24" y="288"/>
                    </a:lnTo>
                    <a:lnTo>
                      <a:pt x="30" y="282"/>
                    </a:lnTo>
                    <a:lnTo>
                      <a:pt x="48" y="282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36" y="294"/>
                    </a:lnTo>
                    <a:lnTo>
                      <a:pt x="30" y="294"/>
                    </a:lnTo>
                    <a:lnTo>
                      <a:pt x="36" y="300"/>
                    </a:lnTo>
                    <a:lnTo>
                      <a:pt x="60" y="300"/>
                    </a:lnTo>
                    <a:lnTo>
                      <a:pt x="96" y="288"/>
                    </a:lnTo>
                    <a:lnTo>
                      <a:pt x="108" y="282"/>
                    </a:lnTo>
                    <a:lnTo>
                      <a:pt x="120" y="270"/>
                    </a:lnTo>
                    <a:lnTo>
                      <a:pt x="120" y="264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50" y="264"/>
                    </a:lnTo>
                    <a:lnTo>
                      <a:pt x="162" y="252"/>
                    </a:lnTo>
                    <a:lnTo>
                      <a:pt x="180" y="246"/>
                    </a:lnTo>
                    <a:lnTo>
                      <a:pt x="204" y="246"/>
                    </a:lnTo>
                    <a:lnTo>
                      <a:pt x="210" y="240"/>
                    </a:lnTo>
                    <a:lnTo>
                      <a:pt x="252" y="240"/>
                    </a:lnTo>
                    <a:lnTo>
                      <a:pt x="246" y="222"/>
                    </a:lnTo>
                    <a:lnTo>
                      <a:pt x="264" y="222"/>
                    </a:lnTo>
                    <a:lnTo>
                      <a:pt x="264" y="198"/>
                    </a:lnTo>
                    <a:lnTo>
                      <a:pt x="270" y="192"/>
                    </a:lnTo>
                    <a:lnTo>
                      <a:pt x="270" y="180"/>
                    </a:lnTo>
                    <a:lnTo>
                      <a:pt x="276" y="168"/>
                    </a:lnTo>
                    <a:lnTo>
                      <a:pt x="276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7" name="Iraq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A98FB1B-488A-0C0F-C640-2B9C68BE19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92393" y="2563041"/>
                <a:ext cx="308625" cy="296249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8" name="Hungar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59734E6-7E63-433F-F776-1B5A2BD3F0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93552" y="2160356"/>
                <a:ext cx="191560" cy="99341"/>
              </a:xfrm>
              <a:custGeom>
                <a:avLst/>
                <a:gdLst>
                  <a:gd name="T0" fmla="*/ 2147483647 w 426"/>
                  <a:gd name="T1" fmla="*/ 2147483647 h 222"/>
                  <a:gd name="T2" fmla="*/ 2147483647 w 426"/>
                  <a:gd name="T3" fmla="*/ 2147483647 h 222"/>
                  <a:gd name="T4" fmla="*/ 2147483647 w 426"/>
                  <a:gd name="T5" fmla="*/ 2147483647 h 222"/>
                  <a:gd name="T6" fmla="*/ 0 w 426"/>
                  <a:gd name="T7" fmla="*/ 2147483647 h 222"/>
                  <a:gd name="T8" fmla="*/ 2147483647 w 426"/>
                  <a:gd name="T9" fmla="*/ 2147483647 h 222"/>
                  <a:gd name="T10" fmla="*/ 2147483647 w 426"/>
                  <a:gd name="T11" fmla="*/ 2147483647 h 222"/>
                  <a:gd name="T12" fmla="*/ 2147483647 w 426"/>
                  <a:gd name="T13" fmla="*/ 2147483647 h 222"/>
                  <a:gd name="T14" fmla="*/ 2147483647 w 426"/>
                  <a:gd name="T15" fmla="*/ 2147483647 h 222"/>
                  <a:gd name="T16" fmla="*/ 2147483647 w 426"/>
                  <a:gd name="T17" fmla="*/ 2147483647 h 222"/>
                  <a:gd name="T18" fmla="*/ 2147483647 w 426"/>
                  <a:gd name="T19" fmla="*/ 2147483647 h 222"/>
                  <a:gd name="T20" fmla="*/ 2147483647 w 426"/>
                  <a:gd name="T21" fmla="*/ 2147483647 h 222"/>
                  <a:gd name="T22" fmla="*/ 2147483647 w 426"/>
                  <a:gd name="T23" fmla="*/ 2147483647 h 222"/>
                  <a:gd name="T24" fmla="*/ 2147483647 w 426"/>
                  <a:gd name="T25" fmla="*/ 2147483647 h 222"/>
                  <a:gd name="T26" fmla="*/ 2147483647 w 426"/>
                  <a:gd name="T27" fmla="*/ 2147483647 h 222"/>
                  <a:gd name="T28" fmla="*/ 2147483647 w 426"/>
                  <a:gd name="T29" fmla="*/ 2147483647 h 222"/>
                  <a:gd name="T30" fmla="*/ 2147483647 w 426"/>
                  <a:gd name="T31" fmla="*/ 2147483647 h 222"/>
                  <a:gd name="T32" fmla="*/ 2147483647 w 426"/>
                  <a:gd name="T33" fmla="*/ 2147483647 h 222"/>
                  <a:gd name="T34" fmla="*/ 2147483647 w 426"/>
                  <a:gd name="T35" fmla="*/ 2147483647 h 222"/>
                  <a:gd name="T36" fmla="*/ 2147483647 w 426"/>
                  <a:gd name="T37" fmla="*/ 2147483647 h 222"/>
                  <a:gd name="T38" fmla="*/ 2147483647 w 426"/>
                  <a:gd name="T39" fmla="*/ 2147483647 h 222"/>
                  <a:gd name="T40" fmla="*/ 2147483647 w 426"/>
                  <a:gd name="T41" fmla="*/ 2147483647 h 222"/>
                  <a:gd name="T42" fmla="*/ 2147483647 w 426"/>
                  <a:gd name="T43" fmla="*/ 2147483647 h 222"/>
                  <a:gd name="T44" fmla="*/ 2147483647 w 426"/>
                  <a:gd name="T45" fmla="*/ 2147483647 h 222"/>
                  <a:gd name="T46" fmla="*/ 2147483647 w 426"/>
                  <a:gd name="T47" fmla="*/ 2147483647 h 222"/>
                  <a:gd name="T48" fmla="*/ 2147483647 w 426"/>
                  <a:gd name="T49" fmla="*/ 0 h 222"/>
                  <a:gd name="T50" fmla="*/ 2147483647 w 426"/>
                  <a:gd name="T51" fmla="*/ 2147483647 h 222"/>
                  <a:gd name="T52" fmla="*/ 2147483647 w 426"/>
                  <a:gd name="T53" fmla="*/ 0 h 222"/>
                  <a:gd name="T54" fmla="*/ 2147483647 w 426"/>
                  <a:gd name="T55" fmla="*/ 2147483647 h 222"/>
                  <a:gd name="T56" fmla="*/ 2147483647 w 426"/>
                  <a:gd name="T57" fmla="*/ 2147483647 h 222"/>
                  <a:gd name="T58" fmla="*/ 2147483647 w 426"/>
                  <a:gd name="T59" fmla="*/ 2147483647 h 222"/>
                  <a:gd name="T60" fmla="*/ 2147483647 w 426"/>
                  <a:gd name="T61" fmla="*/ 2147483647 h 222"/>
                  <a:gd name="T62" fmla="*/ 2147483647 w 426"/>
                  <a:gd name="T63" fmla="*/ 2147483647 h 222"/>
                  <a:gd name="T64" fmla="*/ 2147483647 w 426"/>
                  <a:gd name="T65" fmla="*/ 2147483647 h 222"/>
                  <a:gd name="T66" fmla="*/ 2147483647 w 426"/>
                  <a:gd name="T67" fmla="*/ 2147483647 h 222"/>
                  <a:gd name="T68" fmla="*/ 2147483647 w 426"/>
                  <a:gd name="T69" fmla="*/ 2147483647 h 222"/>
                  <a:gd name="T70" fmla="*/ 2147483647 w 426"/>
                  <a:gd name="T71" fmla="*/ 2147483647 h 2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26"/>
                  <a:gd name="T109" fmla="*/ 0 h 222"/>
                  <a:gd name="T110" fmla="*/ 426 w 426"/>
                  <a:gd name="T111" fmla="*/ 222 h 2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26" h="222">
                    <a:moveTo>
                      <a:pt x="42" y="66"/>
                    </a:moveTo>
                    <a:lnTo>
                      <a:pt x="24" y="66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18" y="96"/>
                    </a:lnTo>
                    <a:lnTo>
                      <a:pt x="18" y="120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50"/>
                    </a:lnTo>
                    <a:lnTo>
                      <a:pt x="30" y="162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60" y="192"/>
                    </a:lnTo>
                    <a:lnTo>
                      <a:pt x="72" y="198"/>
                    </a:lnTo>
                    <a:lnTo>
                      <a:pt x="78" y="204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14" y="222"/>
                    </a:lnTo>
                    <a:lnTo>
                      <a:pt x="156" y="216"/>
                    </a:lnTo>
                    <a:lnTo>
                      <a:pt x="168" y="210"/>
                    </a:lnTo>
                    <a:lnTo>
                      <a:pt x="174" y="204"/>
                    </a:lnTo>
                    <a:lnTo>
                      <a:pt x="198" y="204"/>
                    </a:lnTo>
                    <a:lnTo>
                      <a:pt x="216" y="186"/>
                    </a:lnTo>
                    <a:lnTo>
                      <a:pt x="240" y="186"/>
                    </a:lnTo>
                    <a:lnTo>
                      <a:pt x="258" y="198"/>
                    </a:lnTo>
                    <a:lnTo>
                      <a:pt x="288" y="192"/>
                    </a:lnTo>
                    <a:lnTo>
                      <a:pt x="288" y="174"/>
                    </a:lnTo>
                    <a:lnTo>
                      <a:pt x="306" y="180"/>
                    </a:lnTo>
                    <a:lnTo>
                      <a:pt x="312" y="174"/>
                    </a:lnTo>
                    <a:lnTo>
                      <a:pt x="324" y="168"/>
                    </a:lnTo>
                    <a:lnTo>
                      <a:pt x="330" y="162"/>
                    </a:lnTo>
                    <a:lnTo>
                      <a:pt x="330" y="144"/>
                    </a:lnTo>
                    <a:lnTo>
                      <a:pt x="336" y="138"/>
                    </a:lnTo>
                    <a:lnTo>
                      <a:pt x="348" y="132"/>
                    </a:lnTo>
                    <a:lnTo>
                      <a:pt x="366" y="114"/>
                    </a:lnTo>
                    <a:lnTo>
                      <a:pt x="366" y="72"/>
                    </a:lnTo>
                    <a:lnTo>
                      <a:pt x="378" y="60"/>
                    </a:lnTo>
                    <a:lnTo>
                      <a:pt x="408" y="60"/>
                    </a:lnTo>
                    <a:lnTo>
                      <a:pt x="426" y="42"/>
                    </a:lnTo>
                    <a:lnTo>
                      <a:pt x="420" y="36"/>
                    </a:lnTo>
                    <a:lnTo>
                      <a:pt x="408" y="36"/>
                    </a:lnTo>
                    <a:lnTo>
                      <a:pt x="402" y="30"/>
                    </a:lnTo>
                    <a:lnTo>
                      <a:pt x="396" y="30"/>
                    </a:lnTo>
                    <a:lnTo>
                      <a:pt x="372" y="6"/>
                    </a:lnTo>
                    <a:lnTo>
                      <a:pt x="348" y="6"/>
                    </a:lnTo>
                    <a:lnTo>
                      <a:pt x="336" y="12"/>
                    </a:lnTo>
                    <a:lnTo>
                      <a:pt x="324" y="12"/>
                    </a:lnTo>
                    <a:lnTo>
                      <a:pt x="324" y="0"/>
                    </a:lnTo>
                    <a:lnTo>
                      <a:pt x="312" y="0"/>
                    </a:lnTo>
                    <a:lnTo>
                      <a:pt x="312" y="18"/>
                    </a:lnTo>
                    <a:lnTo>
                      <a:pt x="294" y="12"/>
                    </a:lnTo>
                    <a:lnTo>
                      <a:pt x="294" y="0"/>
                    </a:lnTo>
                    <a:lnTo>
                      <a:pt x="270" y="0"/>
                    </a:lnTo>
                    <a:lnTo>
                      <a:pt x="264" y="12"/>
                    </a:lnTo>
                    <a:lnTo>
                      <a:pt x="252" y="24"/>
                    </a:lnTo>
                    <a:lnTo>
                      <a:pt x="246" y="24"/>
                    </a:lnTo>
                    <a:lnTo>
                      <a:pt x="234" y="30"/>
                    </a:lnTo>
                    <a:lnTo>
                      <a:pt x="210" y="30"/>
                    </a:lnTo>
                    <a:lnTo>
                      <a:pt x="204" y="42"/>
                    </a:lnTo>
                    <a:lnTo>
                      <a:pt x="168" y="36"/>
                    </a:lnTo>
                    <a:lnTo>
                      <a:pt x="156" y="60"/>
                    </a:lnTo>
                    <a:lnTo>
                      <a:pt x="144" y="60"/>
                    </a:lnTo>
                    <a:lnTo>
                      <a:pt x="126" y="66"/>
                    </a:lnTo>
                    <a:lnTo>
                      <a:pt x="84" y="66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42"/>
                    </a:lnTo>
                    <a:lnTo>
                      <a:pt x="54" y="60"/>
                    </a:lnTo>
                    <a:lnTo>
                      <a:pt x="42" y="54"/>
                    </a:lnTo>
                    <a:lnTo>
                      <a:pt x="42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9" name="Gree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473E3C8-977E-DBA7-09FD-CEB14FBA14B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23035" y="2401612"/>
                <a:ext cx="239450" cy="248353"/>
              </a:xfrm>
              <a:custGeom>
                <a:avLst/>
                <a:gdLst>
                  <a:gd name="T0" fmla="*/ 0 w 534"/>
                  <a:gd name="T1" fmla="*/ 2147483647 h 552"/>
                  <a:gd name="T2" fmla="*/ 2147483647 w 534"/>
                  <a:gd name="T3" fmla="*/ 2147483647 h 552"/>
                  <a:gd name="T4" fmla="*/ 2147483647 w 534"/>
                  <a:gd name="T5" fmla="*/ 2147483647 h 552"/>
                  <a:gd name="T6" fmla="*/ 2147483647 w 534"/>
                  <a:gd name="T7" fmla="*/ 2147483647 h 552"/>
                  <a:gd name="T8" fmla="*/ 2147483647 w 534"/>
                  <a:gd name="T9" fmla="*/ 2147483647 h 552"/>
                  <a:gd name="T10" fmla="*/ 2147483647 w 534"/>
                  <a:gd name="T11" fmla="*/ 2147483647 h 552"/>
                  <a:gd name="T12" fmla="*/ 2147483647 w 534"/>
                  <a:gd name="T13" fmla="*/ 2147483647 h 552"/>
                  <a:gd name="T14" fmla="*/ 2147483647 w 534"/>
                  <a:gd name="T15" fmla="*/ 2147483647 h 552"/>
                  <a:gd name="T16" fmla="*/ 2147483647 w 534"/>
                  <a:gd name="T17" fmla="*/ 2147483647 h 552"/>
                  <a:gd name="T18" fmla="*/ 2147483647 w 534"/>
                  <a:gd name="T19" fmla="*/ 2147483647 h 552"/>
                  <a:gd name="T20" fmla="*/ 2147483647 w 534"/>
                  <a:gd name="T21" fmla="*/ 2147483647 h 552"/>
                  <a:gd name="T22" fmla="*/ 2147483647 w 534"/>
                  <a:gd name="T23" fmla="*/ 2147483647 h 552"/>
                  <a:gd name="T24" fmla="*/ 2147483647 w 534"/>
                  <a:gd name="T25" fmla="*/ 2147483647 h 552"/>
                  <a:gd name="T26" fmla="*/ 2147483647 w 534"/>
                  <a:gd name="T27" fmla="*/ 2147483647 h 552"/>
                  <a:gd name="T28" fmla="*/ 2147483647 w 534"/>
                  <a:gd name="T29" fmla="*/ 2147483647 h 552"/>
                  <a:gd name="T30" fmla="*/ 2147483647 w 534"/>
                  <a:gd name="T31" fmla="*/ 2147483647 h 552"/>
                  <a:gd name="T32" fmla="*/ 2147483647 w 534"/>
                  <a:gd name="T33" fmla="*/ 2147483647 h 552"/>
                  <a:gd name="T34" fmla="*/ 2147483647 w 534"/>
                  <a:gd name="T35" fmla="*/ 2147483647 h 552"/>
                  <a:gd name="T36" fmla="*/ 2147483647 w 534"/>
                  <a:gd name="T37" fmla="*/ 2147483647 h 552"/>
                  <a:gd name="T38" fmla="*/ 2147483647 w 534"/>
                  <a:gd name="T39" fmla="*/ 2147483647 h 552"/>
                  <a:gd name="T40" fmla="*/ 2147483647 w 534"/>
                  <a:gd name="T41" fmla="*/ 2147483647 h 552"/>
                  <a:gd name="T42" fmla="*/ 2147483647 w 534"/>
                  <a:gd name="T43" fmla="*/ 2147483647 h 552"/>
                  <a:gd name="T44" fmla="*/ 2147483647 w 534"/>
                  <a:gd name="T45" fmla="*/ 2147483647 h 552"/>
                  <a:gd name="T46" fmla="*/ 2147483647 w 534"/>
                  <a:gd name="T47" fmla="*/ 2147483647 h 552"/>
                  <a:gd name="T48" fmla="*/ 2147483647 w 534"/>
                  <a:gd name="T49" fmla="*/ 2147483647 h 552"/>
                  <a:gd name="T50" fmla="*/ 2147483647 w 534"/>
                  <a:gd name="T51" fmla="*/ 2147483647 h 552"/>
                  <a:gd name="T52" fmla="*/ 2147483647 w 534"/>
                  <a:gd name="T53" fmla="*/ 2147483647 h 552"/>
                  <a:gd name="T54" fmla="*/ 2147483647 w 534"/>
                  <a:gd name="T55" fmla="*/ 2147483647 h 552"/>
                  <a:gd name="T56" fmla="*/ 2147483647 w 534"/>
                  <a:gd name="T57" fmla="*/ 2147483647 h 552"/>
                  <a:gd name="T58" fmla="*/ 2147483647 w 534"/>
                  <a:gd name="T59" fmla="*/ 2147483647 h 552"/>
                  <a:gd name="T60" fmla="*/ 2147483647 w 534"/>
                  <a:gd name="T61" fmla="*/ 2147483647 h 552"/>
                  <a:gd name="T62" fmla="*/ 2147483647 w 534"/>
                  <a:gd name="T63" fmla="*/ 2147483647 h 552"/>
                  <a:gd name="T64" fmla="*/ 2147483647 w 534"/>
                  <a:gd name="T65" fmla="*/ 2147483647 h 552"/>
                  <a:gd name="T66" fmla="*/ 2147483647 w 534"/>
                  <a:gd name="T67" fmla="*/ 2147483647 h 552"/>
                  <a:gd name="T68" fmla="*/ 2147483647 w 534"/>
                  <a:gd name="T69" fmla="*/ 2147483647 h 552"/>
                  <a:gd name="T70" fmla="*/ 2147483647 w 534"/>
                  <a:gd name="T71" fmla="*/ 2147483647 h 552"/>
                  <a:gd name="T72" fmla="*/ 2147483647 w 534"/>
                  <a:gd name="T73" fmla="*/ 2147483647 h 552"/>
                  <a:gd name="T74" fmla="*/ 2147483647 w 534"/>
                  <a:gd name="T75" fmla="*/ 2147483647 h 552"/>
                  <a:gd name="T76" fmla="*/ 2147483647 w 534"/>
                  <a:gd name="T77" fmla="*/ 2147483647 h 552"/>
                  <a:gd name="T78" fmla="*/ 2147483647 w 534"/>
                  <a:gd name="T79" fmla="*/ 2147483647 h 552"/>
                  <a:gd name="T80" fmla="*/ 2147483647 w 534"/>
                  <a:gd name="T81" fmla="*/ 2147483647 h 552"/>
                  <a:gd name="T82" fmla="*/ 2147483647 w 534"/>
                  <a:gd name="T83" fmla="*/ 2147483647 h 552"/>
                  <a:gd name="T84" fmla="*/ 2147483647 w 534"/>
                  <a:gd name="T85" fmla="*/ 2147483647 h 552"/>
                  <a:gd name="T86" fmla="*/ 2147483647 w 534"/>
                  <a:gd name="T87" fmla="*/ 2147483647 h 552"/>
                  <a:gd name="T88" fmla="*/ 2147483647 w 534"/>
                  <a:gd name="T89" fmla="*/ 2147483647 h 552"/>
                  <a:gd name="T90" fmla="*/ 2147483647 w 534"/>
                  <a:gd name="T91" fmla="*/ 2147483647 h 552"/>
                  <a:gd name="T92" fmla="*/ 2147483647 w 534"/>
                  <a:gd name="T93" fmla="*/ 2147483647 h 552"/>
                  <a:gd name="T94" fmla="*/ 2147483647 w 534"/>
                  <a:gd name="T95" fmla="*/ 2147483647 h 552"/>
                  <a:gd name="T96" fmla="*/ 2147483647 w 534"/>
                  <a:gd name="T97" fmla="*/ 2147483647 h 552"/>
                  <a:gd name="T98" fmla="*/ 2147483647 w 534"/>
                  <a:gd name="T99" fmla="*/ 2147483647 h 552"/>
                  <a:gd name="T100" fmla="*/ 2147483647 w 534"/>
                  <a:gd name="T101" fmla="*/ 2147483647 h 552"/>
                  <a:gd name="T102" fmla="*/ 2147483647 w 534"/>
                  <a:gd name="T103" fmla="*/ 2147483647 h 552"/>
                  <a:gd name="T104" fmla="*/ 2147483647 w 534"/>
                  <a:gd name="T105" fmla="*/ 2147483647 h 552"/>
                  <a:gd name="T106" fmla="*/ 2147483647 w 534"/>
                  <a:gd name="T107" fmla="*/ 2147483647 h 5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34"/>
                  <a:gd name="T163" fmla="*/ 0 h 552"/>
                  <a:gd name="T164" fmla="*/ 534 w 534"/>
                  <a:gd name="T165" fmla="*/ 552 h 5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34" h="552">
                    <a:moveTo>
                      <a:pt x="240" y="108"/>
                    </a:moveTo>
                    <a:lnTo>
                      <a:pt x="270" y="126"/>
                    </a:lnTo>
                    <a:lnTo>
                      <a:pt x="282" y="120"/>
                    </a:lnTo>
                    <a:lnTo>
                      <a:pt x="240" y="108"/>
                    </a:lnTo>
                    <a:close/>
                    <a:moveTo>
                      <a:pt x="24" y="258"/>
                    </a:moveTo>
                    <a:lnTo>
                      <a:pt x="0" y="282"/>
                    </a:lnTo>
                    <a:lnTo>
                      <a:pt x="42" y="294"/>
                    </a:lnTo>
                    <a:lnTo>
                      <a:pt x="24" y="258"/>
                    </a:lnTo>
                    <a:close/>
                    <a:moveTo>
                      <a:pt x="312" y="414"/>
                    </a:moveTo>
                    <a:lnTo>
                      <a:pt x="312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18" y="408"/>
                    </a:lnTo>
                    <a:lnTo>
                      <a:pt x="312" y="408"/>
                    </a:lnTo>
                    <a:lnTo>
                      <a:pt x="312" y="414"/>
                    </a:lnTo>
                    <a:close/>
                    <a:moveTo>
                      <a:pt x="306" y="390"/>
                    </a:moveTo>
                    <a:lnTo>
                      <a:pt x="300" y="378"/>
                    </a:lnTo>
                    <a:lnTo>
                      <a:pt x="294" y="390"/>
                    </a:lnTo>
                    <a:lnTo>
                      <a:pt x="306" y="390"/>
                    </a:lnTo>
                    <a:close/>
                    <a:moveTo>
                      <a:pt x="294" y="294"/>
                    </a:moveTo>
                    <a:lnTo>
                      <a:pt x="318" y="336"/>
                    </a:lnTo>
                    <a:lnTo>
                      <a:pt x="330" y="318"/>
                    </a:lnTo>
                    <a:lnTo>
                      <a:pt x="294" y="294"/>
                    </a:lnTo>
                    <a:close/>
                    <a:moveTo>
                      <a:pt x="108" y="264"/>
                    </a:moveTo>
                    <a:lnTo>
                      <a:pt x="138" y="264"/>
                    </a:lnTo>
                    <a:lnTo>
                      <a:pt x="144" y="270"/>
                    </a:lnTo>
                    <a:lnTo>
                      <a:pt x="156" y="270"/>
                    </a:lnTo>
                    <a:lnTo>
                      <a:pt x="180" y="282"/>
                    </a:lnTo>
                    <a:lnTo>
                      <a:pt x="192" y="282"/>
                    </a:lnTo>
                    <a:lnTo>
                      <a:pt x="198" y="288"/>
                    </a:lnTo>
                    <a:lnTo>
                      <a:pt x="204" y="288"/>
                    </a:lnTo>
                    <a:lnTo>
                      <a:pt x="216" y="300"/>
                    </a:lnTo>
                    <a:lnTo>
                      <a:pt x="228" y="306"/>
                    </a:lnTo>
                    <a:lnTo>
                      <a:pt x="234" y="312"/>
                    </a:lnTo>
                    <a:lnTo>
                      <a:pt x="246" y="312"/>
                    </a:lnTo>
                    <a:lnTo>
                      <a:pt x="252" y="306"/>
                    </a:lnTo>
                    <a:lnTo>
                      <a:pt x="252" y="288"/>
                    </a:lnTo>
                    <a:lnTo>
                      <a:pt x="228" y="264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46"/>
                    </a:lnTo>
                    <a:lnTo>
                      <a:pt x="186" y="246"/>
                    </a:lnTo>
                    <a:lnTo>
                      <a:pt x="174" y="234"/>
                    </a:lnTo>
                    <a:lnTo>
                      <a:pt x="168" y="234"/>
                    </a:lnTo>
                    <a:lnTo>
                      <a:pt x="174" y="228"/>
                    </a:lnTo>
                    <a:lnTo>
                      <a:pt x="192" y="228"/>
                    </a:lnTo>
                    <a:lnTo>
                      <a:pt x="198" y="240"/>
                    </a:lnTo>
                    <a:lnTo>
                      <a:pt x="222" y="252"/>
                    </a:lnTo>
                    <a:lnTo>
                      <a:pt x="234" y="264"/>
                    </a:lnTo>
                    <a:lnTo>
                      <a:pt x="258" y="264"/>
                    </a:lnTo>
                    <a:lnTo>
                      <a:pt x="270" y="252"/>
                    </a:lnTo>
                    <a:lnTo>
                      <a:pt x="258" y="240"/>
                    </a:lnTo>
                    <a:lnTo>
                      <a:pt x="246" y="240"/>
                    </a:lnTo>
                    <a:lnTo>
                      <a:pt x="234" y="234"/>
                    </a:lnTo>
                    <a:lnTo>
                      <a:pt x="222" y="234"/>
                    </a:lnTo>
                    <a:lnTo>
                      <a:pt x="210" y="228"/>
                    </a:lnTo>
                    <a:lnTo>
                      <a:pt x="204" y="216"/>
                    </a:lnTo>
                    <a:lnTo>
                      <a:pt x="198" y="210"/>
                    </a:lnTo>
                    <a:lnTo>
                      <a:pt x="198" y="204"/>
                    </a:lnTo>
                    <a:lnTo>
                      <a:pt x="192" y="192"/>
                    </a:lnTo>
                    <a:lnTo>
                      <a:pt x="186" y="186"/>
                    </a:lnTo>
                    <a:lnTo>
                      <a:pt x="174" y="162"/>
                    </a:lnTo>
                    <a:lnTo>
                      <a:pt x="168" y="156"/>
                    </a:lnTo>
                    <a:lnTo>
                      <a:pt x="162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44" y="114"/>
                    </a:lnTo>
                    <a:lnTo>
                      <a:pt x="144" y="102"/>
                    </a:lnTo>
                    <a:lnTo>
                      <a:pt x="150" y="96"/>
                    </a:lnTo>
                    <a:lnTo>
                      <a:pt x="156" y="96"/>
                    </a:lnTo>
                    <a:lnTo>
                      <a:pt x="162" y="102"/>
                    </a:lnTo>
                    <a:lnTo>
                      <a:pt x="162" y="108"/>
                    </a:lnTo>
                    <a:lnTo>
                      <a:pt x="168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6" y="120"/>
                    </a:lnTo>
                    <a:lnTo>
                      <a:pt x="198" y="132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16" y="138"/>
                    </a:lnTo>
                    <a:lnTo>
                      <a:pt x="204" y="120"/>
                    </a:lnTo>
                    <a:lnTo>
                      <a:pt x="210" y="120"/>
                    </a:lnTo>
                    <a:lnTo>
                      <a:pt x="234" y="132"/>
                    </a:lnTo>
                    <a:lnTo>
                      <a:pt x="222" y="114"/>
                    </a:lnTo>
                    <a:lnTo>
                      <a:pt x="228" y="108"/>
                    </a:lnTo>
                    <a:lnTo>
                      <a:pt x="228" y="84"/>
                    </a:lnTo>
                    <a:lnTo>
                      <a:pt x="240" y="72"/>
                    </a:lnTo>
                    <a:lnTo>
                      <a:pt x="270" y="72"/>
                    </a:lnTo>
                    <a:lnTo>
                      <a:pt x="276" y="78"/>
                    </a:lnTo>
                    <a:lnTo>
                      <a:pt x="276" y="90"/>
                    </a:lnTo>
                    <a:lnTo>
                      <a:pt x="288" y="90"/>
                    </a:lnTo>
                    <a:lnTo>
                      <a:pt x="294" y="84"/>
                    </a:lnTo>
                    <a:lnTo>
                      <a:pt x="300" y="72"/>
                    </a:lnTo>
                    <a:lnTo>
                      <a:pt x="306" y="66"/>
                    </a:lnTo>
                    <a:lnTo>
                      <a:pt x="342" y="66"/>
                    </a:lnTo>
                    <a:lnTo>
                      <a:pt x="360" y="72"/>
                    </a:lnTo>
                    <a:lnTo>
                      <a:pt x="372" y="72"/>
                    </a:lnTo>
                    <a:lnTo>
                      <a:pt x="378" y="78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90" y="60"/>
                    </a:lnTo>
                    <a:lnTo>
                      <a:pt x="390" y="48"/>
                    </a:lnTo>
                    <a:lnTo>
                      <a:pt x="384" y="42"/>
                    </a:lnTo>
                    <a:lnTo>
                      <a:pt x="384" y="36"/>
                    </a:lnTo>
                    <a:lnTo>
                      <a:pt x="390" y="30"/>
                    </a:lnTo>
                    <a:lnTo>
                      <a:pt x="408" y="30"/>
                    </a:lnTo>
                    <a:lnTo>
                      <a:pt x="408" y="18"/>
                    </a:lnTo>
                    <a:lnTo>
                      <a:pt x="402" y="12"/>
                    </a:lnTo>
                    <a:lnTo>
                      <a:pt x="402" y="6"/>
                    </a:lnTo>
                    <a:lnTo>
                      <a:pt x="390" y="6"/>
                    </a:lnTo>
                    <a:lnTo>
                      <a:pt x="384" y="0"/>
                    </a:lnTo>
                    <a:lnTo>
                      <a:pt x="366" y="6"/>
                    </a:lnTo>
                    <a:lnTo>
                      <a:pt x="372" y="12"/>
                    </a:lnTo>
                    <a:lnTo>
                      <a:pt x="372" y="30"/>
                    </a:lnTo>
                    <a:lnTo>
                      <a:pt x="366" y="36"/>
                    </a:lnTo>
                    <a:lnTo>
                      <a:pt x="348" y="36"/>
                    </a:lnTo>
                    <a:lnTo>
                      <a:pt x="336" y="24"/>
                    </a:lnTo>
                    <a:lnTo>
                      <a:pt x="324" y="36"/>
                    </a:lnTo>
                    <a:lnTo>
                      <a:pt x="312" y="36"/>
                    </a:lnTo>
                    <a:lnTo>
                      <a:pt x="300" y="24"/>
                    </a:lnTo>
                    <a:lnTo>
                      <a:pt x="294" y="30"/>
                    </a:lnTo>
                    <a:lnTo>
                      <a:pt x="282" y="30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34" y="12"/>
                    </a:lnTo>
                    <a:lnTo>
                      <a:pt x="228" y="30"/>
                    </a:lnTo>
                    <a:lnTo>
                      <a:pt x="204" y="24"/>
                    </a:lnTo>
                    <a:lnTo>
                      <a:pt x="198" y="30"/>
                    </a:lnTo>
                    <a:lnTo>
                      <a:pt x="186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62" y="30"/>
                    </a:lnTo>
                    <a:lnTo>
                      <a:pt x="150" y="36"/>
                    </a:lnTo>
                    <a:lnTo>
                      <a:pt x="138" y="48"/>
                    </a:lnTo>
                    <a:lnTo>
                      <a:pt x="126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72"/>
                    </a:lnTo>
                    <a:lnTo>
                      <a:pt x="72" y="72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48" y="72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42" y="102"/>
                    </a:lnTo>
                    <a:lnTo>
                      <a:pt x="24" y="102"/>
                    </a:lnTo>
                    <a:lnTo>
                      <a:pt x="24" y="126"/>
                    </a:lnTo>
                    <a:lnTo>
                      <a:pt x="12" y="132"/>
                    </a:lnTo>
                    <a:lnTo>
                      <a:pt x="0" y="132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30" y="228"/>
                    </a:lnTo>
                    <a:lnTo>
                      <a:pt x="36" y="234"/>
                    </a:lnTo>
                    <a:lnTo>
                      <a:pt x="42" y="246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84" y="270"/>
                    </a:lnTo>
                    <a:lnTo>
                      <a:pt x="96" y="264"/>
                    </a:lnTo>
                    <a:lnTo>
                      <a:pt x="108" y="264"/>
                    </a:lnTo>
                    <a:close/>
                    <a:moveTo>
                      <a:pt x="396" y="252"/>
                    </a:moveTo>
                    <a:lnTo>
                      <a:pt x="372" y="252"/>
                    </a:lnTo>
                    <a:lnTo>
                      <a:pt x="372" y="270"/>
                    </a:lnTo>
                    <a:lnTo>
                      <a:pt x="384" y="294"/>
                    </a:lnTo>
                    <a:lnTo>
                      <a:pt x="396" y="252"/>
                    </a:lnTo>
                    <a:close/>
                    <a:moveTo>
                      <a:pt x="24" y="312"/>
                    </a:moveTo>
                    <a:lnTo>
                      <a:pt x="18" y="318"/>
                    </a:lnTo>
                    <a:lnTo>
                      <a:pt x="24" y="324"/>
                    </a:lnTo>
                    <a:lnTo>
                      <a:pt x="30" y="324"/>
                    </a:lnTo>
                    <a:lnTo>
                      <a:pt x="36" y="330"/>
                    </a:lnTo>
                    <a:lnTo>
                      <a:pt x="42" y="324"/>
                    </a:lnTo>
                    <a:lnTo>
                      <a:pt x="42" y="318"/>
                    </a:lnTo>
                    <a:lnTo>
                      <a:pt x="30" y="306"/>
                    </a:lnTo>
                    <a:lnTo>
                      <a:pt x="24" y="312"/>
                    </a:lnTo>
                    <a:close/>
                    <a:moveTo>
                      <a:pt x="378" y="390"/>
                    </a:moveTo>
                    <a:lnTo>
                      <a:pt x="378" y="408"/>
                    </a:lnTo>
                    <a:lnTo>
                      <a:pt x="390" y="390"/>
                    </a:lnTo>
                    <a:lnTo>
                      <a:pt x="378" y="390"/>
                    </a:lnTo>
                    <a:close/>
                    <a:moveTo>
                      <a:pt x="408" y="330"/>
                    </a:moveTo>
                    <a:lnTo>
                      <a:pt x="396" y="330"/>
                    </a:lnTo>
                    <a:lnTo>
                      <a:pt x="384" y="336"/>
                    </a:lnTo>
                    <a:lnTo>
                      <a:pt x="384" y="342"/>
                    </a:lnTo>
                    <a:lnTo>
                      <a:pt x="396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30"/>
                    </a:lnTo>
                    <a:close/>
                    <a:moveTo>
                      <a:pt x="396" y="192"/>
                    </a:moveTo>
                    <a:lnTo>
                      <a:pt x="372" y="198"/>
                    </a:lnTo>
                    <a:lnTo>
                      <a:pt x="372" y="210"/>
                    </a:lnTo>
                    <a:lnTo>
                      <a:pt x="390" y="210"/>
                    </a:lnTo>
                    <a:lnTo>
                      <a:pt x="396" y="216"/>
                    </a:lnTo>
                    <a:lnTo>
                      <a:pt x="396" y="222"/>
                    </a:lnTo>
                    <a:lnTo>
                      <a:pt x="414" y="222"/>
                    </a:lnTo>
                    <a:lnTo>
                      <a:pt x="414" y="210"/>
                    </a:lnTo>
                    <a:lnTo>
                      <a:pt x="396" y="192"/>
                    </a:lnTo>
                    <a:close/>
                    <a:moveTo>
                      <a:pt x="342" y="372"/>
                    </a:moveTo>
                    <a:lnTo>
                      <a:pt x="342" y="378"/>
                    </a:lnTo>
                    <a:lnTo>
                      <a:pt x="348" y="384"/>
                    </a:lnTo>
                    <a:lnTo>
                      <a:pt x="360" y="384"/>
                    </a:lnTo>
                    <a:lnTo>
                      <a:pt x="366" y="378"/>
                    </a:lnTo>
                    <a:lnTo>
                      <a:pt x="366" y="372"/>
                    </a:lnTo>
                    <a:lnTo>
                      <a:pt x="360" y="366"/>
                    </a:lnTo>
                    <a:lnTo>
                      <a:pt x="342" y="366"/>
                    </a:lnTo>
                    <a:lnTo>
                      <a:pt x="342" y="372"/>
                    </a:lnTo>
                    <a:close/>
                    <a:moveTo>
                      <a:pt x="444" y="312"/>
                    </a:moveTo>
                    <a:lnTo>
                      <a:pt x="432" y="312"/>
                    </a:lnTo>
                    <a:lnTo>
                      <a:pt x="432" y="330"/>
                    </a:lnTo>
                    <a:lnTo>
                      <a:pt x="444" y="336"/>
                    </a:lnTo>
                    <a:lnTo>
                      <a:pt x="450" y="330"/>
                    </a:lnTo>
                    <a:lnTo>
                      <a:pt x="450" y="318"/>
                    </a:lnTo>
                    <a:lnTo>
                      <a:pt x="444" y="312"/>
                    </a:lnTo>
                    <a:close/>
                    <a:moveTo>
                      <a:pt x="444" y="372"/>
                    </a:moveTo>
                    <a:lnTo>
                      <a:pt x="456" y="354"/>
                    </a:lnTo>
                    <a:lnTo>
                      <a:pt x="438" y="354"/>
                    </a:lnTo>
                    <a:lnTo>
                      <a:pt x="444" y="372"/>
                    </a:lnTo>
                    <a:close/>
                    <a:moveTo>
                      <a:pt x="276" y="222"/>
                    </a:moveTo>
                    <a:lnTo>
                      <a:pt x="276" y="240"/>
                    </a:lnTo>
                    <a:lnTo>
                      <a:pt x="288" y="240"/>
                    </a:lnTo>
                    <a:lnTo>
                      <a:pt x="276" y="222"/>
                    </a:lnTo>
                    <a:close/>
                    <a:moveTo>
                      <a:pt x="534" y="420"/>
                    </a:moveTo>
                    <a:lnTo>
                      <a:pt x="522" y="420"/>
                    </a:lnTo>
                    <a:lnTo>
                      <a:pt x="516" y="426"/>
                    </a:lnTo>
                    <a:lnTo>
                      <a:pt x="510" y="438"/>
                    </a:lnTo>
                    <a:lnTo>
                      <a:pt x="510" y="468"/>
                    </a:lnTo>
                    <a:lnTo>
                      <a:pt x="516" y="468"/>
                    </a:lnTo>
                    <a:lnTo>
                      <a:pt x="522" y="456"/>
                    </a:lnTo>
                    <a:lnTo>
                      <a:pt x="528" y="450"/>
                    </a:lnTo>
                    <a:lnTo>
                      <a:pt x="534" y="438"/>
                    </a:lnTo>
                    <a:lnTo>
                      <a:pt x="534" y="420"/>
                    </a:lnTo>
                    <a:close/>
                    <a:moveTo>
                      <a:pt x="462" y="384"/>
                    </a:moveTo>
                    <a:lnTo>
                      <a:pt x="456" y="408"/>
                    </a:lnTo>
                    <a:lnTo>
                      <a:pt x="498" y="378"/>
                    </a:lnTo>
                    <a:lnTo>
                      <a:pt x="486" y="372"/>
                    </a:lnTo>
                    <a:lnTo>
                      <a:pt x="462" y="384"/>
                    </a:lnTo>
                    <a:close/>
                    <a:moveTo>
                      <a:pt x="462" y="510"/>
                    </a:moveTo>
                    <a:lnTo>
                      <a:pt x="480" y="510"/>
                    </a:lnTo>
                    <a:lnTo>
                      <a:pt x="468" y="468"/>
                    </a:lnTo>
                    <a:lnTo>
                      <a:pt x="462" y="510"/>
                    </a:lnTo>
                    <a:close/>
                    <a:moveTo>
                      <a:pt x="276" y="330"/>
                    </a:moveTo>
                    <a:lnTo>
                      <a:pt x="270" y="336"/>
                    </a:lnTo>
                    <a:lnTo>
                      <a:pt x="270" y="348"/>
                    </a:lnTo>
                    <a:lnTo>
                      <a:pt x="276" y="348"/>
                    </a:lnTo>
                    <a:lnTo>
                      <a:pt x="288" y="336"/>
                    </a:lnTo>
                    <a:lnTo>
                      <a:pt x="282" y="330"/>
                    </a:lnTo>
                    <a:lnTo>
                      <a:pt x="276" y="330"/>
                    </a:lnTo>
                    <a:close/>
                    <a:moveTo>
                      <a:pt x="186" y="432"/>
                    </a:move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198" y="444"/>
                    </a:lnTo>
                    <a:lnTo>
                      <a:pt x="198" y="438"/>
                    </a:lnTo>
                    <a:lnTo>
                      <a:pt x="192" y="432"/>
                    </a:lnTo>
                    <a:lnTo>
                      <a:pt x="186" y="432"/>
                    </a:lnTo>
                    <a:close/>
                    <a:moveTo>
                      <a:pt x="384" y="528"/>
                    </a:moveTo>
                    <a:lnTo>
                      <a:pt x="378" y="528"/>
                    </a:lnTo>
                    <a:lnTo>
                      <a:pt x="378" y="516"/>
                    </a:lnTo>
                    <a:lnTo>
                      <a:pt x="372" y="510"/>
                    </a:lnTo>
                    <a:lnTo>
                      <a:pt x="342" y="510"/>
                    </a:lnTo>
                    <a:lnTo>
                      <a:pt x="306" y="504"/>
                    </a:lnTo>
                    <a:lnTo>
                      <a:pt x="276" y="504"/>
                    </a:lnTo>
                    <a:lnTo>
                      <a:pt x="246" y="486"/>
                    </a:lnTo>
                    <a:lnTo>
                      <a:pt x="228" y="504"/>
                    </a:lnTo>
                    <a:lnTo>
                      <a:pt x="234" y="510"/>
                    </a:lnTo>
                    <a:lnTo>
                      <a:pt x="246" y="516"/>
                    </a:lnTo>
                    <a:lnTo>
                      <a:pt x="252" y="522"/>
                    </a:lnTo>
                    <a:lnTo>
                      <a:pt x="258" y="516"/>
                    </a:lnTo>
                    <a:lnTo>
                      <a:pt x="264" y="528"/>
                    </a:lnTo>
                    <a:lnTo>
                      <a:pt x="300" y="528"/>
                    </a:lnTo>
                    <a:lnTo>
                      <a:pt x="312" y="552"/>
                    </a:lnTo>
                    <a:lnTo>
                      <a:pt x="354" y="546"/>
                    </a:lnTo>
                    <a:lnTo>
                      <a:pt x="354" y="540"/>
                    </a:lnTo>
                    <a:lnTo>
                      <a:pt x="402" y="540"/>
                    </a:lnTo>
                    <a:lnTo>
                      <a:pt x="414" y="528"/>
                    </a:lnTo>
                    <a:lnTo>
                      <a:pt x="414" y="522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84" y="528"/>
                    </a:lnTo>
                    <a:close/>
                    <a:moveTo>
                      <a:pt x="420" y="408"/>
                    </a:moveTo>
                    <a:lnTo>
                      <a:pt x="408" y="408"/>
                    </a:lnTo>
                    <a:lnTo>
                      <a:pt x="408" y="420"/>
                    </a:lnTo>
                    <a:lnTo>
                      <a:pt x="420" y="420"/>
                    </a:lnTo>
                    <a:lnTo>
                      <a:pt x="426" y="414"/>
                    </a:lnTo>
                    <a:lnTo>
                      <a:pt x="420" y="408"/>
                    </a:lnTo>
                    <a:close/>
                    <a:moveTo>
                      <a:pt x="114" y="276"/>
                    </a:moveTo>
                    <a:lnTo>
                      <a:pt x="90" y="288"/>
                    </a:lnTo>
                    <a:lnTo>
                      <a:pt x="84" y="288"/>
                    </a:lnTo>
                    <a:lnTo>
                      <a:pt x="66" y="312"/>
                    </a:lnTo>
                    <a:lnTo>
                      <a:pt x="96" y="336"/>
                    </a:lnTo>
                    <a:lnTo>
                      <a:pt x="96" y="348"/>
                    </a:lnTo>
                    <a:lnTo>
                      <a:pt x="90" y="366"/>
                    </a:lnTo>
                    <a:lnTo>
                      <a:pt x="90" y="384"/>
                    </a:lnTo>
                    <a:lnTo>
                      <a:pt x="96" y="390"/>
                    </a:lnTo>
                    <a:lnTo>
                      <a:pt x="108" y="396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26" y="378"/>
                    </a:lnTo>
                    <a:lnTo>
                      <a:pt x="132" y="378"/>
                    </a:lnTo>
                    <a:lnTo>
                      <a:pt x="156" y="420"/>
                    </a:lnTo>
                    <a:lnTo>
                      <a:pt x="162" y="390"/>
                    </a:lnTo>
                    <a:lnTo>
                      <a:pt x="180" y="414"/>
                    </a:lnTo>
                    <a:lnTo>
                      <a:pt x="204" y="420"/>
                    </a:lnTo>
                    <a:lnTo>
                      <a:pt x="186" y="402"/>
                    </a:lnTo>
                    <a:lnTo>
                      <a:pt x="192" y="396"/>
                    </a:lnTo>
                    <a:lnTo>
                      <a:pt x="192" y="372"/>
                    </a:lnTo>
                    <a:lnTo>
                      <a:pt x="186" y="366"/>
                    </a:lnTo>
                    <a:lnTo>
                      <a:pt x="180" y="354"/>
                    </a:lnTo>
                    <a:lnTo>
                      <a:pt x="174" y="348"/>
                    </a:lnTo>
                    <a:lnTo>
                      <a:pt x="168" y="336"/>
                    </a:lnTo>
                    <a:lnTo>
                      <a:pt x="168" y="330"/>
                    </a:lnTo>
                    <a:lnTo>
                      <a:pt x="186" y="330"/>
                    </a:lnTo>
                    <a:lnTo>
                      <a:pt x="198" y="336"/>
                    </a:lnTo>
                    <a:lnTo>
                      <a:pt x="210" y="348"/>
                    </a:lnTo>
                    <a:lnTo>
                      <a:pt x="222" y="342"/>
                    </a:lnTo>
                    <a:lnTo>
                      <a:pt x="210" y="336"/>
                    </a:lnTo>
                    <a:lnTo>
                      <a:pt x="204" y="324"/>
                    </a:lnTo>
                    <a:lnTo>
                      <a:pt x="192" y="318"/>
                    </a:lnTo>
                    <a:lnTo>
                      <a:pt x="186" y="312"/>
                    </a:lnTo>
                    <a:lnTo>
                      <a:pt x="174" y="306"/>
                    </a:lnTo>
                    <a:lnTo>
                      <a:pt x="156" y="294"/>
                    </a:lnTo>
                    <a:lnTo>
                      <a:pt x="138" y="288"/>
                    </a:lnTo>
                    <a:lnTo>
                      <a:pt x="126" y="282"/>
                    </a:lnTo>
                    <a:lnTo>
                      <a:pt x="120" y="276"/>
                    </a:lnTo>
                    <a:lnTo>
                      <a:pt x="114" y="27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0" name="Georg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ABF2B62-F06F-AB8C-9C12-5CC33E2A77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87072" y="2335976"/>
                <a:ext cx="207523" cy="94019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1" name="Fran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A4BB4C4-47F7-2C3C-730A-6AE7827FD71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95815" y="2066337"/>
                <a:ext cx="409726" cy="353014"/>
              </a:xfrm>
              <a:custGeom>
                <a:avLst/>
                <a:gdLst>
                  <a:gd name="T0" fmla="*/ 2147483647 w 230"/>
                  <a:gd name="T1" fmla="*/ 2147483647 h 198"/>
                  <a:gd name="T2" fmla="*/ 2147483647 w 230"/>
                  <a:gd name="T3" fmla="*/ 2147483647 h 198"/>
                  <a:gd name="T4" fmla="*/ 2147483647 w 230"/>
                  <a:gd name="T5" fmla="*/ 2147483647 h 198"/>
                  <a:gd name="T6" fmla="*/ 2147483647 w 230"/>
                  <a:gd name="T7" fmla="*/ 2147483647 h 198"/>
                  <a:gd name="T8" fmla="*/ 2147483647 w 230"/>
                  <a:gd name="T9" fmla="*/ 2147483647 h 198"/>
                  <a:gd name="T10" fmla="*/ 2147483647 w 230"/>
                  <a:gd name="T11" fmla="*/ 2147483647 h 198"/>
                  <a:gd name="T12" fmla="*/ 2147483647 w 230"/>
                  <a:gd name="T13" fmla="*/ 2147483647 h 198"/>
                  <a:gd name="T14" fmla="*/ 2147483647 w 230"/>
                  <a:gd name="T15" fmla="*/ 2147483647 h 198"/>
                  <a:gd name="T16" fmla="*/ 2147483647 w 230"/>
                  <a:gd name="T17" fmla="*/ 2147483647 h 198"/>
                  <a:gd name="T18" fmla="*/ 2147483647 w 230"/>
                  <a:gd name="T19" fmla="*/ 2147483647 h 198"/>
                  <a:gd name="T20" fmla="*/ 2147483647 w 230"/>
                  <a:gd name="T21" fmla="*/ 2147483647 h 198"/>
                  <a:gd name="T22" fmla="*/ 2147483647 w 230"/>
                  <a:gd name="T23" fmla="*/ 2147483647 h 198"/>
                  <a:gd name="T24" fmla="*/ 2147483647 w 230"/>
                  <a:gd name="T25" fmla="*/ 2147483647 h 198"/>
                  <a:gd name="T26" fmla="*/ 2147483647 w 230"/>
                  <a:gd name="T27" fmla="*/ 2147483647 h 198"/>
                  <a:gd name="T28" fmla="*/ 2147483647 w 230"/>
                  <a:gd name="T29" fmla="*/ 2147483647 h 198"/>
                  <a:gd name="T30" fmla="*/ 2147483647 w 230"/>
                  <a:gd name="T31" fmla="*/ 2147483647 h 198"/>
                  <a:gd name="T32" fmla="*/ 2147483647 w 230"/>
                  <a:gd name="T33" fmla="*/ 2147483647 h 198"/>
                  <a:gd name="T34" fmla="*/ 2147483647 w 230"/>
                  <a:gd name="T35" fmla="*/ 2147483647 h 198"/>
                  <a:gd name="T36" fmla="*/ 2147483647 w 230"/>
                  <a:gd name="T37" fmla="*/ 2147483647 h 198"/>
                  <a:gd name="T38" fmla="*/ 2147483647 w 230"/>
                  <a:gd name="T39" fmla="*/ 2147483647 h 198"/>
                  <a:gd name="T40" fmla="*/ 2147483647 w 230"/>
                  <a:gd name="T41" fmla="*/ 2147483647 h 198"/>
                  <a:gd name="T42" fmla="*/ 2147483647 w 230"/>
                  <a:gd name="T43" fmla="*/ 2147483647 h 198"/>
                  <a:gd name="T44" fmla="*/ 2147483647 w 230"/>
                  <a:gd name="T45" fmla="*/ 2147483647 h 198"/>
                  <a:gd name="T46" fmla="*/ 2147483647 w 230"/>
                  <a:gd name="T47" fmla="*/ 2147483647 h 198"/>
                  <a:gd name="T48" fmla="*/ 2147483647 w 230"/>
                  <a:gd name="T49" fmla="*/ 2147483647 h 198"/>
                  <a:gd name="T50" fmla="*/ 2147483647 w 230"/>
                  <a:gd name="T51" fmla="*/ 2147483647 h 198"/>
                  <a:gd name="T52" fmla="*/ 2147483647 w 230"/>
                  <a:gd name="T53" fmla="*/ 2147483647 h 198"/>
                  <a:gd name="T54" fmla="*/ 2147483647 w 230"/>
                  <a:gd name="T55" fmla="*/ 2147483647 h 198"/>
                  <a:gd name="T56" fmla="*/ 2147483647 w 230"/>
                  <a:gd name="T57" fmla="*/ 2147483647 h 198"/>
                  <a:gd name="T58" fmla="*/ 2147483647 w 230"/>
                  <a:gd name="T59" fmla="*/ 2147483647 h 198"/>
                  <a:gd name="T60" fmla="*/ 2147483647 w 230"/>
                  <a:gd name="T61" fmla="*/ 2147483647 h 198"/>
                  <a:gd name="T62" fmla="*/ 2147483647 w 230"/>
                  <a:gd name="T63" fmla="*/ 2147483647 h 198"/>
                  <a:gd name="T64" fmla="*/ 2147483647 w 230"/>
                  <a:gd name="T65" fmla="*/ 2147483647 h 198"/>
                  <a:gd name="T66" fmla="*/ 2147483647 w 230"/>
                  <a:gd name="T67" fmla="*/ 2147483647 h 198"/>
                  <a:gd name="T68" fmla="*/ 2147483647 w 230"/>
                  <a:gd name="T69" fmla="*/ 2147483647 h 198"/>
                  <a:gd name="T70" fmla="*/ 2147483647 w 230"/>
                  <a:gd name="T71" fmla="*/ 2147483647 h 198"/>
                  <a:gd name="T72" fmla="*/ 2147483647 w 230"/>
                  <a:gd name="T73" fmla="*/ 2147483647 h 198"/>
                  <a:gd name="T74" fmla="*/ 2147483647 w 230"/>
                  <a:gd name="T75" fmla="*/ 2147483647 h 198"/>
                  <a:gd name="T76" fmla="*/ 2147483647 w 230"/>
                  <a:gd name="T77" fmla="*/ 2147483647 h 198"/>
                  <a:gd name="T78" fmla="*/ 2147483647 w 230"/>
                  <a:gd name="T79" fmla="*/ 2147483647 h 198"/>
                  <a:gd name="T80" fmla="*/ 2147483647 w 230"/>
                  <a:gd name="T81" fmla="*/ 2147483647 h 198"/>
                  <a:gd name="T82" fmla="*/ 2147483647 w 230"/>
                  <a:gd name="T83" fmla="*/ 2147483647 h 198"/>
                  <a:gd name="T84" fmla="*/ 2147483647 w 230"/>
                  <a:gd name="T85" fmla="*/ 2147483647 h 198"/>
                  <a:gd name="T86" fmla="*/ 2147483647 w 230"/>
                  <a:gd name="T87" fmla="*/ 2147483647 h 198"/>
                  <a:gd name="T88" fmla="*/ 2147483647 w 230"/>
                  <a:gd name="T89" fmla="*/ 2147483647 h 198"/>
                  <a:gd name="T90" fmla="*/ 2147483647 w 230"/>
                  <a:gd name="T91" fmla="*/ 2147483647 h 198"/>
                  <a:gd name="T92" fmla="*/ 2147483647 w 230"/>
                  <a:gd name="T93" fmla="*/ 2147483647 h 198"/>
                  <a:gd name="T94" fmla="*/ 2147483647 w 230"/>
                  <a:gd name="T95" fmla="*/ 2147483647 h 198"/>
                  <a:gd name="T96" fmla="*/ 2147483647 w 230"/>
                  <a:gd name="T97" fmla="*/ 2147483647 h 198"/>
                  <a:gd name="T98" fmla="*/ 2147483647 w 230"/>
                  <a:gd name="T99" fmla="*/ 2147483647 h 198"/>
                  <a:gd name="T100" fmla="*/ 2147483647 w 230"/>
                  <a:gd name="T101" fmla="*/ 2147483647 h 198"/>
                  <a:gd name="T102" fmla="*/ 2147483647 w 230"/>
                  <a:gd name="T103" fmla="*/ 2147483647 h 198"/>
                  <a:gd name="T104" fmla="*/ 2147483647 w 230"/>
                  <a:gd name="T105" fmla="*/ 2147483647 h 198"/>
                  <a:gd name="T106" fmla="*/ 2147483647 w 230"/>
                  <a:gd name="T107" fmla="*/ 2147483647 h 198"/>
                  <a:gd name="T108" fmla="*/ 2147483647 w 230"/>
                  <a:gd name="T109" fmla="*/ 2147483647 h 198"/>
                  <a:gd name="T110" fmla="*/ 2147483647 w 230"/>
                  <a:gd name="T111" fmla="*/ 2147483647 h 198"/>
                  <a:gd name="T112" fmla="*/ 2147483647 w 230"/>
                  <a:gd name="T113" fmla="*/ 2147483647 h 198"/>
                  <a:gd name="T114" fmla="*/ 2147483647 w 230"/>
                  <a:gd name="T115" fmla="*/ 2147483647 h 198"/>
                  <a:gd name="T116" fmla="*/ 2147483647 w 230"/>
                  <a:gd name="T117" fmla="*/ 2147483647 h 198"/>
                  <a:gd name="T118" fmla="*/ 2147483647 w 230"/>
                  <a:gd name="T119" fmla="*/ 2147483647 h 198"/>
                  <a:gd name="T120" fmla="*/ 2147483647 w 230"/>
                  <a:gd name="T121" fmla="*/ 2147483647 h 1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0"/>
                  <a:gd name="T184" fmla="*/ 0 h 198"/>
                  <a:gd name="T185" fmla="*/ 230 w 230"/>
                  <a:gd name="T186" fmla="*/ 198 h 1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0" h="198">
                    <a:moveTo>
                      <a:pt x="230" y="172"/>
                    </a:moveTo>
                    <a:lnTo>
                      <a:pt x="230" y="172"/>
                    </a:lnTo>
                    <a:lnTo>
                      <a:pt x="230" y="166"/>
                    </a:lnTo>
                    <a:lnTo>
                      <a:pt x="228" y="166"/>
                    </a:lnTo>
                    <a:lnTo>
                      <a:pt x="224" y="168"/>
                    </a:lnTo>
                    <a:lnTo>
                      <a:pt x="224" y="170"/>
                    </a:lnTo>
                    <a:lnTo>
                      <a:pt x="220" y="172"/>
                    </a:lnTo>
                    <a:lnTo>
                      <a:pt x="218" y="174"/>
                    </a:lnTo>
                    <a:lnTo>
                      <a:pt x="216" y="178"/>
                    </a:lnTo>
                    <a:lnTo>
                      <a:pt x="216" y="182"/>
                    </a:lnTo>
                    <a:lnTo>
                      <a:pt x="218" y="186"/>
                    </a:lnTo>
                    <a:lnTo>
                      <a:pt x="218" y="190"/>
                    </a:lnTo>
                    <a:lnTo>
                      <a:pt x="218" y="192"/>
                    </a:lnTo>
                    <a:lnTo>
                      <a:pt x="218" y="194"/>
                    </a:lnTo>
                    <a:lnTo>
                      <a:pt x="222" y="196"/>
                    </a:lnTo>
                    <a:lnTo>
                      <a:pt x="224" y="198"/>
                    </a:lnTo>
                    <a:lnTo>
                      <a:pt x="230" y="192"/>
                    </a:lnTo>
                    <a:lnTo>
                      <a:pt x="230" y="186"/>
                    </a:lnTo>
                    <a:lnTo>
                      <a:pt x="228" y="186"/>
                    </a:lnTo>
                    <a:lnTo>
                      <a:pt x="230" y="184"/>
                    </a:lnTo>
                    <a:lnTo>
                      <a:pt x="230" y="172"/>
                    </a:lnTo>
                    <a:close/>
                    <a:moveTo>
                      <a:pt x="198" y="40"/>
                    </a:moveTo>
                    <a:lnTo>
                      <a:pt x="198" y="40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90" y="40"/>
                    </a:lnTo>
                    <a:lnTo>
                      <a:pt x="184" y="40"/>
                    </a:lnTo>
                    <a:lnTo>
                      <a:pt x="184" y="34"/>
                    </a:lnTo>
                    <a:lnTo>
                      <a:pt x="182" y="34"/>
                    </a:lnTo>
                    <a:lnTo>
                      <a:pt x="182" y="32"/>
                    </a:lnTo>
                    <a:lnTo>
                      <a:pt x="178" y="30"/>
                    </a:lnTo>
                    <a:lnTo>
                      <a:pt x="174" y="34"/>
                    </a:lnTo>
                    <a:lnTo>
                      <a:pt x="172" y="32"/>
                    </a:lnTo>
                    <a:lnTo>
                      <a:pt x="166" y="32"/>
                    </a:lnTo>
                    <a:lnTo>
                      <a:pt x="164" y="28"/>
                    </a:lnTo>
                    <a:lnTo>
                      <a:pt x="162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2"/>
                    </a:lnTo>
                    <a:lnTo>
                      <a:pt x="152" y="24"/>
                    </a:lnTo>
                    <a:lnTo>
                      <a:pt x="146" y="24"/>
                    </a:lnTo>
                    <a:lnTo>
                      <a:pt x="146" y="18"/>
                    </a:lnTo>
                    <a:lnTo>
                      <a:pt x="144" y="16"/>
                    </a:lnTo>
                    <a:lnTo>
                      <a:pt x="142" y="14"/>
                    </a:lnTo>
                    <a:lnTo>
                      <a:pt x="136" y="14"/>
                    </a:lnTo>
                    <a:lnTo>
                      <a:pt x="132" y="12"/>
                    </a:lnTo>
                    <a:lnTo>
                      <a:pt x="126" y="1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0" y="4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6" y="14"/>
                    </a:lnTo>
                    <a:lnTo>
                      <a:pt x="106" y="20"/>
                    </a:lnTo>
                    <a:lnTo>
                      <a:pt x="104" y="22"/>
                    </a:lnTo>
                    <a:lnTo>
                      <a:pt x="98" y="24"/>
                    </a:lnTo>
                    <a:lnTo>
                      <a:pt x="92" y="24"/>
                    </a:lnTo>
                    <a:lnTo>
                      <a:pt x="82" y="32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2" y="34"/>
                    </a:lnTo>
                    <a:lnTo>
                      <a:pt x="76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58" y="30"/>
                    </a:lnTo>
                    <a:lnTo>
                      <a:pt x="56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4" y="34"/>
                    </a:lnTo>
                    <a:lnTo>
                      <a:pt x="56" y="38"/>
                    </a:lnTo>
                    <a:lnTo>
                      <a:pt x="58" y="40"/>
                    </a:lnTo>
                    <a:lnTo>
                      <a:pt x="58" y="46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38" y="48"/>
                    </a:lnTo>
                    <a:lnTo>
                      <a:pt x="38" y="54"/>
                    </a:lnTo>
                    <a:lnTo>
                      <a:pt x="36" y="52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4"/>
                    </a:lnTo>
                    <a:lnTo>
                      <a:pt x="26" y="72"/>
                    </a:lnTo>
                    <a:lnTo>
                      <a:pt x="32" y="72"/>
                    </a:lnTo>
                    <a:lnTo>
                      <a:pt x="38" y="76"/>
                    </a:lnTo>
                    <a:lnTo>
                      <a:pt x="48" y="76"/>
                    </a:lnTo>
                    <a:lnTo>
                      <a:pt x="40" y="80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6" y="92"/>
                    </a:lnTo>
                    <a:lnTo>
                      <a:pt x="52" y="96"/>
                    </a:lnTo>
                    <a:lnTo>
                      <a:pt x="58" y="96"/>
                    </a:lnTo>
                    <a:lnTo>
                      <a:pt x="58" y="106"/>
                    </a:lnTo>
                    <a:lnTo>
                      <a:pt x="62" y="114"/>
                    </a:lnTo>
                    <a:lnTo>
                      <a:pt x="66" y="124"/>
                    </a:lnTo>
                    <a:lnTo>
                      <a:pt x="58" y="114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32"/>
                    </a:lnTo>
                    <a:lnTo>
                      <a:pt x="54" y="134"/>
                    </a:lnTo>
                    <a:lnTo>
                      <a:pt x="52" y="144"/>
                    </a:lnTo>
                    <a:lnTo>
                      <a:pt x="52" y="146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48" y="152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52" y="160"/>
                    </a:lnTo>
                    <a:lnTo>
                      <a:pt x="52" y="162"/>
                    </a:lnTo>
                    <a:lnTo>
                      <a:pt x="50" y="164"/>
                    </a:lnTo>
                    <a:lnTo>
                      <a:pt x="60" y="164"/>
                    </a:lnTo>
                    <a:lnTo>
                      <a:pt x="64" y="168"/>
                    </a:lnTo>
                    <a:lnTo>
                      <a:pt x="66" y="166"/>
                    </a:lnTo>
                    <a:lnTo>
                      <a:pt x="68" y="166"/>
                    </a:lnTo>
                    <a:lnTo>
                      <a:pt x="72" y="170"/>
                    </a:lnTo>
                    <a:lnTo>
                      <a:pt x="78" y="170"/>
                    </a:lnTo>
                    <a:lnTo>
                      <a:pt x="78" y="172"/>
                    </a:lnTo>
                    <a:lnTo>
                      <a:pt x="84" y="172"/>
                    </a:lnTo>
                    <a:lnTo>
                      <a:pt x="84" y="168"/>
                    </a:lnTo>
                    <a:lnTo>
                      <a:pt x="86" y="166"/>
                    </a:lnTo>
                    <a:lnTo>
                      <a:pt x="90" y="166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6" y="170"/>
                    </a:lnTo>
                    <a:lnTo>
                      <a:pt x="96" y="172"/>
                    </a:lnTo>
                    <a:lnTo>
                      <a:pt x="104" y="172"/>
                    </a:lnTo>
                    <a:lnTo>
                      <a:pt x="104" y="174"/>
                    </a:lnTo>
                    <a:lnTo>
                      <a:pt x="104" y="176"/>
                    </a:lnTo>
                    <a:lnTo>
                      <a:pt x="112" y="176"/>
                    </a:lnTo>
                    <a:lnTo>
                      <a:pt x="112" y="178"/>
                    </a:lnTo>
                    <a:lnTo>
                      <a:pt x="118" y="178"/>
                    </a:lnTo>
                    <a:lnTo>
                      <a:pt x="118" y="176"/>
                    </a:lnTo>
                    <a:lnTo>
                      <a:pt x="118" y="174"/>
                    </a:lnTo>
                    <a:lnTo>
                      <a:pt x="122" y="174"/>
                    </a:lnTo>
                    <a:lnTo>
                      <a:pt x="122" y="170"/>
                    </a:lnTo>
                    <a:lnTo>
                      <a:pt x="126" y="164"/>
                    </a:lnTo>
                    <a:lnTo>
                      <a:pt x="130" y="160"/>
                    </a:lnTo>
                    <a:lnTo>
                      <a:pt x="132" y="158"/>
                    </a:lnTo>
                    <a:lnTo>
                      <a:pt x="134" y="156"/>
                    </a:lnTo>
                    <a:lnTo>
                      <a:pt x="138" y="154"/>
                    </a:lnTo>
                    <a:lnTo>
                      <a:pt x="140" y="152"/>
                    </a:lnTo>
                    <a:lnTo>
                      <a:pt x="144" y="152"/>
                    </a:lnTo>
                    <a:lnTo>
                      <a:pt x="146" y="154"/>
                    </a:lnTo>
                    <a:lnTo>
                      <a:pt x="150" y="154"/>
                    </a:lnTo>
                    <a:lnTo>
                      <a:pt x="152" y="156"/>
                    </a:lnTo>
                    <a:lnTo>
                      <a:pt x="162" y="156"/>
                    </a:lnTo>
                    <a:lnTo>
                      <a:pt x="166" y="160"/>
                    </a:lnTo>
                    <a:lnTo>
                      <a:pt x="166" y="162"/>
                    </a:lnTo>
                    <a:lnTo>
                      <a:pt x="170" y="162"/>
                    </a:lnTo>
                    <a:lnTo>
                      <a:pt x="172" y="164"/>
                    </a:lnTo>
                    <a:lnTo>
                      <a:pt x="178" y="164"/>
                    </a:lnTo>
                    <a:lnTo>
                      <a:pt x="182" y="162"/>
                    </a:lnTo>
                    <a:lnTo>
                      <a:pt x="184" y="160"/>
                    </a:lnTo>
                    <a:lnTo>
                      <a:pt x="186" y="154"/>
                    </a:lnTo>
                    <a:lnTo>
                      <a:pt x="192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200" y="144"/>
                    </a:lnTo>
                    <a:lnTo>
                      <a:pt x="200" y="142"/>
                    </a:lnTo>
                    <a:lnTo>
                      <a:pt x="198" y="140"/>
                    </a:lnTo>
                    <a:lnTo>
                      <a:pt x="192" y="140"/>
                    </a:lnTo>
                    <a:lnTo>
                      <a:pt x="188" y="138"/>
                    </a:lnTo>
                    <a:lnTo>
                      <a:pt x="186" y="136"/>
                    </a:lnTo>
                    <a:lnTo>
                      <a:pt x="186" y="134"/>
                    </a:lnTo>
                    <a:lnTo>
                      <a:pt x="188" y="132"/>
                    </a:lnTo>
                    <a:lnTo>
                      <a:pt x="190" y="130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0"/>
                    </a:lnTo>
                    <a:lnTo>
                      <a:pt x="188" y="120"/>
                    </a:lnTo>
                    <a:lnTo>
                      <a:pt x="192" y="116"/>
                    </a:lnTo>
                    <a:lnTo>
                      <a:pt x="192" y="114"/>
                    </a:lnTo>
                    <a:lnTo>
                      <a:pt x="186" y="108"/>
                    </a:lnTo>
                    <a:lnTo>
                      <a:pt x="188" y="106"/>
                    </a:lnTo>
                    <a:lnTo>
                      <a:pt x="190" y="106"/>
                    </a:lnTo>
                    <a:lnTo>
                      <a:pt x="190" y="104"/>
                    </a:lnTo>
                    <a:lnTo>
                      <a:pt x="186" y="100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2" y="94"/>
                    </a:lnTo>
                    <a:lnTo>
                      <a:pt x="176" y="100"/>
                    </a:lnTo>
                    <a:lnTo>
                      <a:pt x="174" y="100"/>
                    </a:lnTo>
                    <a:lnTo>
                      <a:pt x="174" y="98"/>
                    </a:lnTo>
                    <a:lnTo>
                      <a:pt x="176" y="96"/>
                    </a:lnTo>
                    <a:lnTo>
                      <a:pt x="174" y="94"/>
                    </a:lnTo>
                    <a:lnTo>
                      <a:pt x="178" y="92"/>
                    </a:lnTo>
                    <a:lnTo>
                      <a:pt x="178" y="88"/>
                    </a:lnTo>
                    <a:lnTo>
                      <a:pt x="182" y="86"/>
                    </a:lnTo>
                    <a:lnTo>
                      <a:pt x="182" y="82"/>
                    </a:lnTo>
                    <a:lnTo>
                      <a:pt x="186" y="82"/>
                    </a:lnTo>
                    <a:lnTo>
                      <a:pt x="188" y="80"/>
                    </a:lnTo>
                    <a:lnTo>
                      <a:pt x="190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8" y="76"/>
                    </a:lnTo>
                    <a:lnTo>
                      <a:pt x="198" y="72"/>
                    </a:lnTo>
                    <a:lnTo>
                      <a:pt x="198" y="60"/>
                    </a:lnTo>
                    <a:lnTo>
                      <a:pt x="200" y="58"/>
                    </a:lnTo>
                    <a:lnTo>
                      <a:pt x="202" y="56"/>
                    </a:lnTo>
                    <a:lnTo>
                      <a:pt x="204" y="54"/>
                    </a:lnTo>
                    <a:lnTo>
                      <a:pt x="204" y="50"/>
                    </a:lnTo>
                    <a:lnTo>
                      <a:pt x="208" y="46"/>
                    </a:lnTo>
                    <a:lnTo>
                      <a:pt x="210" y="42"/>
                    </a:lnTo>
                    <a:lnTo>
                      <a:pt x="204" y="40"/>
                    </a:lnTo>
                    <a:lnTo>
                      <a:pt x="198" y="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2" name="Fi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4602FD0-C6E7-D8BA-D0D3-297CB6E584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68048" y="1447232"/>
                <a:ext cx="283793" cy="322858"/>
              </a:xfrm>
              <a:custGeom>
                <a:avLst/>
                <a:gdLst>
                  <a:gd name="T0" fmla="*/ 2147483647 w 630"/>
                  <a:gd name="T1" fmla="*/ 2147483647 h 714"/>
                  <a:gd name="T2" fmla="*/ 2147483647 w 630"/>
                  <a:gd name="T3" fmla="*/ 2147483647 h 714"/>
                  <a:gd name="T4" fmla="*/ 2147483647 w 630"/>
                  <a:gd name="T5" fmla="*/ 2147483647 h 714"/>
                  <a:gd name="T6" fmla="*/ 2147483647 w 630"/>
                  <a:gd name="T7" fmla="*/ 2147483647 h 714"/>
                  <a:gd name="T8" fmla="*/ 2147483647 w 630"/>
                  <a:gd name="T9" fmla="*/ 2147483647 h 714"/>
                  <a:gd name="T10" fmla="*/ 2147483647 w 630"/>
                  <a:gd name="T11" fmla="*/ 2147483647 h 714"/>
                  <a:gd name="T12" fmla="*/ 2147483647 w 630"/>
                  <a:gd name="T13" fmla="*/ 2147483647 h 714"/>
                  <a:gd name="T14" fmla="*/ 2147483647 w 630"/>
                  <a:gd name="T15" fmla="*/ 2147483647 h 714"/>
                  <a:gd name="T16" fmla="*/ 2147483647 w 630"/>
                  <a:gd name="T17" fmla="*/ 2147483647 h 714"/>
                  <a:gd name="T18" fmla="*/ 2147483647 w 630"/>
                  <a:gd name="T19" fmla="*/ 2147483647 h 714"/>
                  <a:gd name="T20" fmla="*/ 2147483647 w 630"/>
                  <a:gd name="T21" fmla="*/ 2147483647 h 714"/>
                  <a:gd name="T22" fmla="*/ 2147483647 w 630"/>
                  <a:gd name="T23" fmla="*/ 2147483647 h 714"/>
                  <a:gd name="T24" fmla="*/ 2147483647 w 630"/>
                  <a:gd name="T25" fmla="*/ 2147483647 h 714"/>
                  <a:gd name="T26" fmla="*/ 2147483647 w 630"/>
                  <a:gd name="T27" fmla="*/ 2147483647 h 714"/>
                  <a:gd name="T28" fmla="*/ 2147483647 w 630"/>
                  <a:gd name="T29" fmla="*/ 2147483647 h 714"/>
                  <a:gd name="T30" fmla="*/ 2147483647 w 630"/>
                  <a:gd name="T31" fmla="*/ 2147483647 h 714"/>
                  <a:gd name="T32" fmla="*/ 2147483647 w 630"/>
                  <a:gd name="T33" fmla="*/ 2147483647 h 714"/>
                  <a:gd name="T34" fmla="*/ 2147483647 w 630"/>
                  <a:gd name="T35" fmla="*/ 2147483647 h 714"/>
                  <a:gd name="T36" fmla="*/ 2147483647 w 630"/>
                  <a:gd name="T37" fmla="*/ 2147483647 h 714"/>
                  <a:gd name="T38" fmla="*/ 2147483647 w 630"/>
                  <a:gd name="T39" fmla="*/ 2147483647 h 714"/>
                  <a:gd name="T40" fmla="*/ 2147483647 w 630"/>
                  <a:gd name="T41" fmla="*/ 2147483647 h 714"/>
                  <a:gd name="T42" fmla="*/ 2147483647 w 630"/>
                  <a:gd name="T43" fmla="*/ 2147483647 h 714"/>
                  <a:gd name="T44" fmla="*/ 2147483647 w 630"/>
                  <a:gd name="T45" fmla="*/ 2147483647 h 714"/>
                  <a:gd name="T46" fmla="*/ 2147483647 w 630"/>
                  <a:gd name="T47" fmla="*/ 2147483647 h 714"/>
                  <a:gd name="T48" fmla="*/ 2147483647 w 630"/>
                  <a:gd name="T49" fmla="*/ 2147483647 h 714"/>
                  <a:gd name="T50" fmla="*/ 2147483647 w 630"/>
                  <a:gd name="T51" fmla="*/ 2147483647 h 714"/>
                  <a:gd name="T52" fmla="*/ 2147483647 w 630"/>
                  <a:gd name="T53" fmla="*/ 2147483647 h 714"/>
                  <a:gd name="T54" fmla="*/ 2147483647 w 630"/>
                  <a:gd name="T55" fmla="*/ 2147483647 h 714"/>
                  <a:gd name="T56" fmla="*/ 2147483647 w 630"/>
                  <a:gd name="T57" fmla="*/ 2147483647 h 714"/>
                  <a:gd name="T58" fmla="*/ 2147483647 w 630"/>
                  <a:gd name="T59" fmla="*/ 2147483647 h 714"/>
                  <a:gd name="T60" fmla="*/ 2147483647 w 630"/>
                  <a:gd name="T61" fmla="*/ 2147483647 h 714"/>
                  <a:gd name="T62" fmla="*/ 2147483647 w 630"/>
                  <a:gd name="T63" fmla="*/ 2147483647 h 714"/>
                  <a:gd name="T64" fmla="*/ 2147483647 w 630"/>
                  <a:gd name="T65" fmla="*/ 2147483647 h 714"/>
                  <a:gd name="T66" fmla="*/ 2147483647 w 630"/>
                  <a:gd name="T67" fmla="*/ 2147483647 h 714"/>
                  <a:gd name="T68" fmla="*/ 2147483647 w 630"/>
                  <a:gd name="T69" fmla="*/ 2147483647 h 714"/>
                  <a:gd name="T70" fmla="*/ 2147483647 w 630"/>
                  <a:gd name="T71" fmla="*/ 2147483647 h 714"/>
                  <a:gd name="T72" fmla="*/ 2147483647 w 630"/>
                  <a:gd name="T73" fmla="*/ 2147483647 h 714"/>
                  <a:gd name="T74" fmla="*/ 2147483647 w 630"/>
                  <a:gd name="T75" fmla="*/ 2147483647 h 714"/>
                  <a:gd name="T76" fmla="*/ 2147483647 w 630"/>
                  <a:gd name="T77" fmla="*/ 2147483647 h 714"/>
                  <a:gd name="T78" fmla="*/ 2147483647 w 630"/>
                  <a:gd name="T79" fmla="*/ 2147483647 h 714"/>
                  <a:gd name="T80" fmla="*/ 2147483647 w 630"/>
                  <a:gd name="T81" fmla="*/ 2147483647 h 714"/>
                  <a:gd name="T82" fmla="*/ 2147483647 w 630"/>
                  <a:gd name="T83" fmla="*/ 2147483647 h 714"/>
                  <a:gd name="T84" fmla="*/ 2147483647 w 630"/>
                  <a:gd name="T85" fmla="*/ 2147483647 h 714"/>
                  <a:gd name="T86" fmla="*/ 2147483647 w 630"/>
                  <a:gd name="T87" fmla="*/ 2147483647 h 714"/>
                  <a:gd name="T88" fmla="*/ 2147483647 w 630"/>
                  <a:gd name="T89" fmla="*/ 2147483647 h 714"/>
                  <a:gd name="T90" fmla="*/ 2147483647 w 630"/>
                  <a:gd name="T91" fmla="*/ 2147483647 h 714"/>
                  <a:gd name="T92" fmla="*/ 2147483647 w 630"/>
                  <a:gd name="T93" fmla="*/ 2147483647 h 714"/>
                  <a:gd name="T94" fmla="*/ 2147483647 w 630"/>
                  <a:gd name="T95" fmla="*/ 2147483647 h 714"/>
                  <a:gd name="T96" fmla="*/ 2147483647 w 630"/>
                  <a:gd name="T97" fmla="*/ 2147483647 h 714"/>
                  <a:gd name="T98" fmla="*/ 2147483647 w 630"/>
                  <a:gd name="T99" fmla="*/ 2147483647 h 714"/>
                  <a:gd name="T100" fmla="*/ 2147483647 w 630"/>
                  <a:gd name="T101" fmla="*/ 2147483647 h 714"/>
                  <a:gd name="T102" fmla="*/ 2147483647 w 630"/>
                  <a:gd name="T103" fmla="*/ 2147483647 h 714"/>
                  <a:gd name="T104" fmla="*/ 2147483647 w 630"/>
                  <a:gd name="T105" fmla="*/ 2147483647 h 714"/>
                  <a:gd name="T106" fmla="*/ 2147483647 w 630"/>
                  <a:gd name="T107" fmla="*/ 0 h 714"/>
                  <a:gd name="T108" fmla="*/ 2147483647 w 630"/>
                  <a:gd name="T109" fmla="*/ 2147483647 h 714"/>
                  <a:gd name="T110" fmla="*/ 2147483647 w 630"/>
                  <a:gd name="T111" fmla="*/ 2147483647 h 714"/>
                  <a:gd name="T112" fmla="*/ 2147483647 w 630"/>
                  <a:gd name="T113" fmla="*/ 2147483647 h 714"/>
                  <a:gd name="T114" fmla="*/ 2147483647 w 630"/>
                  <a:gd name="T115" fmla="*/ 2147483647 h 714"/>
                  <a:gd name="T116" fmla="*/ 2147483647 w 630"/>
                  <a:gd name="T117" fmla="*/ 2147483647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714"/>
                  <a:gd name="T179" fmla="*/ 630 w 630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714">
                    <a:moveTo>
                      <a:pt x="162" y="84"/>
                    </a:moveTo>
                    <a:lnTo>
                      <a:pt x="156" y="90"/>
                    </a:lnTo>
                    <a:lnTo>
                      <a:pt x="144" y="96"/>
                    </a:lnTo>
                    <a:lnTo>
                      <a:pt x="132" y="96"/>
                    </a:lnTo>
                    <a:lnTo>
                      <a:pt x="126" y="90"/>
                    </a:lnTo>
                    <a:lnTo>
                      <a:pt x="108" y="90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2" y="72"/>
                    </a:lnTo>
                    <a:lnTo>
                      <a:pt x="60" y="66"/>
                    </a:lnTo>
                    <a:lnTo>
                      <a:pt x="54" y="54"/>
                    </a:lnTo>
                    <a:lnTo>
                      <a:pt x="48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6"/>
                    </a:lnTo>
                    <a:lnTo>
                      <a:pt x="60" y="96"/>
                    </a:lnTo>
                    <a:lnTo>
                      <a:pt x="72" y="108"/>
                    </a:lnTo>
                    <a:lnTo>
                      <a:pt x="108" y="108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56" y="132"/>
                    </a:lnTo>
                    <a:lnTo>
                      <a:pt x="162" y="132"/>
                    </a:lnTo>
                    <a:lnTo>
                      <a:pt x="162" y="156"/>
                    </a:lnTo>
                    <a:lnTo>
                      <a:pt x="156" y="162"/>
                    </a:lnTo>
                    <a:lnTo>
                      <a:pt x="156" y="168"/>
                    </a:lnTo>
                    <a:lnTo>
                      <a:pt x="168" y="174"/>
                    </a:lnTo>
                    <a:lnTo>
                      <a:pt x="162" y="198"/>
                    </a:lnTo>
                    <a:lnTo>
                      <a:pt x="186" y="210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68" y="240"/>
                    </a:lnTo>
                    <a:lnTo>
                      <a:pt x="168" y="246"/>
                    </a:lnTo>
                    <a:lnTo>
                      <a:pt x="180" y="258"/>
                    </a:lnTo>
                    <a:lnTo>
                      <a:pt x="192" y="264"/>
                    </a:lnTo>
                    <a:lnTo>
                      <a:pt x="198" y="270"/>
                    </a:lnTo>
                    <a:lnTo>
                      <a:pt x="210" y="306"/>
                    </a:lnTo>
                    <a:lnTo>
                      <a:pt x="222" y="294"/>
                    </a:lnTo>
                    <a:lnTo>
                      <a:pt x="228" y="294"/>
                    </a:lnTo>
                    <a:lnTo>
                      <a:pt x="234" y="300"/>
                    </a:lnTo>
                    <a:lnTo>
                      <a:pt x="246" y="300"/>
                    </a:lnTo>
                    <a:lnTo>
                      <a:pt x="270" y="324"/>
                    </a:lnTo>
                    <a:lnTo>
                      <a:pt x="270" y="336"/>
                    </a:lnTo>
                    <a:lnTo>
                      <a:pt x="276" y="348"/>
                    </a:lnTo>
                    <a:lnTo>
                      <a:pt x="276" y="354"/>
                    </a:lnTo>
                    <a:lnTo>
                      <a:pt x="264" y="348"/>
                    </a:lnTo>
                    <a:lnTo>
                      <a:pt x="246" y="348"/>
                    </a:lnTo>
                    <a:lnTo>
                      <a:pt x="240" y="354"/>
                    </a:lnTo>
                    <a:lnTo>
                      <a:pt x="234" y="366"/>
                    </a:lnTo>
                    <a:lnTo>
                      <a:pt x="228" y="372"/>
                    </a:lnTo>
                    <a:lnTo>
                      <a:pt x="222" y="384"/>
                    </a:lnTo>
                    <a:lnTo>
                      <a:pt x="216" y="390"/>
                    </a:lnTo>
                    <a:lnTo>
                      <a:pt x="180" y="420"/>
                    </a:lnTo>
                    <a:lnTo>
                      <a:pt x="144" y="432"/>
                    </a:lnTo>
                    <a:lnTo>
                      <a:pt x="138" y="438"/>
                    </a:lnTo>
                    <a:lnTo>
                      <a:pt x="126" y="444"/>
                    </a:lnTo>
                    <a:lnTo>
                      <a:pt x="120" y="456"/>
                    </a:lnTo>
                    <a:lnTo>
                      <a:pt x="120" y="462"/>
                    </a:lnTo>
                    <a:lnTo>
                      <a:pt x="108" y="474"/>
                    </a:lnTo>
                    <a:lnTo>
                      <a:pt x="90" y="474"/>
                    </a:lnTo>
                    <a:lnTo>
                      <a:pt x="66" y="504"/>
                    </a:lnTo>
                    <a:lnTo>
                      <a:pt x="66" y="534"/>
                    </a:lnTo>
                    <a:lnTo>
                      <a:pt x="72" y="540"/>
                    </a:lnTo>
                    <a:lnTo>
                      <a:pt x="72" y="570"/>
                    </a:lnTo>
                    <a:lnTo>
                      <a:pt x="96" y="588"/>
                    </a:lnTo>
                    <a:lnTo>
                      <a:pt x="96" y="594"/>
                    </a:lnTo>
                    <a:lnTo>
                      <a:pt x="90" y="600"/>
                    </a:lnTo>
                    <a:lnTo>
                      <a:pt x="90" y="612"/>
                    </a:lnTo>
                    <a:lnTo>
                      <a:pt x="84" y="630"/>
                    </a:lnTo>
                    <a:lnTo>
                      <a:pt x="84" y="648"/>
                    </a:lnTo>
                    <a:lnTo>
                      <a:pt x="90" y="654"/>
                    </a:lnTo>
                    <a:lnTo>
                      <a:pt x="96" y="666"/>
                    </a:lnTo>
                    <a:lnTo>
                      <a:pt x="108" y="678"/>
                    </a:lnTo>
                    <a:lnTo>
                      <a:pt x="132" y="690"/>
                    </a:lnTo>
                    <a:lnTo>
                      <a:pt x="174" y="690"/>
                    </a:lnTo>
                    <a:lnTo>
                      <a:pt x="174" y="696"/>
                    </a:lnTo>
                    <a:lnTo>
                      <a:pt x="168" y="702"/>
                    </a:lnTo>
                    <a:lnTo>
                      <a:pt x="168" y="708"/>
                    </a:lnTo>
                    <a:lnTo>
                      <a:pt x="174" y="714"/>
                    </a:lnTo>
                    <a:lnTo>
                      <a:pt x="240" y="714"/>
                    </a:lnTo>
                    <a:lnTo>
                      <a:pt x="252" y="708"/>
                    </a:lnTo>
                    <a:lnTo>
                      <a:pt x="270" y="708"/>
                    </a:lnTo>
                    <a:lnTo>
                      <a:pt x="300" y="696"/>
                    </a:lnTo>
                    <a:lnTo>
                      <a:pt x="336" y="696"/>
                    </a:lnTo>
                    <a:lnTo>
                      <a:pt x="384" y="672"/>
                    </a:lnTo>
                    <a:lnTo>
                      <a:pt x="462" y="672"/>
                    </a:lnTo>
                    <a:lnTo>
                      <a:pt x="456" y="660"/>
                    </a:lnTo>
                    <a:lnTo>
                      <a:pt x="516" y="630"/>
                    </a:lnTo>
                    <a:lnTo>
                      <a:pt x="576" y="570"/>
                    </a:lnTo>
                    <a:lnTo>
                      <a:pt x="582" y="570"/>
                    </a:lnTo>
                    <a:lnTo>
                      <a:pt x="618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30" y="504"/>
                    </a:lnTo>
                    <a:lnTo>
                      <a:pt x="624" y="492"/>
                    </a:lnTo>
                    <a:lnTo>
                      <a:pt x="618" y="486"/>
                    </a:lnTo>
                    <a:lnTo>
                      <a:pt x="612" y="474"/>
                    </a:lnTo>
                    <a:lnTo>
                      <a:pt x="540" y="438"/>
                    </a:lnTo>
                    <a:lnTo>
                      <a:pt x="546" y="438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52" y="396"/>
                    </a:lnTo>
                    <a:lnTo>
                      <a:pt x="528" y="390"/>
                    </a:lnTo>
                    <a:lnTo>
                      <a:pt x="534" y="378"/>
                    </a:lnTo>
                    <a:lnTo>
                      <a:pt x="540" y="372"/>
                    </a:lnTo>
                    <a:lnTo>
                      <a:pt x="540" y="366"/>
                    </a:lnTo>
                    <a:lnTo>
                      <a:pt x="534" y="360"/>
                    </a:lnTo>
                    <a:lnTo>
                      <a:pt x="528" y="360"/>
                    </a:lnTo>
                    <a:lnTo>
                      <a:pt x="522" y="354"/>
                    </a:lnTo>
                    <a:lnTo>
                      <a:pt x="510" y="354"/>
                    </a:lnTo>
                    <a:lnTo>
                      <a:pt x="510" y="342"/>
                    </a:lnTo>
                    <a:lnTo>
                      <a:pt x="498" y="330"/>
                    </a:lnTo>
                    <a:lnTo>
                      <a:pt x="504" y="300"/>
                    </a:lnTo>
                    <a:lnTo>
                      <a:pt x="510" y="300"/>
                    </a:lnTo>
                    <a:lnTo>
                      <a:pt x="522" y="306"/>
                    </a:lnTo>
                    <a:lnTo>
                      <a:pt x="534" y="306"/>
                    </a:lnTo>
                    <a:lnTo>
                      <a:pt x="540" y="300"/>
                    </a:lnTo>
                    <a:lnTo>
                      <a:pt x="540" y="294"/>
                    </a:lnTo>
                    <a:lnTo>
                      <a:pt x="534" y="288"/>
                    </a:lnTo>
                    <a:lnTo>
                      <a:pt x="522" y="282"/>
                    </a:lnTo>
                    <a:lnTo>
                      <a:pt x="498" y="258"/>
                    </a:lnTo>
                    <a:lnTo>
                      <a:pt x="486" y="252"/>
                    </a:lnTo>
                    <a:lnTo>
                      <a:pt x="480" y="240"/>
                    </a:lnTo>
                    <a:lnTo>
                      <a:pt x="468" y="234"/>
                    </a:lnTo>
                    <a:lnTo>
                      <a:pt x="450" y="216"/>
                    </a:lnTo>
                    <a:lnTo>
                      <a:pt x="456" y="210"/>
                    </a:lnTo>
                    <a:lnTo>
                      <a:pt x="468" y="204"/>
                    </a:lnTo>
                    <a:lnTo>
                      <a:pt x="474" y="204"/>
                    </a:lnTo>
                    <a:lnTo>
                      <a:pt x="474" y="192"/>
                    </a:lnTo>
                    <a:lnTo>
                      <a:pt x="480" y="192"/>
                    </a:lnTo>
                    <a:lnTo>
                      <a:pt x="492" y="186"/>
                    </a:lnTo>
                    <a:lnTo>
                      <a:pt x="498" y="186"/>
                    </a:lnTo>
                    <a:lnTo>
                      <a:pt x="498" y="174"/>
                    </a:lnTo>
                    <a:lnTo>
                      <a:pt x="450" y="126"/>
                    </a:lnTo>
                    <a:lnTo>
                      <a:pt x="432" y="126"/>
                    </a:lnTo>
                    <a:lnTo>
                      <a:pt x="426" y="132"/>
                    </a:lnTo>
                    <a:lnTo>
                      <a:pt x="420" y="132"/>
                    </a:lnTo>
                    <a:lnTo>
                      <a:pt x="414" y="126"/>
                    </a:lnTo>
                    <a:lnTo>
                      <a:pt x="414" y="120"/>
                    </a:lnTo>
                    <a:lnTo>
                      <a:pt x="408" y="108"/>
                    </a:lnTo>
                    <a:lnTo>
                      <a:pt x="408" y="96"/>
                    </a:lnTo>
                    <a:lnTo>
                      <a:pt x="426" y="96"/>
                    </a:lnTo>
                    <a:lnTo>
                      <a:pt x="426" y="90"/>
                    </a:lnTo>
                    <a:lnTo>
                      <a:pt x="414" y="78"/>
                    </a:lnTo>
                    <a:lnTo>
                      <a:pt x="420" y="54"/>
                    </a:lnTo>
                    <a:lnTo>
                      <a:pt x="426" y="54"/>
                    </a:lnTo>
                    <a:lnTo>
                      <a:pt x="426" y="60"/>
                    </a:lnTo>
                    <a:lnTo>
                      <a:pt x="432" y="60"/>
                    </a:lnTo>
                    <a:lnTo>
                      <a:pt x="432" y="42"/>
                    </a:lnTo>
                    <a:lnTo>
                      <a:pt x="426" y="30"/>
                    </a:lnTo>
                    <a:lnTo>
                      <a:pt x="414" y="18"/>
                    </a:lnTo>
                    <a:lnTo>
                      <a:pt x="408" y="18"/>
                    </a:lnTo>
                    <a:lnTo>
                      <a:pt x="372" y="12"/>
                    </a:lnTo>
                    <a:lnTo>
                      <a:pt x="372" y="0"/>
                    </a:lnTo>
                    <a:lnTo>
                      <a:pt x="336" y="0"/>
                    </a:lnTo>
                    <a:lnTo>
                      <a:pt x="324" y="6"/>
                    </a:lnTo>
                    <a:lnTo>
                      <a:pt x="294" y="6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64" y="18"/>
                    </a:lnTo>
                    <a:lnTo>
                      <a:pt x="264" y="30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28" y="8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204" y="90"/>
                    </a:lnTo>
                    <a:lnTo>
                      <a:pt x="192" y="84"/>
                    </a:lnTo>
                    <a:lnTo>
                      <a:pt x="162" y="8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3" name="Est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4F854B2-C886-0461-C79E-AA51DA91062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24807" y="1780733"/>
                <a:ext cx="156086" cy="69184"/>
              </a:xfrm>
              <a:custGeom>
                <a:avLst/>
                <a:gdLst>
                  <a:gd name="T0" fmla="*/ 2147483647 w 348"/>
                  <a:gd name="T1" fmla="*/ 2147483647 h 156"/>
                  <a:gd name="T2" fmla="*/ 2147483647 w 348"/>
                  <a:gd name="T3" fmla="*/ 2147483647 h 156"/>
                  <a:gd name="T4" fmla="*/ 2147483647 w 348"/>
                  <a:gd name="T5" fmla="*/ 2147483647 h 156"/>
                  <a:gd name="T6" fmla="*/ 2147483647 w 348"/>
                  <a:gd name="T7" fmla="*/ 2147483647 h 156"/>
                  <a:gd name="T8" fmla="*/ 2147483647 w 348"/>
                  <a:gd name="T9" fmla="*/ 2147483647 h 156"/>
                  <a:gd name="T10" fmla="*/ 2147483647 w 348"/>
                  <a:gd name="T11" fmla="*/ 2147483647 h 156"/>
                  <a:gd name="T12" fmla="*/ 2147483647 w 348"/>
                  <a:gd name="T13" fmla="*/ 2147483647 h 156"/>
                  <a:gd name="T14" fmla="*/ 2147483647 w 348"/>
                  <a:gd name="T15" fmla="*/ 0 h 156"/>
                  <a:gd name="T16" fmla="*/ 2147483647 w 348"/>
                  <a:gd name="T17" fmla="*/ 2147483647 h 156"/>
                  <a:gd name="T18" fmla="*/ 2147483647 w 348"/>
                  <a:gd name="T19" fmla="*/ 2147483647 h 156"/>
                  <a:gd name="T20" fmla="*/ 2147483647 w 348"/>
                  <a:gd name="T21" fmla="*/ 2147483647 h 156"/>
                  <a:gd name="T22" fmla="*/ 2147483647 w 348"/>
                  <a:gd name="T23" fmla="*/ 2147483647 h 156"/>
                  <a:gd name="T24" fmla="*/ 2147483647 w 348"/>
                  <a:gd name="T25" fmla="*/ 2147483647 h 156"/>
                  <a:gd name="T26" fmla="*/ 2147483647 w 348"/>
                  <a:gd name="T27" fmla="*/ 2147483647 h 156"/>
                  <a:gd name="T28" fmla="*/ 2147483647 w 348"/>
                  <a:gd name="T29" fmla="*/ 2147483647 h 156"/>
                  <a:gd name="T30" fmla="*/ 2147483647 w 348"/>
                  <a:gd name="T31" fmla="*/ 2147483647 h 156"/>
                  <a:gd name="T32" fmla="*/ 2147483647 w 348"/>
                  <a:gd name="T33" fmla="*/ 2147483647 h 156"/>
                  <a:gd name="T34" fmla="*/ 2147483647 w 348"/>
                  <a:gd name="T35" fmla="*/ 2147483647 h 156"/>
                  <a:gd name="T36" fmla="*/ 2147483647 w 348"/>
                  <a:gd name="T37" fmla="*/ 2147483647 h 156"/>
                  <a:gd name="T38" fmla="*/ 2147483647 w 348"/>
                  <a:gd name="T39" fmla="*/ 2147483647 h 156"/>
                  <a:gd name="T40" fmla="*/ 2147483647 w 348"/>
                  <a:gd name="T41" fmla="*/ 2147483647 h 156"/>
                  <a:gd name="T42" fmla="*/ 2147483647 w 348"/>
                  <a:gd name="T43" fmla="*/ 2147483647 h 156"/>
                  <a:gd name="T44" fmla="*/ 2147483647 w 348"/>
                  <a:gd name="T45" fmla="*/ 2147483647 h 156"/>
                  <a:gd name="T46" fmla="*/ 2147483647 w 348"/>
                  <a:gd name="T47" fmla="*/ 2147483647 h 156"/>
                  <a:gd name="T48" fmla="*/ 0 w 348"/>
                  <a:gd name="T49" fmla="*/ 2147483647 h 156"/>
                  <a:gd name="T50" fmla="*/ 2147483647 w 348"/>
                  <a:gd name="T51" fmla="*/ 2147483647 h 156"/>
                  <a:gd name="T52" fmla="*/ 2147483647 w 348"/>
                  <a:gd name="T53" fmla="*/ 2147483647 h 156"/>
                  <a:gd name="T54" fmla="*/ 2147483647 w 348"/>
                  <a:gd name="T55" fmla="*/ 2147483647 h 156"/>
                  <a:gd name="T56" fmla="*/ 2147483647 w 348"/>
                  <a:gd name="T57" fmla="*/ 2147483647 h 156"/>
                  <a:gd name="T58" fmla="*/ 2147483647 w 348"/>
                  <a:gd name="T59" fmla="*/ 2147483647 h 156"/>
                  <a:gd name="T60" fmla="*/ 2147483647 w 348"/>
                  <a:gd name="T61" fmla="*/ 2147483647 h 156"/>
                  <a:gd name="T62" fmla="*/ 2147483647 w 348"/>
                  <a:gd name="T63" fmla="*/ 2147483647 h 156"/>
                  <a:gd name="T64" fmla="*/ 2147483647 w 348"/>
                  <a:gd name="T65" fmla="*/ 2147483647 h 156"/>
                  <a:gd name="T66" fmla="*/ 2147483647 w 348"/>
                  <a:gd name="T67" fmla="*/ 2147483647 h 156"/>
                  <a:gd name="T68" fmla="*/ 2147483647 w 348"/>
                  <a:gd name="T69" fmla="*/ 2147483647 h 156"/>
                  <a:gd name="T70" fmla="*/ 2147483647 w 348"/>
                  <a:gd name="T71" fmla="*/ 2147483647 h 15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8"/>
                  <a:gd name="T109" fmla="*/ 0 h 156"/>
                  <a:gd name="T110" fmla="*/ 348 w 348"/>
                  <a:gd name="T111" fmla="*/ 156 h 15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8" h="156">
                    <a:moveTo>
                      <a:pt x="336" y="114"/>
                    </a:moveTo>
                    <a:lnTo>
                      <a:pt x="324" y="108"/>
                    </a:lnTo>
                    <a:lnTo>
                      <a:pt x="336" y="84"/>
                    </a:lnTo>
                    <a:lnTo>
                      <a:pt x="318" y="78"/>
                    </a:lnTo>
                    <a:lnTo>
                      <a:pt x="318" y="60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2" y="42"/>
                    </a:lnTo>
                    <a:lnTo>
                      <a:pt x="336" y="30"/>
                    </a:lnTo>
                    <a:lnTo>
                      <a:pt x="342" y="18"/>
                    </a:lnTo>
                    <a:lnTo>
                      <a:pt x="330" y="12"/>
                    </a:lnTo>
                    <a:lnTo>
                      <a:pt x="312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04" y="0"/>
                    </a:lnTo>
                    <a:lnTo>
                      <a:pt x="192" y="6"/>
                    </a:lnTo>
                    <a:lnTo>
                      <a:pt x="156" y="6"/>
                    </a:lnTo>
                    <a:lnTo>
                      <a:pt x="150" y="12"/>
                    </a:lnTo>
                    <a:lnTo>
                      <a:pt x="126" y="24"/>
                    </a:lnTo>
                    <a:lnTo>
                      <a:pt x="108" y="30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90" y="60"/>
                    </a:lnTo>
                    <a:lnTo>
                      <a:pt x="90" y="72"/>
                    </a:lnTo>
                    <a:lnTo>
                      <a:pt x="96" y="78"/>
                    </a:lnTo>
                    <a:lnTo>
                      <a:pt x="96" y="84"/>
                    </a:lnTo>
                    <a:lnTo>
                      <a:pt x="150" y="90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80" y="114"/>
                    </a:lnTo>
                    <a:lnTo>
                      <a:pt x="210" y="114"/>
                    </a:lnTo>
                    <a:lnTo>
                      <a:pt x="234" y="126"/>
                    </a:lnTo>
                    <a:lnTo>
                      <a:pt x="240" y="132"/>
                    </a:lnTo>
                    <a:lnTo>
                      <a:pt x="252" y="138"/>
                    </a:lnTo>
                    <a:lnTo>
                      <a:pt x="270" y="156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50"/>
                    </a:lnTo>
                    <a:lnTo>
                      <a:pt x="318" y="156"/>
                    </a:lnTo>
                    <a:lnTo>
                      <a:pt x="330" y="156"/>
                    </a:lnTo>
                    <a:lnTo>
                      <a:pt x="330" y="144"/>
                    </a:lnTo>
                    <a:lnTo>
                      <a:pt x="348" y="132"/>
                    </a:lnTo>
                    <a:lnTo>
                      <a:pt x="336" y="114"/>
                    </a:lnTo>
                    <a:close/>
                    <a:moveTo>
                      <a:pt x="36" y="78"/>
                    </a:moveTo>
                    <a:lnTo>
                      <a:pt x="6" y="78"/>
                    </a:lnTo>
                    <a:lnTo>
                      <a:pt x="0" y="84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18" y="132"/>
                    </a:lnTo>
                    <a:lnTo>
                      <a:pt x="24" y="126"/>
                    </a:lnTo>
                    <a:lnTo>
                      <a:pt x="30" y="114"/>
                    </a:lnTo>
                    <a:lnTo>
                      <a:pt x="42" y="108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72" y="96"/>
                    </a:lnTo>
                    <a:lnTo>
                      <a:pt x="78" y="90"/>
                    </a:lnTo>
                    <a:lnTo>
                      <a:pt x="72" y="72"/>
                    </a:lnTo>
                    <a:lnTo>
                      <a:pt x="36" y="78"/>
                    </a:lnTo>
                    <a:close/>
                    <a:moveTo>
                      <a:pt x="36" y="66"/>
                    </a:moveTo>
                    <a:lnTo>
                      <a:pt x="48" y="66"/>
                    </a:lnTo>
                    <a:lnTo>
                      <a:pt x="54" y="54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36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24" y="60"/>
                    </a:lnTo>
                    <a:lnTo>
                      <a:pt x="30" y="66"/>
                    </a:lnTo>
                    <a:lnTo>
                      <a:pt x="36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4" name="Denmark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7C32CF4-CF7F-C768-D0CC-28E9CD10B2C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66519" y="1846368"/>
                <a:ext cx="124159" cy="106437"/>
              </a:xfrm>
              <a:custGeom>
                <a:avLst/>
                <a:gdLst>
                  <a:gd name="T0" fmla="*/ 2147483647 w 71"/>
                  <a:gd name="T1" fmla="*/ 2147483647 h 60"/>
                  <a:gd name="T2" fmla="*/ 2147483647 w 71"/>
                  <a:gd name="T3" fmla="*/ 2147483647 h 60"/>
                  <a:gd name="T4" fmla="*/ 2147483647 w 71"/>
                  <a:gd name="T5" fmla="*/ 2147483647 h 60"/>
                  <a:gd name="T6" fmla="*/ 2147483647 w 71"/>
                  <a:gd name="T7" fmla="*/ 2147483647 h 60"/>
                  <a:gd name="T8" fmla="*/ 2147483647 w 71"/>
                  <a:gd name="T9" fmla="*/ 2147483647 h 60"/>
                  <a:gd name="T10" fmla="*/ 2147483647 w 71"/>
                  <a:gd name="T11" fmla="*/ 2147483647 h 60"/>
                  <a:gd name="T12" fmla="*/ 2147483647 w 71"/>
                  <a:gd name="T13" fmla="*/ 2147483647 h 60"/>
                  <a:gd name="T14" fmla="*/ 2147483647 w 71"/>
                  <a:gd name="T15" fmla="*/ 2147483647 h 60"/>
                  <a:gd name="T16" fmla="*/ 2147483647 w 71"/>
                  <a:gd name="T17" fmla="*/ 2147483647 h 60"/>
                  <a:gd name="T18" fmla="*/ 2147483647 w 71"/>
                  <a:gd name="T19" fmla="*/ 2147483647 h 60"/>
                  <a:gd name="T20" fmla="*/ 2147483647 w 71"/>
                  <a:gd name="T21" fmla="*/ 2147483647 h 60"/>
                  <a:gd name="T22" fmla="*/ 2147483647 w 71"/>
                  <a:gd name="T23" fmla="*/ 2147483647 h 60"/>
                  <a:gd name="T24" fmla="*/ 2147483647 w 71"/>
                  <a:gd name="T25" fmla="*/ 2147483647 h 60"/>
                  <a:gd name="T26" fmla="*/ 2147483647 w 71"/>
                  <a:gd name="T27" fmla="*/ 2147483647 h 60"/>
                  <a:gd name="T28" fmla="*/ 2147483647 w 71"/>
                  <a:gd name="T29" fmla="*/ 2147483647 h 60"/>
                  <a:gd name="T30" fmla="*/ 2147483647 w 71"/>
                  <a:gd name="T31" fmla="*/ 2147483647 h 60"/>
                  <a:gd name="T32" fmla="*/ 2147483647 w 71"/>
                  <a:gd name="T33" fmla="*/ 2147483647 h 60"/>
                  <a:gd name="T34" fmla="*/ 2147483647 w 71"/>
                  <a:gd name="T35" fmla="*/ 2147483647 h 60"/>
                  <a:gd name="T36" fmla="*/ 2147483647 w 71"/>
                  <a:gd name="T37" fmla="*/ 2147483647 h 60"/>
                  <a:gd name="T38" fmla="*/ 2147483647 w 71"/>
                  <a:gd name="T39" fmla="*/ 2147483647 h 60"/>
                  <a:gd name="T40" fmla="*/ 2147483647 w 71"/>
                  <a:gd name="T41" fmla="*/ 2147483647 h 60"/>
                  <a:gd name="T42" fmla="*/ 2147483647 w 71"/>
                  <a:gd name="T43" fmla="*/ 2147483647 h 60"/>
                  <a:gd name="T44" fmla="*/ 2147483647 w 71"/>
                  <a:gd name="T45" fmla="*/ 2147483647 h 60"/>
                  <a:gd name="T46" fmla="*/ 2147483647 w 71"/>
                  <a:gd name="T47" fmla="*/ 2147483647 h 60"/>
                  <a:gd name="T48" fmla="*/ 2147483647 w 71"/>
                  <a:gd name="T49" fmla="*/ 2147483647 h 60"/>
                  <a:gd name="T50" fmla="*/ 2147483647 w 71"/>
                  <a:gd name="T51" fmla="*/ 2147483647 h 60"/>
                  <a:gd name="T52" fmla="*/ 2147483647 w 71"/>
                  <a:gd name="T53" fmla="*/ 2147483647 h 60"/>
                  <a:gd name="T54" fmla="*/ 2147483647 w 71"/>
                  <a:gd name="T55" fmla="*/ 2147483647 h 60"/>
                  <a:gd name="T56" fmla="*/ 2147483647 w 71"/>
                  <a:gd name="T57" fmla="*/ 2147483647 h 60"/>
                  <a:gd name="T58" fmla="*/ 2147483647 w 71"/>
                  <a:gd name="T59" fmla="*/ 2147483647 h 60"/>
                  <a:gd name="T60" fmla="*/ 2147483647 w 71"/>
                  <a:gd name="T61" fmla="*/ 2147483647 h 60"/>
                  <a:gd name="T62" fmla="*/ 2147483647 w 71"/>
                  <a:gd name="T63" fmla="*/ 0 h 60"/>
                  <a:gd name="T64" fmla="*/ 2147483647 w 71"/>
                  <a:gd name="T65" fmla="*/ 2147483647 h 60"/>
                  <a:gd name="T66" fmla="*/ 2147483647 w 71"/>
                  <a:gd name="T67" fmla="*/ 2147483647 h 60"/>
                  <a:gd name="T68" fmla="*/ 2147483647 w 71"/>
                  <a:gd name="T69" fmla="*/ 2147483647 h 60"/>
                  <a:gd name="T70" fmla="*/ 2147483647 w 71"/>
                  <a:gd name="T71" fmla="*/ 2147483647 h 60"/>
                  <a:gd name="T72" fmla="*/ 2147483647 w 71"/>
                  <a:gd name="T73" fmla="*/ 2147483647 h 60"/>
                  <a:gd name="T74" fmla="*/ 2147483647 w 71"/>
                  <a:gd name="T75" fmla="*/ 2147483647 h 60"/>
                  <a:gd name="T76" fmla="*/ 2147483647 w 71"/>
                  <a:gd name="T77" fmla="*/ 2147483647 h 60"/>
                  <a:gd name="T78" fmla="*/ 2147483647 w 71"/>
                  <a:gd name="T79" fmla="*/ 2147483647 h 60"/>
                  <a:gd name="T80" fmla="*/ 2147483647 w 71"/>
                  <a:gd name="T81" fmla="*/ 2147483647 h 60"/>
                  <a:gd name="T82" fmla="*/ 0 w 71"/>
                  <a:gd name="T83" fmla="*/ 2147483647 h 60"/>
                  <a:gd name="T84" fmla="*/ 0 w 71"/>
                  <a:gd name="T85" fmla="*/ 2147483647 h 60"/>
                  <a:gd name="T86" fmla="*/ 2147483647 w 71"/>
                  <a:gd name="T87" fmla="*/ 2147483647 h 60"/>
                  <a:gd name="T88" fmla="*/ 2147483647 w 71"/>
                  <a:gd name="T89" fmla="*/ 2147483647 h 60"/>
                  <a:gd name="T90" fmla="*/ 2147483647 w 71"/>
                  <a:gd name="T91" fmla="*/ 2147483647 h 60"/>
                  <a:gd name="T92" fmla="*/ 2147483647 w 71"/>
                  <a:gd name="T93" fmla="*/ 2147483647 h 60"/>
                  <a:gd name="T94" fmla="*/ 2147483647 w 71"/>
                  <a:gd name="T95" fmla="*/ 2147483647 h 60"/>
                  <a:gd name="T96" fmla="*/ 2147483647 w 71"/>
                  <a:gd name="T97" fmla="*/ 2147483647 h 60"/>
                  <a:gd name="T98" fmla="*/ 2147483647 w 71"/>
                  <a:gd name="T99" fmla="*/ 2147483647 h 60"/>
                  <a:gd name="T100" fmla="*/ 2147483647 w 71"/>
                  <a:gd name="T101" fmla="*/ 2147483647 h 60"/>
                  <a:gd name="T102" fmla="*/ 2147483647 w 71"/>
                  <a:gd name="T103" fmla="*/ 2147483647 h 60"/>
                  <a:gd name="T104" fmla="*/ 2147483647 w 71"/>
                  <a:gd name="T105" fmla="*/ 2147483647 h 60"/>
                  <a:gd name="T106" fmla="*/ 2147483647 w 71"/>
                  <a:gd name="T107" fmla="*/ 2147483647 h 60"/>
                  <a:gd name="T108" fmla="*/ 2147483647 w 71"/>
                  <a:gd name="T109" fmla="*/ 2147483647 h 60"/>
                  <a:gd name="T110" fmla="*/ 2147483647 w 71"/>
                  <a:gd name="T111" fmla="*/ 2147483647 h 60"/>
                  <a:gd name="T112" fmla="*/ 2147483647 w 71"/>
                  <a:gd name="T113" fmla="*/ 2147483647 h 60"/>
                  <a:gd name="T114" fmla="*/ 2147483647 w 71"/>
                  <a:gd name="T115" fmla="*/ 2147483647 h 60"/>
                  <a:gd name="T116" fmla="*/ 2147483647 w 71"/>
                  <a:gd name="T117" fmla="*/ 2147483647 h 60"/>
                  <a:gd name="T118" fmla="*/ 2147483647 w 71"/>
                  <a:gd name="T119" fmla="*/ 2147483647 h 60"/>
                  <a:gd name="T120" fmla="*/ 2147483647 w 71"/>
                  <a:gd name="T121" fmla="*/ 2147483647 h 6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1"/>
                  <a:gd name="T184" fmla="*/ 0 h 60"/>
                  <a:gd name="T185" fmla="*/ 71 w 71"/>
                  <a:gd name="T186" fmla="*/ 60 h 6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1" h="60">
                    <a:moveTo>
                      <a:pt x="62" y="48"/>
                    </a:moveTo>
                    <a:lnTo>
                      <a:pt x="67" y="46"/>
                    </a:lnTo>
                    <a:lnTo>
                      <a:pt x="69" y="46"/>
                    </a:lnTo>
                    <a:lnTo>
                      <a:pt x="69" y="43"/>
                    </a:lnTo>
                    <a:lnTo>
                      <a:pt x="67" y="43"/>
                    </a:lnTo>
                    <a:lnTo>
                      <a:pt x="62" y="41"/>
                    </a:lnTo>
                    <a:lnTo>
                      <a:pt x="62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7" y="34"/>
                    </a:lnTo>
                    <a:lnTo>
                      <a:pt x="67" y="29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60" y="31"/>
                    </a:lnTo>
                    <a:lnTo>
                      <a:pt x="60" y="34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45" y="38"/>
                    </a:lnTo>
                    <a:lnTo>
                      <a:pt x="48" y="38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60" y="53"/>
                    </a:lnTo>
                    <a:lnTo>
                      <a:pt x="60" y="55"/>
                    </a:lnTo>
                    <a:lnTo>
                      <a:pt x="62" y="55"/>
                    </a:lnTo>
                    <a:lnTo>
                      <a:pt x="62" y="53"/>
                    </a:lnTo>
                    <a:lnTo>
                      <a:pt x="62" y="48"/>
                    </a:lnTo>
                    <a:close/>
                    <a:moveTo>
                      <a:pt x="71" y="53"/>
                    </a:moveTo>
                    <a:lnTo>
                      <a:pt x="62" y="55"/>
                    </a:lnTo>
                    <a:lnTo>
                      <a:pt x="60" y="58"/>
                    </a:lnTo>
                    <a:lnTo>
                      <a:pt x="57" y="58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0" y="53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2" y="58"/>
                    </a:lnTo>
                    <a:lnTo>
                      <a:pt x="55" y="60"/>
                    </a:lnTo>
                    <a:lnTo>
                      <a:pt x="57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9" y="58"/>
                    </a:lnTo>
                    <a:lnTo>
                      <a:pt x="71" y="58"/>
                    </a:lnTo>
                    <a:lnTo>
                      <a:pt x="71" y="53"/>
                    </a:lnTo>
                    <a:close/>
                    <a:moveTo>
                      <a:pt x="31" y="12"/>
                    </a:moveTo>
                    <a:lnTo>
                      <a:pt x="36" y="7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26" y="0"/>
                    </a:lnTo>
                    <a:lnTo>
                      <a:pt x="26" y="3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9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2" y="22"/>
                    </a:lnTo>
                    <a:lnTo>
                      <a:pt x="5" y="19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5" y="43"/>
                    </a:lnTo>
                    <a:lnTo>
                      <a:pt x="7" y="43"/>
                    </a:lnTo>
                    <a:lnTo>
                      <a:pt x="7" y="48"/>
                    </a:lnTo>
                    <a:lnTo>
                      <a:pt x="5" y="53"/>
                    </a:lnTo>
                    <a:lnTo>
                      <a:pt x="7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4" y="55"/>
                    </a:lnTo>
                    <a:lnTo>
                      <a:pt x="26" y="58"/>
                    </a:lnTo>
                    <a:lnTo>
                      <a:pt x="26" y="55"/>
                    </a:lnTo>
                    <a:lnTo>
                      <a:pt x="24" y="53"/>
                    </a:lnTo>
                    <a:lnTo>
                      <a:pt x="24" y="48"/>
                    </a:lnTo>
                    <a:lnTo>
                      <a:pt x="26" y="43"/>
                    </a:lnTo>
                    <a:lnTo>
                      <a:pt x="24" y="41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31" y="34"/>
                    </a:lnTo>
                    <a:lnTo>
                      <a:pt x="33" y="26"/>
                    </a:lnTo>
                    <a:lnTo>
                      <a:pt x="38" y="26"/>
                    </a:lnTo>
                    <a:lnTo>
                      <a:pt x="41" y="19"/>
                    </a:lnTo>
                    <a:lnTo>
                      <a:pt x="31" y="19"/>
                    </a:lnTo>
                    <a:lnTo>
                      <a:pt x="31" y="12"/>
                    </a:lnTo>
                    <a:close/>
                    <a:moveTo>
                      <a:pt x="29" y="38"/>
                    </a:moveTo>
                    <a:lnTo>
                      <a:pt x="31" y="48"/>
                    </a:lnTo>
                    <a:lnTo>
                      <a:pt x="36" y="53"/>
                    </a:lnTo>
                    <a:lnTo>
                      <a:pt x="38" y="46"/>
                    </a:lnTo>
                    <a:lnTo>
                      <a:pt x="33" y="41"/>
                    </a:lnTo>
                    <a:lnTo>
                      <a:pt x="29" y="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5" name="Czech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0772BBB-45FE-B4FA-4FBB-1C2E594C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76489" y="2073433"/>
                <a:ext cx="189786" cy="86923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6" name="Cyp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4EBADAC-EDDD-E8EC-BDF9-708191EF78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86643" y="2623355"/>
                <a:ext cx="67401" cy="39028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7" name="Croat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09D3A5A-A00D-2914-6D1D-1B5B82FFA5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22606" y="2233088"/>
                <a:ext cx="164954" cy="124176"/>
              </a:xfrm>
              <a:custGeom>
                <a:avLst/>
                <a:gdLst>
                  <a:gd name="T0" fmla="*/ 2147483647 w 366"/>
                  <a:gd name="T1" fmla="*/ 2147483647 h 276"/>
                  <a:gd name="T2" fmla="*/ 2147483647 w 366"/>
                  <a:gd name="T3" fmla="*/ 2147483647 h 276"/>
                  <a:gd name="T4" fmla="*/ 2147483647 w 366"/>
                  <a:gd name="T5" fmla="*/ 2147483647 h 276"/>
                  <a:gd name="T6" fmla="*/ 2147483647 w 366"/>
                  <a:gd name="T7" fmla="*/ 2147483647 h 276"/>
                  <a:gd name="T8" fmla="*/ 2147483647 w 366"/>
                  <a:gd name="T9" fmla="*/ 2147483647 h 276"/>
                  <a:gd name="T10" fmla="*/ 2147483647 w 366"/>
                  <a:gd name="T11" fmla="*/ 2147483647 h 276"/>
                  <a:gd name="T12" fmla="*/ 2147483647 w 366"/>
                  <a:gd name="T13" fmla="*/ 2147483647 h 276"/>
                  <a:gd name="T14" fmla="*/ 2147483647 w 366"/>
                  <a:gd name="T15" fmla="*/ 2147483647 h 276"/>
                  <a:gd name="T16" fmla="*/ 2147483647 w 366"/>
                  <a:gd name="T17" fmla="*/ 2147483647 h 276"/>
                  <a:gd name="T18" fmla="*/ 2147483647 w 366"/>
                  <a:gd name="T19" fmla="*/ 2147483647 h 276"/>
                  <a:gd name="T20" fmla="*/ 2147483647 w 366"/>
                  <a:gd name="T21" fmla="*/ 2147483647 h 276"/>
                  <a:gd name="T22" fmla="*/ 2147483647 w 366"/>
                  <a:gd name="T23" fmla="*/ 0 h 276"/>
                  <a:gd name="T24" fmla="*/ 2147483647 w 366"/>
                  <a:gd name="T25" fmla="*/ 2147483647 h 276"/>
                  <a:gd name="T26" fmla="*/ 2147483647 w 366"/>
                  <a:gd name="T27" fmla="*/ 2147483647 h 276"/>
                  <a:gd name="T28" fmla="*/ 2147483647 w 366"/>
                  <a:gd name="T29" fmla="*/ 2147483647 h 276"/>
                  <a:gd name="T30" fmla="*/ 2147483647 w 366"/>
                  <a:gd name="T31" fmla="*/ 2147483647 h 276"/>
                  <a:gd name="T32" fmla="*/ 2147483647 w 366"/>
                  <a:gd name="T33" fmla="*/ 2147483647 h 276"/>
                  <a:gd name="T34" fmla="*/ 2147483647 w 366"/>
                  <a:gd name="T35" fmla="*/ 2147483647 h 276"/>
                  <a:gd name="T36" fmla="*/ 2147483647 w 366"/>
                  <a:gd name="T37" fmla="*/ 2147483647 h 276"/>
                  <a:gd name="T38" fmla="*/ 2147483647 w 366"/>
                  <a:gd name="T39" fmla="*/ 2147483647 h 276"/>
                  <a:gd name="T40" fmla="*/ 0 w 366"/>
                  <a:gd name="T41" fmla="*/ 2147483647 h 276"/>
                  <a:gd name="T42" fmla="*/ 2147483647 w 366"/>
                  <a:gd name="T43" fmla="*/ 2147483647 h 276"/>
                  <a:gd name="T44" fmla="*/ 2147483647 w 366"/>
                  <a:gd name="T45" fmla="*/ 2147483647 h 276"/>
                  <a:gd name="T46" fmla="*/ 2147483647 w 366"/>
                  <a:gd name="T47" fmla="*/ 2147483647 h 276"/>
                  <a:gd name="T48" fmla="*/ 2147483647 w 366"/>
                  <a:gd name="T49" fmla="*/ 2147483647 h 276"/>
                  <a:gd name="T50" fmla="*/ 2147483647 w 366"/>
                  <a:gd name="T51" fmla="*/ 2147483647 h 276"/>
                  <a:gd name="T52" fmla="*/ 2147483647 w 366"/>
                  <a:gd name="T53" fmla="*/ 2147483647 h 276"/>
                  <a:gd name="T54" fmla="*/ 2147483647 w 366"/>
                  <a:gd name="T55" fmla="*/ 2147483647 h 276"/>
                  <a:gd name="T56" fmla="*/ 2147483647 w 366"/>
                  <a:gd name="T57" fmla="*/ 2147483647 h 276"/>
                  <a:gd name="T58" fmla="*/ 2147483647 w 366"/>
                  <a:gd name="T59" fmla="*/ 2147483647 h 276"/>
                  <a:gd name="T60" fmla="*/ 2147483647 w 366"/>
                  <a:gd name="T61" fmla="*/ 2147483647 h 276"/>
                  <a:gd name="T62" fmla="*/ 2147483647 w 366"/>
                  <a:gd name="T63" fmla="*/ 2147483647 h 276"/>
                  <a:gd name="T64" fmla="*/ 2147483647 w 366"/>
                  <a:gd name="T65" fmla="*/ 2147483647 h 276"/>
                  <a:gd name="T66" fmla="*/ 2147483647 w 366"/>
                  <a:gd name="T67" fmla="*/ 2147483647 h 276"/>
                  <a:gd name="T68" fmla="*/ 2147483647 w 366"/>
                  <a:gd name="T69" fmla="*/ 2147483647 h 276"/>
                  <a:gd name="T70" fmla="*/ 2147483647 w 366"/>
                  <a:gd name="T71" fmla="*/ 2147483647 h 276"/>
                  <a:gd name="T72" fmla="*/ 2147483647 w 366"/>
                  <a:gd name="T73" fmla="*/ 2147483647 h 276"/>
                  <a:gd name="T74" fmla="*/ 2147483647 w 366"/>
                  <a:gd name="T75" fmla="*/ 2147483647 h 276"/>
                  <a:gd name="T76" fmla="*/ 2147483647 w 366"/>
                  <a:gd name="T77" fmla="*/ 2147483647 h 276"/>
                  <a:gd name="T78" fmla="*/ 2147483647 w 366"/>
                  <a:gd name="T79" fmla="*/ 2147483647 h 276"/>
                  <a:gd name="T80" fmla="*/ 2147483647 w 366"/>
                  <a:gd name="T81" fmla="*/ 2147483647 h 276"/>
                  <a:gd name="T82" fmla="*/ 2147483647 w 366"/>
                  <a:gd name="T83" fmla="*/ 2147483647 h 276"/>
                  <a:gd name="T84" fmla="*/ 2147483647 w 366"/>
                  <a:gd name="T85" fmla="*/ 2147483647 h 276"/>
                  <a:gd name="T86" fmla="*/ 2147483647 w 366"/>
                  <a:gd name="T87" fmla="*/ 2147483647 h 276"/>
                  <a:gd name="T88" fmla="*/ 2147483647 w 366"/>
                  <a:gd name="T89" fmla="*/ 2147483647 h 276"/>
                  <a:gd name="T90" fmla="*/ 2147483647 w 366"/>
                  <a:gd name="T91" fmla="*/ 2147483647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6"/>
                  <a:gd name="T139" fmla="*/ 0 h 276"/>
                  <a:gd name="T140" fmla="*/ 366 w 366"/>
                  <a:gd name="T141" fmla="*/ 276 h 27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6" h="276">
                    <a:moveTo>
                      <a:pt x="342" y="126"/>
                    </a:moveTo>
                    <a:lnTo>
                      <a:pt x="342" y="114"/>
                    </a:lnTo>
                    <a:lnTo>
                      <a:pt x="348" y="114"/>
                    </a:lnTo>
                    <a:lnTo>
                      <a:pt x="354" y="108"/>
                    </a:lnTo>
                    <a:lnTo>
                      <a:pt x="360" y="108"/>
                    </a:lnTo>
                    <a:lnTo>
                      <a:pt x="366" y="102"/>
                    </a:lnTo>
                    <a:lnTo>
                      <a:pt x="360" y="102"/>
                    </a:lnTo>
                    <a:lnTo>
                      <a:pt x="348" y="96"/>
                    </a:lnTo>
                    <a:lnTo>
                      <a:pt x="336" y="96"/>
                    </a:lnTo>
                    <a:lnTo>
                      <a:pt x="342" y="78"/>
                    </a:lnTo>
                    <a:lnTo>
                      <a:pt x="336" y="78"/>
                    </a:lnTo>
                    <a:lnTo>
                      <a:pt x="330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70" y="60"/>
                    </a:lnTo>
                    <a:lnTo>
                      <a:pt x="264" y="48"/>
                    </a:lnTo>
                    <a:lnTo>
                      <a:pt x="246" y="48"/>
                    </a:lnTo>
                    <a:lnTo>
                      <a:pt x="234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04" y="18"/>
                    </a:lnTo>
                    <a:lnTo>
                      <a:pt x="204" y="12"/>
                    </a:lnTo>
                    <a:lnTo>
                      <a:pt x="198" y="6"/>
                    </a:lnTo>
                    <a:lnTo>
                      <a:pt x="186" y="0"/>
                    </a:lnTo>
                    <a:lnTo>
                      <a:pt x="162" y="0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20" y="18"/>
                    </a:lnTo>
                    <a:lnTo>
                      <a:pt x="120" y="30"/>
                    </a:lnTo>
                    <a:lnTo>
                      <a:pt x="126" y="36"/>
                    </a:lnTo>
                    <a:lnTo>
                      <a:pt x="126" y="42"/>
                    </a:lnTo>
                    <a:lnTo>
                      <a:pt x="114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60" y="78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48" y="78"/>
                    </a:lnTo>
                    <a:lnTo>
                      <a:pt x="30" y="78"/>
                    </a:lnTo>
                    <a:lnTo>
                      <a:pt x="18" y="72"/>
                    </a:lnTo>
                    <a:lnTo>
                      <a:pt x="18" y="84"/>
                    </a:lnTo>
                    <a:lnTo>
                      <a:pt x="0" y="84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12" y="120"/>
                    </a:lnTo>
                    <a:lnTo>
                      <a:pt x="24" y="114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14"/>
                    </a:lnTo>
                    <a:lnTo>
                      <a:pt x="48" y="132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44"/>
                    </a:lnTo>
                    <a:lnTo>
                      <a:pt x="72" y="150"/>
                    </a:lnTo>
                    <a:lnTo>
                      <a:pt x="84" y="162"/>
                    </a:lnTo>
                    <a:lnTo>
                      <a:pt x="96" y="168"/>
                    </a:lnTo>
                    <a:lnTo>
                      <a:pt x="96" y="180"/>
                    </a:lnTo>
                    <a:lnTo>
                      <a:pt x="144" y="216"/>
                    </a:lnTo>
                    <a:lnTo>
                      <a:pt x="144" y="240"/>
                    </a:lnTo>
                    <a:lnTo>
                      <a:pt x="198" y="240"/>
                    </a:lnTo>
                    <a:lnTo>
                      <a:pt x="210" y="246"/>
                    </a:lnTo>
                    <a:lnTo>
                      <a:pt x="216" y="252"/>
                    </a:lnTo>
                    <a:lnTo>
                      <a:pt x="216" y="276"/>
                    </a:lnTo>
                    <a:lnTo>
                      <a:pt x="246" y="276"/>
                    </a:lnTo>
                    <a:lnTo>
                      <a:pt x="252" y="270"/>
                    </a:lnTo>
                    <a:lnTo>
                      <a:pt x="252" y="264"/>
                    </a:lnTo>
                    <a:lnTo>
                      <a:pt x="246" y="252"/>
                    </a:lnTo>
                    <a:lnTo>
                      <a:pt x="234" y="246"/>
                    </a:lnTo>
                    <a:lnTo>
                      <a:pt x="216" y="234"/>
                    </a:lnTo>
                    <a:lnTo>
                      <a:pt x="204" y="228"/>
                    </a:lnTo>
                    <a:lnTo>
                      <a:pt x="192" y="216"/>
                    </a:lnTo>
                    <a:lnTo>
                      <a:pt x="180" y="186"/>
                    </a:lnTo>
                    <a:lnTo>
                      <a:pt x="162" y="180"/>
                    </a:lnTo>
                    <a:lnTo>
                      <a:pt x="162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50" y="144"/>
                    </a:lnTo>
                    <a:lnTo>
                      <a:pt x="132" y="138"/>
                    </a:lnTo>
                    <a:lnTo>
                      <a:pt x="120" y="126"/>
                    </a:lnTo>
                    <a:lnTo>
                      <a:pt x="138" y="120"/>
                    </a:lnTo>
                    <a:lnTo>
                      <a:pt x="138" y="96"/>
                    </a:lnTo>
                    <a:lnTo>
                      <a:pt x="144" y="96"/>
                    </a:lnTo>
                    <a:lnTo>
                      <a:pt x="150" y="102"/>
                    </a:lnTo>
                    <a:lnTo>
                      <a:pt x="162" y="108"/>
                    </a:lnTo>
                    <a:lnTo>
                      <a:pt x="186" y="102"/>
                    </a:lnTo>
                    <a:lnTo>
                      <a:pt x="210" y="102"/>
                    </a:lnTo>
                    <a:lnTo>
                      <a:pt x="228" y="108"/>
                    </a:lnTo>
                    <a:lnTo>
                      <a:pt x="240" y="102"/>
                    </a:lnTo>
                    <a:lnTo>
                      <a:pt x="252" y="102"/>
                    </a:lnTo>
                    <a:lnTo>
                      <a:pt x="258" y="108"/>
                    </a:lnTo>
                    <a:lnTo>
                      <a:pt x="312" y="108"/>
                    </a:lnTo>
                    <a:lnTo>
                      <a:pt x="324" y="126"/>
                    </a:lnTo>
                    <a:lnTo>
                      <a:pt x="342" y="1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8" name="Bulga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1D88A79-3D2D-C6C3-809B-564C569045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8019" y="2316463"/>
                <a:ext cx="177370" cy="101116"/>
              </a:xfrm>
              <a:custGeom>
                <a:avLst/>
                <a:gdLst>
                  <a:gd name="T0" fmla="*/ 2147483647 w 396"/>
                  <a:gd name="T1" fmla="*/ 2147483647 h 228"/>
                  <a:gd name="T2" fmla="*/ 2147483647 w 396"/>
                  <a:gd name="T3" fmla="*/ 2147483647 h 228"/>
                  <a:gd name="T4" fmla="*/ 2147483647 w 396"/>
                  <a:gd name="T5" fmla="*/ 2147483647 h 228"/>
                  <a:gd name="T6" fmla="*/ 2147483647 w 396"/>
                  <a:gd name="T7" fmla="*/ 2147483647 h 228"/>
                  <a:gd name="T8" fmla="*/ 2147483647 w 396"/>
                  <a:gd name="T9" fmla="*/ 2147483647 h 228"/>
                  <a:gd name="T10" fmla="*/ 2147483647 w 396"/>
                  <a:gd name="T11" fmla="*/ 2147483647 h 228"/>
                  <a:gd name="T12" fmla="*/ 2147483647 w 396"/>
                  <a:gd name="T13" fmla="*/ 2147483647 h 228"/>
                  <a:gd name="T14" fmla="*/ 2147483647 w 396"/>
                  <a:gd name="T15" fmla="*/ 0 h 228"/>
                  <a:gd name="T16" fmla="*/ 2147483647 w 396"/>
                  <a:gd name="T17" fmla="*/ 2147483647 h 228"/>
                  <a:gd name="T18" fmla="*/ 2147483647 w 396"/>
                  <a:gd name="T19" fmla="*/ 2147483647 h 228"/>
                  <a:gd name="T20" fmla="*/ 2147483647 w 396"/>
                  <a:gd name="T21" fmla="*/ 2147483647 h 228"/>
                  <a:gd name="T22" fmla="*/ 2147483647 w 396"/>
                  <a:gd name="T23" fmla="*/ 2147483647 h 228"/>
                  <a:gd name="T24" fmla="*/ 2147483647 w 396"/>
                  <a:gd name="T25" fmla="*/ 2147483647 h 228"/>
                  <a:gd name="T26" fmla="*/ 2147483647 w 396"/>
                  <a:gd name="T27" fmla="*/ 2147483647 h 228"/>
                  <a:gd name="T28" fmla="*/ 2147483647 w 396"/>
                  <a:gd name="T29" fmla="*/ 2147483647 h 228"/>
                  <a:gd name="T30" fmla="*/ 2147483647 w 396"/>
                  <a:gd name="T31" fmla="*/ 2147483647 h 228"/>
                  <a:gd name="T32" fmla="*/ 2147483647 w 396"/>
                  <a:gd name="T33" fmla="*/ 2147483647 h 228"/>
                  <a:gd name="T34" fmla="*/ 2147483647 w 396"/>
                  <a:gd name="T35" fmla="*/ 2147483647 h 228"/>
                  <a:gd name="T36" fmla="*/ 2147483647 w 396"/>
                  <a:gd name="T37" fmla="*/ 2147483647 h 228"/>
                  <a:gd name="T38" fmla="*/ 2147483647 w 396"/>
                  <a:gd name="T39" fmla="*/ 2147483647 h 228"/>
                  <a:gd name="T40" fmla="*/ 2147483647 w 396"/>
                  <a:gd name="T41" fmla="*/ 2147483647 h 228"/>
                  <a:gd name="T42" fmla="*/ 2147483647 w 396"/>
                  <a:gd name="T43" fmla="*/ 0 h 228"/>
                  <a:gd name="T44" fmla="*/ 0 w 396"/>
                  <a:gd name="T45" fmla="*/ 2147483647 h 228"/>
                  <a:gd name="T46" fmla="*/ 2147483647 w 396"/>
                  <a:gd name="T47" fmla="*/ 2147483647 h 228"/>
                  <a:gd name="T48" fmla="*/ 2147483647 w 396"/>
                  <a:gd name="T49" fmla="*/ 2147483647 h 228"/>
                  <a:gd name="T50" fmla="*/ 2147483647 w 396"/>
                  <a:gd name="T51" fmla="*/ 2147483647 h 228"/>
                  <a:gd name="T52" fmla="*/ 2147483647 w 396"/>
                  <a:gd name="T53" fmla="*/ 2147483647 h 228"/>
                  <a:gd name="T54" fmla="*/ 2147483647 w 396"/>
                  <a:gd name="T55" fmla="*/ 2147483647 h 228"/>
                  <a:gd name="T56" fmla="*/ 0 w 396"/>
                  <a:gd name="T57" fmla="*/ 2147483647 h 228"/>
                  <a:gd name="T58" fmla="*/ 2147483647 w 396"/>
                  <a:gd name="T59" fmla="*/ 2147483647 h 228"/>
                  <a:gd name="T60" fmla="*/ 2147483647 w 396"/>
                  <a:gd name="T61" fmla="*/ 2147483647 h 228"/>
                  <a:gd name="T62" fmla="*/ 2147483647 w 396"/>
                  <a:gd name="T63" fmla="*/ 2147483647 h 228"/>
                  <a:gd name="T64" fmla="*/ 2147483647 w 396"/>
                  <a:gd name="T65" fmla="*/ 2147483647 h 228"/>
                  <a:gd name="T66" fmla="*/ 2147483647 w 396"/>
                  <a:gd name="T67" fmla="*/ 2147483647 h 228"/>
                  <a:gd name="T68" fmla="*/ 2147483647 w 396"/>
                  <a:gd name="T69" fmla="*/ 2147483647 h 228"/>
                  <a:gd name="T70" fmla="*/ 2147483647 w 396"/>
                  <a:gd name="T71" fmla="*/ 2147483647 h 228"/>
                  <a:gd name="T72" fmla="*/ 2147483647 w 396"/>
                  <a:gd name="T73" fmla="*/ 2147483647 h 228"/>
                  <a:gd name="T74" fmla="*/ 2147483647 w 396"/>
                  <a:gd name="T75" fmla="*/ 2147483647 h 228"/>
                  <a:gd name="T76" fmla="*/ 2147483647 w 396"/>
                  <a:gd name="T77" fmla="*/ 2147483647 h 228"/>
                  <a:gd name="T78" fmla="*/ 2147483647 w 396"/>
                  <a:gd name="T79" fmla="*/ 2147483647 h 228"/>
                  <a:gd name="T80" fmla="*/ 2147483647 w 396"/>
                  <a:gd name="T81" fmla="*/ 2147483647 h 228"/>
                  <a:gd name="T82" fmla="*/ 2147483647 w 396"/>
                  <a:gd name="T83" fmla="*/ 2147483647 h 228"/>
                  <a:gd name="T84" fmla="*/ 2147483647 w 396"/>
                  <a:gd name="T85" fmla="*/ 2147483647 h 228"/>
                  <a:gd name="T86" fmla="*/ 2147483647 w 396"/>
                  <a:gd name="T87" fmla="*/ 2147483647 h 228"/>
                  <a:gd name="T88" fmla="*/ 2147483647 w 396"/>
                  <a:gd name="T89" fmla="*/ 2147483647 h 228"/>
                  <a:gd name="T90" fmla="*/ 2147483647 w 396"/>
                  <a:gd name="T91" fmla="*/ 2147483647 h 228"/>
                  <a:gd name="T92" fmla="*/ 2147483647 w 396"/>
                  <a:gd name="T93" fmla="*/ 2147483647 h 2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228"/>
                  <a:gd name="T143" fmla="*/ 396 w 396"/>
                  <a:gd name="T144" fmla="*/ 228 h 2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228">
                    <a:moveTo>
                      <a:pt x="372" y="168"/>
                    </a:moveTo>
                    <a:lnTo>
                      <a:pt x="336" y="126"/>
                    </a:lnTo>
                    <a:lnTo>
                      <a:pt x="354" y="108"/>
                    </a:lnTo>
                    <a:lnTo>
                      <a:pt x="354" y="78"/>
                    </a:lnTo>
                    <a:lnTo>
                      <a:pt x="360" y="72"/>
                    </a:lnTo>
                    <a:lnTo>
                      <a:pt x="372" y="66"/>
                    </a:lnTo>
                    <a:lnTo>
                      <a:pt x="396" y="66"/>
                    </a:lnTo>
                    <a:lnTo>
                      <a:pt x="396" y="48"/>
                    </a:lnTo>
                    <a:lnTo>
                      <a:pt x="390" y="36"/>
                    </a:lnTo>
                    <a:lnTo>
                      <a:pt x="372" y="36"/>
                    </a:lnTo>
                    <a:lnTo>
                      <a:pt x="348" y="12"/>
                    </a:lnTo>
                    <a:lnTo>
                      <a:pt x="324" y="12"/>
                    </a:lnTo>
                    <a:lnTo>
                      <a:pt x="312" y="6"/>
                    </a:lnTo>
                    <a:lnTo>
                      <a:pt x="300" y="6"/>
                    </a:lnTo>
                    <a:lnTo>
                      <a:pt x="288" y="0"/>
                    </a:lnTo>
                    <a:lnTo>
                      <a:pt x="282" y="0"/>
                    </a:lnTo>
                    <a:lnTo>
                      <a:pt x="282" y="12"/>
                    </a:lnTo>
                    <a:lnTo>
                      <a:pt x="252" y="6"/>
                    </a:lnTo>
                    <a:lnTo>
                      <a:pt x="252" y="12"/>
                    </a:lnTo>
                    <a:lnTo>
                      <a:pt x="246" y="12"/>
                    </a:lnTo>
                    <a:lnTo>
                      <a:pt x="234" y="18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22" y="36"/>
                    </a:lnTo>
                    <a:lnTo>
                      <a:pt x="216" y="42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56" y="30"/>
                    </a:lnTo>
                    <a:lnTo>
                      <a:pt x="138" y="24"/>
                    </a:lnTo>
                    <a:lnTo>
                      <a:pt x="138" y="30"/>
                    </a:lnTo>
                    <a:lnTo>
                      <a:pt x="132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0" y="30"/>
                    </a:lnTo>
                    <a:lnTo>
                      <a:pt x="66" y="18"/>
                    </a:lnTo>
                    <a:lnTo>
                      <a:pt x="54" y="30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12" y="12"/>
                    </a:lnTo>
                    <a:lnTo>
                      <a:pt x="0" y="24"/>
                    </a:lnTo>
                    <a:lnTo>
                      <a:pt x="0" y="42"/>
                    </a:lnTo>
                    <a:lnTo>
                      <a:pt x="18" y="48"/>
                    </a:lnTo>
                    <a:lnTo>
                      <a:pt x="12" y="60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14"/>
                    </a:lnTo>
                    <a:lnTo>
                      <a:pt x="12" y="138"/>
                    </a:lnTo>
                    <a:lnTo>
                      <a:pt x="0" y="138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68"/>
                    </a:lnTo>
                    <a:lnTo>
                      <a:pt x="36" y="180"/>
                    </a:lnTo>
                    <a:lnTo>
                      <a:pt x="42" y="186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66" y="228"/>
                    </a:lnTo>
                    <a:lnTo>
                      <a:pt x="78" y="222"/>
                    </a:lnTo>
                    <a:lnTo>
                      <a:pt x="84" y="216"/>
                    </a:lnTo>
                    <a:lnTo>
                      <a:pt x="108" y="222"/>
                    </a:lnTo>
                    <a:lnTo>
                      <a:pt x="114" y="204"/>
                    </a:lnTo>
                    <a:lnTo>
                      <a:pt x="144" y="198"/>
                    </a:lnTo>
                    <a:lnTo>
                      <a:pt x="144" y="204"/>
                    </a:lnTo>
                    <a:lnTo>
                      <a:pt x="162" y="22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92" y="228"/>
                    </a:lnTo>
                    <a:lnTo>
                      <a:pt x="204" y="228"/>
                    </a:lnTo>
                    <a:lnTo>
                      <a:pt x="216" y="216"/>
                    </a:lnTo>
                    <a:lnTo>
                      <a:pt x="228" y="228"/>
                    </a:lnTo>
                    <a:lnTo>
                      <a:pt x="246" y="228"/>
                    </a:lnTo>
                    <a:lnTo>
                      <a:pt x="252" y="222"/>
                    </a:lnTo>
                    <a:lnTo>
                      <a:pt x="252" y="204"/>
                    </a:lnTo>
                    <a:lnTo>
                      <a:pt x="246" y="198"/>
                    </a:lnTo>
                    <a:lnTo>
                      <a:pt x="264" y="192"/>
                    </a:lnTo>
                    <a:lnTo>
                      <a:pt x="282" y="168"/>
                    </a:lnTo>
                    <a:lnTo>
                      <a:pt x="312" y="174"/>
                    </a:lnTo>
                    <a:lnTo>
                      <a:pt x="324" y="156"/>
                    </a:lnTo>
                    <a:lnTo>
                      <a:pt x="336" y="174"/>
                    </a:lnTo>
                    <a:lnTo>
                      <a:pt x="348" y="174"/>
                    </a:lnTo>
                    <a:lnTo>
                      <a:pt x="360" y="180"/>
                    </a:lnTo>
                    <a:lnTo>
                      <a:pt x="372" y="180"/>
                    </a:lnTo>
                    <a:lnTo>
                      <a:pt x="37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9" name="Bosnia and Herzegov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7B444B6-2A1F-5EC6-2FF9-A9501F122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77590" y="2275662"/>
                <a:ext cx="118839" cy="106437"/>
              </a:xfrm>
              <a:custGeom>
                <a:avLst/>
                <a:gdLst>
                  <a:gd name="T0" fmla="*/ 2147483647 w 264"/>
                  <a:gd name="T1" fmla="*/ 2147483647 h 234"/>
                  <a:gd name="T2" fmla="*/ 2147483647 w 264"/>
                  <a:gd name="T3" fmla="*/ 2147483647 h 234"/>
                  <a:gd name="T4" fmla="*/ 2147483647 w 264"/>
                  <a:gd name="T5" fmla="*/ 2147483647 h 234"/>
                  <a:gd name="T6" fmla="*/ 2147483647 w 264"/>
                  <a:gd name="T7" fmla="*/ 2147483647 h 234"/>
                  <a:gd name="T8" fmla="*/ 2147483647 w 264"/>
                  <a:gd name="T9" fmla="*/ 2147483647 h 234"/>
                  <a:gd name="T10" fmla="*/ 2147483647 w 264"/>
                  <a:gd name="T11" fmla="*/ 2147483647 h 234"/>
                  <a:gd name="T12" fmla="*/ 2147483647 w 264"/>
                  <a:gd name="T13" fmla="*/ 2147483647 h 234"/>
                  <a:gd name="T14" fmla="*/ 2147483647 w 264"/>
                  <a:gd name="T15" fmla="*/ 2147483647 h 234"/>
                  <a:gd name="T16" fmla="*/ 2147483647 w 264"/>
                  <a:gd name="T17" fmla="*/ 2147483647 h 234"/>
                  <a:gd name="T18" fmla="*/ 2147483647 w 264"/>
                  <a:gd name="T19" fmla="*/ 2147483647 h 234"/>
                  <a:gd name="T20" fmla="*/ 2147483647 w 264"/>
                  <a:gd name="T21" fmla="*/ 2147483647 h 234"/>
                  <a:gd name="T22" fmla="*/ 2147483647 w 264"/>
                  <a:gd name="T23" fmla="*/ 2147483647 h 234"/>
                  <a:gd name="T24" fmla="*/ 2147483647 w 264"/>
                  <a:gd name="T25" fmla="*/ 2147483647 h 234"/>
                  <a:gd name="T26" fmla="*/ 2147483647 w 264"/>
                  <a:gd name="T27" fmla="*/ 2147483647 h 234"/>
                  <a:gd name="T28" fmla="*/ 2147483647 w 264"/>
                  <a:gd name="T29" fmla="*/ 2147483647 h 234"/>
                  <a:gd name="T30" fmla="*/ 2147483647 w 264"/>
                  <a:gd name="T31" fmla="*/ 2147483647 h 234"/>
                  <a:gd name="T32" fmla="*/ 2147483647 w 264"/>
                  <a:gd name="T33" fmla="*/ 2147483647 h 234"/>
                  <a:gd name="T34" fmla="*/ 2147483647 w 264"/>
                  <a:gd name="T35" fmla="*/ 2147483647 h 234"/>
                  <a:gd name="T36" fmla="*/ 2147483647 w 264"/>
                  <a:gd name="T37" fmla="*/ 2147483647 h 234"/>
                  <a:gd name="T38" fmla="*/ 2147483647 w 264"/>
                  <a:gd name="T39" fmla="*/ 0 h 234"/>
                  <a:gd name="T40" fmla="*/ 2147483647 w 264"/>
                  <a:gd name="T41" fmla="*/ 0 h 234"/>
                  <a:gd name="T42" fmla="*/ 2147483647 w 264"/>
                  <a:gd name="T43" fmla="*/ 2147483647 h 234"/>
                  <a:gd name="T44" fmla="*/ 0 w 264"/>
                  <a:gd name="T45" fmla="*/ 2147483647 h 234"/>
                  <a:gd name="T46" fmla="*/ 2147483647 w 264"/>
                  <a:gd name="T47" fmla="*/ 2147483647 h 234"/>
                  <a:gd name="T48" fmla="*/ 2147483647 w 264"/>
                  <a:gd name="T49" fmla="*/ 2147483647 h 234"/>
                  <a:gd name="T50" fmla="*/ 2147483647 w 264"/>
                  <a:gd name="T51" fmla="*/ 2147483647 h 234"/>
                  <a:gd name="T52" fmla="*/ 2147483647 w 264"/>
                  <a:gd name="T53" fmla="*/ 2147483647 h 234"/>
                  <a:gd name="T54" fmla="*/ 2147483647 w 264"/>
                  <a:gd name="T55" fmla="*/ 2147483647 h 234"/>
                  <a:gd name="T56" fmla="*/ 2147483647 w 264"/>
                  <a:gd name="T57" fmla="*/ 2147483647 h 234"/>
                  <a:gd name="T58" fmla="*/ 2147483647 w 264"/>
                  <a:gd name="T59" fmla="*/ 2147483647 h 234"/>
                  <a:gd name="T60" fmla="*/ 2147483647 w 264"/>
                  <a:gd name="T61" fmla="*/ 2147483647 h 234"/>
                  <a:gd name="T62" fmla="*/ 2147483647 w 264"/>
                  <a:gd name="T63" fmla="*/ 2147483647 h 234"/>
                  <a:gd name="T64" fmla="*/ 2147483647 w 264"/>
                  <a:gd name="T65" fmla="*/ 2147483647 h 234"/>
                  <a:gd name="T66" fmla="*/ 2147483647 w 264"/>
                  <a:gd name="T67" fmla="*/ 2147483647 h 234"/>
                  <a:gd name="T68" fmla="*/ 2147483647 w 264"/>
                  <a:gd name="T69" fmla="*/ 2147483647 h 234"/>
                  <a:gd name="T70" fmla="*/ 2147483647 w 264"/>
                  <a:gd name="T71" fmla="*/ 2147483647 h 234"/>
                  <a:gd name="T72" fmla="*/ 2147483647 w 264"/>
                  <a:gd name="T73" fmla="*/ 2147483647 h 234"/>
                  <a:gd name="T74" fmla="*/ 2147483647 w 264"/>
                  <a:gd name="T75" fmla="*/ 2147483647 h 234"/>
                  <a:gd name="T76" fmla="*/ 2147483647 w 264"/>
                  <a:gd name="T77" fmla="*/ 2147483647 h 234"/>
                  <a:gd name="T78" fmla="*/ 2147483647 w 264"/>
                  <a:gd name="T79" fmla="*/ 2147483647 h 234"/>
                  <a:gd name="T80" fmla="*/ 2147483647 w 264"/>
                  <a:gd name="T81" fmla="*/ 2147483647 h 234"/>
                  <a:gd name="T82" fmla="*/ 2147483647 w 264"/>
                  <a:gd name="T83" fmla="*/ 2147483647 h 234"/>
                  <a:gd name="T84" fmla="*/ 2147483647 w 264"/>
                  <a:gd name="T85" fmla="*/ 2147483647 h 234"/>
                  <a:gd name="T86" fmla="*/ 2147483647 w 264"/>
                  <a:gd name="T87" fmla="*/ 2147483647 h 234"/>
                  <a:gd name="T88" fmla="*/ 2147483647 w 264"/>
                  <a:gd name="T89" fmla="*/ 2147483647 h 234"/>
                  <a:gd name="T90" fmla="*/ 2147483647 w 264"/>
                  <a:gd name="T91" fmla="*/ 2147483647 h 234"/>
                  <a:gd name="T92" fmla="*/ 2147483647 w 264"/>
                  <a:gd name="T93" fmla="*/ 2147483647 h 234"/>
                  <a:gd name="T94" fmla="*/ 2147483647 w 264"/>
                  <a:gd name="T95" fmla="*/ 2147483647 h 234"/>
                  <a:gd name="T96" fmla="*/ 2147483647 w 264"/>
                  <a:gd name="T97" fmla="*/ 2147483647 h 234"/>
                  <a:gd name="T98" fmla="*/ 2147483647 w 264"/>
                  <a:gd name="T99" fmla="*/ 2147483647 h 234"/>
                  <a:gd name="T100" fmla="*/ 2147483647 w 264"/>
                  <a:gd name="T101" fmla="*/ 2147483647 h 234"/>
                  <a:gd name="T102" fmla="*/ 2147483647 w 264"/>
                  <a:gd name="T103" fmla="*/ 2147483647 h 234"/>
                  <a:gd name="T104" fmla="*/ 2147483647 w 264"/>
                  <a:gd name="T105" fmla="*/ 2147483647 h 234"/>
                  <a:gd name="T106" fmla="*/ 2147483647 w 264"/>
                  <a:gd name="T107" fmla="*/ 2147483647 h 234"/>
                  <a:gd name="T108" fmla="*/ 2147483647 w 264"/>
                  <a:gd name="T109" fmla="*/ 2147483647 h 234"/>
                  <a:gd name="T110" fmla="*/ 2147483647 w 264"/>
                  <a:gd name="T111" fmla="*/ 2147483647 h 234"/>
                  <a:gd name="T112" fmla="*/ 2147483647 w 264"/>
                  <a:gd name="T113" fmla="*/ 2147483647 h 234"/>
                  <a:gd name="T114" fmla="*/ 2147483647 w 264"/>
                  <a:gd name="T115" fmla="*/ 2147483647 h 234"/>
                  <a:gd name="T116" fmla="*/ 2147483647 w 264"/>
                  <a:gd name="T117" fmla="*/ 2147483647 h 234"/>
                  <a:gd name="T118" fmla="*/ 2147483647 w 264"/>
                  <a:gd name="T119" fmla="*/ 2147483647 h 234"/>
                  <a:gd name="T120" fmla="*/ 2147483647 w 264"/>
                  <a:gd name="T121" fmla="*/ 2147483647 h 234"/>
                  <a:gd name="T122" fmla="*/ 2147483647 w 264"/>
                  <a:gd name="T123" fmla="*/ 2147483647 h 234"/>
                  <a:gd name="T124" fmla="*/ 2147483647 w 264"/>
                  <a:gd name="T125" fmla="*/ 2147483647 h 23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4"/>
                  <a:gd name="T190" fmla="*/ 0 h 234"/>
                  <a:gd name="T191" fmla="*/ 264 w 264"/>
                  <a:gd name="T192" fmla="*/ 234 h 23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4" h="234">
                    <a:moveTo>
                      <a:pt x="246" y="78"/>
                    </a:moveTo>
                    <a:lnTo>
                      <a:pt x="228" y="78"/>
                    </a:lnTo>
                    <a:lnTo>
                      <a:pt x="228" y="60"/>
                    </a:lnTo>
                    <a:lnTo>
                      <a:pt x="246" y="42"/>
                    </a:lnTo>
                    <a:lnTo>
                      <a:pt x="246" y="30"/>
                    </a:lnTo>
                    <a:lnTo>
                      <a:pt x="234" y="30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04" y="30"/>
                    </a:lnTo>
                    <a:lnTo>
                      <a:pt x="192" y="12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20" y="6"/>
                    </a:lnTo>
                    <a:lnTo>
                      <a:pt x="108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4"/>
                    </a:lnTo>
                    <a:lnTo>
                      <a:pt x="0" y="30"/>
                    </a:lnTo>
                    <a:lnTo>
                      <a:pt x="12" y="42"/>
                    </a:lnTo>
                    <a:lnTo>
                      <a:pt x="30" y="48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42" y="66"/>
                    </a:lnTo>
                    <a:lnTo>
                      <a:pt x="42" y="84"/>
                    </a:lnTo>
                    <a:lnTo>
                      <a:pt x="60" y="90"/>
                    </a:lnTo>
                    <a:lnTo>
                      <a:pt x="72" y="120"/>
                    </a:lnTo>
                    <a:lnTo>
                      <a:pt x="84" y="132"/>
                    </a:lnTo>
                    <a:lnTo>
                      <a:pt x="96" y="138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2" y="168"/>
                    </a:lnTo>
                    <a:lnTo>
                      <a:pt x="132" y="174"/>
                    </a:lnTo>
                    <a:lnTo>
                      <a:pt x="126" y="180"/>
                    </a:lnTo>
                    <a:lnTo>
                      <a:pt x="138" y="180"/>
                    </a:lnTo>
                    <a:lnTo>
                      <a:pt x="156" y="198"/>
                    </a:lnTo>
                    <a:lnTo>
                      <a:pt x="162" y="210"/>
                    </a:lnTo>
                    <a:lnTo>
                      <a:pt x="174" y="216"/>
                    </a:lnTo>
                    <a:lnTo>
                      <a:pt x="192" y="234"/>
                    </a:lnTo>
                    <a:lnTo>
                      <a:pt x="210" y="204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8" y="180"/>
                    </a:lnTo>
                    <a:lnTo>
                      <a:pt x="204" y="168"/>
                    </a:lnTo>
                    <a:lnTo>
                      <a:pt x="204" y="162"/>
                    </a:lnTo>
                    <a:lnTo>
                      <a:pt x="210" y="156"/>
                    </a:lnTo>
                    <a:lnTo>
                      <a:pt x="228" y="156"/>
                    </a:lnTo>
                    <a:lnTo>
                      <a:pt x="228" y="132"/>
                    </a:lnTo>
                    <a:lnTo>
                      <a:pt x="258" y="132"/>
                    </a:lnTo>
                    <a:lnTo>
                      <a:pt x="258" y="126"/>
                    </a:lnTo>
                    <a:lnTo>
                      <a:pt x="252" y="114"/>
                    </a:lnTo>
                    <a:lnTo>
                      <a:pt x="240" y="102"/>
                    </a:lnTo>
                    <a:lnTo>
                      <a:pt x="264" y="96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0" name="Belgiu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40CA12E-E796-FD01-4496-92C7EDBBCF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17528" y="2059241"/>
                <a:ext cx="101100" cy="69184"/>
              </a:xfrm>
              <a:custGeom>
                <a:avLst/>
                <a:gdLst>
                  <a:gd name="T0" fmla="*/ 0 w 222"/>
                  <a:gd name="T1" fmla="*/ 2147483647 h 150"/>
                  <a:gd name="T2" fmla="*/ 2147483647 w 222"/>
                  <a:gd name="T3" fmla="*/ 2147483647 h 150"/>
                  <a:gd name="T4" fmla="*/ 2147483647 w 222"/>
                  <a:gd name="T5" fmla="*/ 2147483647 h 150"/>
                  <a:gd name="T6" fmla="*/ 2147483647 w 222"/>
                  <a:gd name="T7" fmla="*/ 2147483647 h 150"/>
                  <a:gd name="T8" fmla="*/ 2147483647 w 222"/>
                  <a:gd name="T9" fmla="*/ 2147483647 h 150"/>
                  <a:gd name="T10" fmla="*/ 2147483647 w 222"/>
                  <a:gd name="T11" fmla="*/ 2147483647 h 150"/>
                  <a:gd name="T12" fmla="*/ 2147483647 w 222"/>
                  <a:gd name="T13" fmla="*/ 2147483647 h 150"/>
                  <a:gd name="T14" fmla="*/ 2147483647 w 222"/>
                  <a:gd name="T15" fmla="*/ 2147483647 h 150"/>
                  <a:gd name="T16" fmla="*/ 2147483647 w 222"/>
                  <a:gd name="T17" fmla="*/ 2147483647 h 150"/>
                  <a:gd name="T18" fmla="*/ 2147483647 w 222"/>
                  <a:gd name="T19" fmla="*/ 2147483647 h 150"/>
                  <a:gd name="T20" fmla="*/ 2147483647 w 222"/>
                  <a:gd name="T21" fmla="*/ 2147483647 h 150"/>
                  <a:gd name="T22" fmla="*/ 2147483647 w 222"/>
                  <a:gd name="T23" fmla="*/ 2147483647 h 150"/>
                  <a:gd name="T24" fmla="*/ 2147483647 w 222"/>
                  <a:gd name="T25" fmla="*/ 2147483647 h 150"/>
                  <a:gd name="T26" fmla="*/ 2147483647 w 222"/>
                  <a:gd name="T27" fmla="*/ 2147483647 h 150"/>
                  <a:gd name="T28" fmla="*/ 2147483647 w 222"/>
                  <a:gd name="T29" fmla="*/ 2147483647 h 150"/>
                  <a:gd name="T30" fmla="*/ 2147483647 w 222"/>
                  <a:gd name="T31" fmla="*/ 2147483647 h 150"/>
                  <a:gd name="T32" fmla="*/ 2147483647 w 222"/>
                  <a:gd name="T33" fmla="*/ 2147483647 h 150"/>
                  <a:gd name="T34" fmla="*/ 2147483647 w 222"/>
                  <a:gd name="T35" fmla="*/ 2147483647 h 150"/>
                  <a:gd name="T36" fmla="*/ 2147483647 w 222"/>
                  <a:gd name="T37" fmla="*/ 2147483647 h 150"/>
                  <a:gd name="T38" fmla="*/ 2147483647 w 222"/>
                  <a:gd name="T39" fmla="*/ 2147483647 h 150"/>
                  <a:gd name="T40" fmla="*/ 2147483647 w 222"/>
                  <a:gd name="T41" fmla="*/ 2147483647 h 150"/>
                  <a:gd name="T42" fmla="*/ 2147483647 w 222"/>
                  <a:gd name="T43" fmla="*/ 2147483647 h 150"/>
                  <a:gd name="T44" fmla="*/ 2147483647 w 222"/>
                  <a:gd name="T45" fmla="*/ 2147483647 h 150"/>
                  <a:gd name="T46" fmla="*/ 2147483647 w 222"/>
                  <a:gd name="T47" fmla="*/ 2147483647 h 150"/>
                  <a:gd name="T48" fmla="*/ 2147483647 w 222"/>
                  <a:gd name="T49" fmla="*/ 2147483647 h 150"/>
                  <a:gd name="T50" fmla="*/ 2147483647 w 222"/>
                  <a:gd name="T51" fmla="*/ 2147483647 h 150"/>
                  <a:gd name="T52" fmla="*/ 2147483647 w 222"/>
                  <a:gd name="T53" fmla="*/ 2147483647 h 150"/>
                  <a:gd name="T54" fmla="*/ 2147483647 w 222"/>
                  <a:gd name="T55" fmla="*/ 2147483647 h 150"/>
                  <a:gd name="T56" fmla="*/ 2147483647 w 222"/>
                  <a:gd name="T57" fmla="*/ 2147483647 h 150"/>
                  <a:gd name="T58" fmla="*/ 2147483647 w 222"/>
                  <a:gd name="T59" fmla="*/ 2147483647 h 150"/>
                  <a:gd name="T60" fmla="*/ 2147483647 w 222"/>
                  <a:gd name="T61" fmla="*/ 2147483647 h 150"/>
                  <a:gd name="T62" fmla="*/ 2147483647 w 222"/>
                  <a:gd name="T63" fmla="*/ 2147483647 h 150"/>
                  <a:gd name="T64" fmla="*/ 2147483647 w 222"/>
                  <a:gd name="T65" fmla="*/ 2147483647 h 150"/>
                  <a:gd name="T66" fmla="*/ 2147483647 w 222"/>
                  <a:gd name="T67" fmla="*/ 2147483647 h 150"/>
                  <a:gd name="T68" fmla="*/ 2147483647 w 222"/>
                  <a:gd name="T69" fmla="*/ 2147483647 h 150"/>
                  <a:gd name="T70" fmla="*/ 2147483647 w 222"/>
                  <a:gd name="T71" fmla="*/ 2147483647 h 150"/>
                  <a:gd name="T72" fmla="*/ 2147483647 w 222"/>
                  <a:gd name="T73" fmla="*/ 2147483647 h 150"/>
                  <a:gd name="T74" fmla="*/ 2147483647 w 222"/>
                  <a:gd name="T75" fmla="*/ 2147483647 h 150"/>
                  <a:gd name="T76" fmla="*/ 2147483647 w 222"/>
                  <a:gd name="T77" fmla="*/ 2147483647 h 150"/>
                  <a:gd name="T78" fmla="*/ 2147483647 w 222"/>
                  <a:gd name="T79" fmla="*/ 2147483647 h 150"/>
                  <a:gd name="T80" fmla="*/ 2147483647 w 222"/>
                  <a:gd name="T81" fmla="*/ 0 h 150"/>
                  <a:gd name="T82" fmla="*/ 2147483647 w 222"/>
                  <a:gd name="T83" fmla="*/ 0 h 150"/>
                  <a:gd name="T84" fmla="*/ 2147483647 w 222"/>
                  <a:gd name="T85" fmla="*/ 2147483647 h 150"/>
                  <a:gd name="T86" fmla="*/ 2147483647 w 222"/>
                  <a:gd name="T87" fmla="*/ 0 h 150"/>
                  <a:gd name="T88" fmla="*/ 2147483647 w 222"/>
                  <a:gd name="T89" fmla="*/ 2147483647 h 150"/>
                  <a:gd name="T90" fmla="*/ 2147483647 w 222"/>
                  <a:gd name="T91" fmla="*/ 2147483647 h 150"/>
                  <a:gd name="T92" fmla="*/ 2147483647 w 222"/>
                  <a:gd name="T93" fmla="*/ 2147483647 h 150"/>
                  <a:gd name="T94" fmla="*/ 2147483647 w 222"/>
                  <a:gd name="T95" fmla="*/ 2147483647 h 150"/>
                  <a:gd name="T96" fmla="*/ 2147483647 w 222"/>
                  <a:gd name="T97" fmla="*/ 2147483647 h 150"/>
                  <a:gd name="T98" fmla="*/ 2147483647 w 222"/>
                  <a:gd name="T99" fmla="*/ 2147483647 h 150"/>
                  <a:gd name="T100" fmla="*/ 2147483647 w 222"/>
                  <a:gd name="T101" fmla="*/ 2147483647 h 150"/>
                  <a:gd name="T102" fmla="*/ 0 w 222"/>
                  <a:gd name="T103" fmla="*/ 2147483647 h 150"/>
                  <a:gd name="T104" fmla="*/ 0 w 222"/>
                  <a:gd name="T105" fmla="*/ 2147483647 h 15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2"/>
                  <a:gd name="T160" fmla="*/ 0 h 150"/>
                  <a:gd name="T161" fmla="*/ 222 w 222"/>
                  <a:gd name="T162" fmla="*/ 150 h 15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2" h="150">
                    <a:moveTo>
                      <a:pt x="0" y="42"/>
                    </a:moveTo>
                    <a:lnTo>
                      <a:pt x="6" y="60"/>
                    </a:lnTo>
                    <a:lnTo>
                      <a:pt x="30" y="66"/>
                    </a:lnTo>
                    <a:lnTo>
                      <a:pt x="42" y="78"/>
                    </a:lnTo>
                    <a:lnTo>
                      <a:pt x="66" y="78"/>
                    </a:lnTo>
                    <a:lnTo>
                      <a:pt x="78" y="84"/>
                    </a:lnTo>
                    <a:lnTo>
                      <a:pt x="84" y="90"/>
                    </a:lnTo>
                    <a:lnTo>
                      <a:pt x="84" y="114"/>
                    </a:lnTo>
                    <a:lnTo>
                      <a:pt x="108" y="114"/>
                    </a:lnTo>
                    <a:lnTo>
                      <a:pt x="120" y="102"/>
                    </a:lnTo>
                    <a:lnTo>
                      <a:pt x="120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62" y="144"/>
                    </a:lnTo>
                    <a:lnTo>
                      <a:pt x="180" y="144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2"/>
                    </a:lnTo>
                    <a:lnTo>
                      <a:pt x="174" y="120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92" y="108"/>
                    </a:lnTo>
                    <a:lnTo>
                      <a:pt x="198" y="102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10" y="90"/>
                    </a:lnTo>
                    <a:lnTo>
                      <a:pt x="222" y="90"/>
                    </a:lnTo>
                    <a:lnTo>
                      <a:pt x="216" y="84"/>
                    </a:lnTo>
                    <a:lnTo>
                      <a:pt x="216" y="66"/>
                    </a:lnTo>
                    <a:lnTo>
                      <a:pt x="204" y="54"/>
                    </a:lnTo>
                    <a:lnTo>
                      <a:pt x="180" y="54"/>
                    </a:lnTo>
                    <a:lnTo>
                      <a:pt x="180" y="42"/>
                    </a:lnTo>
                    <a:lnTo>
                      <a:pt x="186" y="36"/>
                    </a:lnTo>
                    <a:lnTo>
                      <a:pt x="186" y="18"/>
                    </a:lnTo>
                    <a:lnTo>
                      <a:pt x="180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96" y="0"/>
                    </a:lnTo>
                    <a:lnTo>
                      <a:pt x="96" y="12"/>
                    </a:lnTo>
                    <a:lnTo>
                      <a:pt x="78" y="6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0" y="24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1" name="Bela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D193A78-59BB-114C-9609-D3EBE2EB77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9793" y="1896039"/>
                <a:ext cx="255413" cy="166751"/>
              </a:xfrm>
              <a:custGeom>
                <a:avLst/>
                <a:gdLst>
                  <a:gd name="T0" fmla="*/ 2147483647 w 570"/>
                  <a:gd name="T1" fmla="*/ 2147483647 h 372"/>
                  <a:gd name="T2" fmla="*/ 2147483647 w 570"/>
                  <a:gd name="T3" fmla="*/ 2147483647 h 372"/>
                  <a:gd name="T4" fmla="*/ 2147483647 w 570"/>
                  <a:gd name="T5" fmla="*/ 2147483647 h 372"/>
                  <a:gd name="T6" fmla="*/ 2147483647 w 570"/>
                  <a:gd name="T7" fmla="*/ 2147483647 h 372"/>
                  <a:gd name="T8" fmla="*/ 2147483647 w 570"/>
                  <a:gd name="T9" fmla="*/ 2147483647 h 372"/>
                  <a:gd name="T10" fmla="*/ 2147483647 w 570"/>
                  <a:gd name="T11" fmla="*/ 2147483647 h 372"/>
                  <a:gd name="T12" fmla="*/ 2147483647 w 570"/>
                  <a:gd name="T13" fmla="*/ 2147483647 h 372"/>
                  <a:gd name="T14" fmla="*/ 2147483647 w 570"/>
                  <a:gd name="T15" fmla="*/ 2147483647 h 372"/>
                  <a:gd name="T16" fmla="*/ 2147483647 w 570"/>
                  <a:gd name="T17" fmla="*/ 2147483647 h 372"/>
                  <a:gd name="T18" fmla="*/ 2147483647 w 570"/>
                  <a:gd name="T19" fmla="*/ 2147483647 h 372"/>
                  <a:gd name="T20" fmla="*/ 2147483647 w 570"/>
                  <a:gd name="T21" fmla="*/ 2147483647 h 372"/>
                  <a:gd name="T22" fmla="*/ 2147483647 w 570"/>
                  <a:gd name="T23" fmla="*/ 2147483647 h 372"/>
                  <a:gd name="T24" fmla="*/ 2147483647 w 570"/>
                  <a:gd name="T25" fmla="*/ 2147483647 h 372"/>
                  <a:gd name="T26" fmla="*/ 2147483647 w 570"/>
                  <a:gd name="T27" fmla="*/ 2147483647 h 372"/>
                  <a:gd name="T28" fmla="*/ 2147483647 w 570"/>
                  <a:gd name="T29" fmla="*/ 2147483647 h 372"/>
                  <a:gd name="T30" fmla="*/ 2147483647 w 570"/>
                  <a:gd name="T31" fmla="*/ 2147483647 h 372"/>
                  <a:gd name="T32" fmla="*/ 2147483647 w 570"/>
                  <a:gd name="T33" fmla="*/ 2147483647 h 372"/>
                  <a:gd name="T34" fmla="*/ 2147483647 w 570"/>
                  <a:gd name="T35" fmla="*/ 2147483647 h 372"/>
                  <a:gd name="T36" fmla="*/ 2147483647 w 570"/>
                  <a:gd name="T37" fmla="*/ 2147483647 h 372"/>
                  <a:gd name="T38" fmla="*/ 2147483647 w 570"/>
                  <a:gd name="T39" fmla="*/ 2147483647 h 372"/>
                  <a:gd name="T40" fmla="*/ 2147483647 w 570"/>
                  <a:gd name="T41" fmla="*/ 2147483647 h 372"/>
                  <a:gd name="T42" fmla="*/ 2147483647 w 570"/>
                  <a:gd name="T43" fmla="*/ 2147483647 h 372"/>
                  <a:gd name="T44" fmla="*/ 2147483647 w 570"/>
                  <a:gd name="T45" fmla="*/ 2147483647 h 372"/>
                  <a:gd name="T46" fmla="*/ 2147483647 w 570"/>
                  <a:gd name="T47" fmla="*/ 2147483647 h 372"/>
                  <a:gd name="T48" fmla="*/ 2147483647 w 570"/>
                  <a:gd name="T49" fmla="*/ 2147483647 h 372"/>
                  <a:gd name="T50" fmla="*/ 2147483647 w 570"/>
                  <a:gd name="T51" fmla="*/ 2147483647 h 372"/>
                  <a:gd name="T52" fmla="*/ 2147483647 w 570"/>
                  <a:gd name="T53" fmla="*/ 2147483647 h 372"/>
                  <a:gd name="T54" fmla="*/ 2147483647 w 570"/>
                  <a:gd name="T55" fmla="*/ 2147483647 h 372"/>
                  <a:gd name="T56" fmla="*/ 2147483647 w 570"/>
                  <a:gd name="T57" fmla="*/ 0 h 372"/>
                  <a:gd name="T58" fmla="*/ 2147483647 w 570"/>
                  <a:gd name="T59" fmla="*/ 2147483647 h 372"/>
                  <a:gd name="T60" fmla="*/ 2147483647 w 570"/>
                  <a:gd name="T61" fmla="*/ 2147483647 h 372"/>
                  <a:gd name="T62" fmla="*/ 2147483647 w 570"/>
                  <a:gd name="T63" fmla="*/ 2147483647 h 372"/>
                  <a:gd name="T64" fmla="*/ 2147483647 w 570"/>
                  <a:gd name="T65" fmla="*/ 2147483647 h 372"/>
                  <a:gd name="T66" fmla="*/ 2147483647 w 570"/>
                  <a:gd name="T67" fmla="*/ 2147483647 h 372"/>
                  <a:gd name="T68" fmla="*/ 2147483647 w 570"/>
                  <a:gd name="T69" fmla="*/ 2147483647 h 372"/>
                  <a:gd name="T70" fmla="*/ 2147483647 w 570"/>
                  <a:gd name="T71" fmla="*/ 2147483647 h 372"/>
                  <a:gd name="T72" fmla="*/ 2147483647 w 570"/>
                  <a:gd name="T73" fmla="*/ 2147483647 h 372"/>
                  <a:gd name="T74" fmla="*/ 2147483647 w 570"/>
                  <a:gd name="T75" fmla="*/ 2147483647 h 372"/>
                  <a:gd name="T76" fmla="*/ 2147483647 w 570"/>
                  <a:gd name="T77" fmla="*/ 2147483647 h 372"/>
                  <a:gd name="T78" fmla="*/ 2147483647 w 570"/>
                  <a:gd name="T79" fmla="*/ 2147483647 h 372"/>
                  <a:gd name="T80" fmla="*/ 2147483647 w 570"/>
                  <a:gd name="T81" fmla="*/ 2147483647 h 372"/>
                  <a:gd name="T82" fmla="*/ 2147483647 w 570"/>
                  <a:gd name="T83" fmla="*/ 2147483647 h 372"/>
                  <a:gd name="T84" fmla="*/ 2147483647 w 570"/>
                  <a:gd name="T85" fmla="*/ 2147483647 h 372"/>
                  <a:gd name="T86" fmla="*/ 2147483647 w 570"/>
                  <a:gd name="T87" fmla="*/ 2147483647 h 372"/>
                  <a:gd name="T88" fmla="*/ 2147483647 w 570"/>
                  <a:gd name="T89" fmla="*/ 2147483647 h 372"/>
                  <a:gd name="T90" fmla="*/ 2147483647 w 570"/>
                  <a:gd name="T91" fmla="*/ 2147483647 h 372"/>
                  <a:gd name="T92" fmla="*/ 2147483647 w 570"/>
                  <a:gd name="T93" fmla="*/ 2147483647 h 372"/>
                  <a:gd name="T94" fmla="*/ 2147483647 w 570"/>
                  <a:gd name="T95" fmla="*/ 2147483647 h 372"/>
                  <a:gd name="T96" fmla="*/ 2147483647 w 570"/>
                  <a:gd name="T97" fmla="*/ 2147483647 h 3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0"/>
                  <a:gd name="T148" fmla="*/ 0 h 372"/>
                  <a:gd name="T149" fmla="*/ 570 w 570"/>
                  <a:gd name="T150" fmla="*/ 372 h 3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0" h="372">
                    <a:moveTo>
                      <a:pt x="24" y="312"/>
                    </a:moveTo>
                    <a:lnTo>
                      <a:pt x="24" y="342"/>
                    </a:lnTo>
                    <a:lnTo>
                      <a:pt x="30" y="354"/>
                    </a:lnTo>
                    <a:lnTo>
                      <a:pt x="36" y="360"/>
                    </a:lnTo>
                    <a:lnTo>
                      <a:pt x="48" y="360"/>
                    </a:lnTo>
                    <a:lnTo>
                      <a:pt x="60" y="354"/>
                    </a:lnTo>
                    <a:lnTo>
                      <a:pt x="72" y="342"/>
                    </a:lnTo>
                    <a:lnTo>
                      <a:pt x="72" y="336"/>
                    </a:lnTo>
                    <a:lnTo>
                      <a:pt x="108" y="336"/>
                    </a:lnTo>
                    <a:lnTo>
                      <a:pt x="120" y="330"/>
                    </a:lnTo>
                    <a:lnTo>
                      <a:pt x="126" y="324"/>
                    </a:lnTo>
                    <a:lnTo>
                      <a:pt x="174" y="324"/>
                    </a:lnTo>
                    <a:lnTo>
                      <a:pt x="174" y="330"/>
                    </a:lnTo>
                    <a:lnTo>
                      <a:pt x="180" y="336"/>
                    </a:lnTo>
                    <a:lnTo>
                      <a:pt x="216" y="336"/>
                    </a:lnTo>
                    <a:lnTo>
                      <a:pt x="240" y="342"/>
                    </a:lnTo>
                    <a:lnTo>
                      <a:pt x="258" y="354"/>
                    </a:lnTo>
                    <a:lnTo>
                      <a:pt x="264" y="348"/>
                    </a:lnTo>
                    <a:lnTo>
                      <a:pt x="282" y="360"/>
                    </a:lnTo>
                    <a:lnTo>
                      <a:pt x="294" y="348"/>
                    </a:lnTo>
                    <a:lnTo>
                      <a:pt x="300" y="360"/>
                    </a:lnTo>
                    <a:lnTo>
                      <a:pt x="318" y="354"/>
                    </a:lnTo>
                    <a:lnTo>
                      <a:pt x="324" y="360"/>
                    </a:lnTo>
                    <a:lnTo>
                      <a:pt x="336" y="354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54" y="354"/>
                    </a:lnTo>
                    <a:lnTo>
                      <a:pt x="372" y="354"/>
                    </a:lnTo>
                    <a:lnTo>
                      <a:pt x="378" y="360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6" y="366"/>
                    </a:lnTo>
                    <a:lnTo>
                      <a:pt x="420" y="366"/>
                    </a:lnTo>
                    <a:lnTo>
                      <a:pt x="426" y="372"/>
                    </a:lnTo>
                    <a:lnTo>
                      <a:pt x="444" y="372"/>
                    </a:lnTo>
                    <a:lnTo>
                      <a:pt x="450" y="366"/>
                    </a:lnTo>
                    <a:lnTo>
                      <a:pt x="450" y="354"/>
                    </a:lnTo>
                    <a:lnTo>
                      <a:pt x="444" y="348"/>
                    </a:lnTo>
                    <a:lnTo>
                      <a:pt x="450" y="336"/>
                    </a:lnTo>
                    <a:lnTo>
                      <a:pt x="456" y="330"/>
                    </a:lnTo>
                    <a:lnTo>
                      <a:pt x="468" y="324"/>
                    </a:lnTo>
                    <a:lnTo>
                      <a:pt x="474" y="312"/>
                    </a:lnTo>
                    <a:lnTo>
                      <a:pt x="498" y="312"/>
                    </a:lnTo>
                    <a:lnTo>
                      <a:pt x="516" y="318"/>
                    </a:lnTo>
                    <a:lnTo>
                      <a:pt x="516" y="300"/>
                    </a:lnTo>
                    <a:lnTo>
                      <a:pt x="510" y="288"/>
                    </a:lnTo>
                    <a:lnTo>
                      <a:pt x="504" y="282"/>
                    </a:lnTo>
                    <a:lnTo>
                      <a:pt x="504" y="264"/>
                    </a:lnTo>
                    <a:lnTo>
                      <a:pt x="480" y="240"/>
                    </a:lnTo>
                    <a:lnTo>
                      <a:pt x="480" y="234"/>
                    </a:lnTo>
                    <a:lnTo>
                      <a:pt x="486" y="228"/>
                    </a:lnTo>
                    <a:lnTo>
                      <a:pt x="510" y="228"/>
                    </a:lnTo>
                    <a:lnTo>
                      <a:pt x="510" y="234"/>
                    </a:lnTo>
                    <a:lnTo>
                      <a:pt x="516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52" y="228"/>
                    </a:lnTo>
                    <a:lnTo>
                      <a:pt x="558" y="216"/>
                    </a:lnTo>
                    <a:lnTo>
                      <a:pt x="570" y="210"/>
                    </a:lnTo>
                    <a:lnTo>
                      <a:pt x="546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46" y="186"/>
                    </a:lnTo>
                    <a:lnTo>
                      <a:pt x="540" y="180"/>
                    </a:lnTo>
                    <a:lnTo>
                      <a:pt x="504" y="180"/>
                    </a:lnTo>
                    <a:lnTo>
                      <a:pt x="504" y="156"/>
                    </a:lnTo>
                    <a:lnTo>
                      <a:pt x="474" y="144"/>
                    </a:lnTo>
                    <a:lnTo>
                      <a:pt x="474" y="132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44" y="84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8"/>
                    </a:lnTo>
                    <a:lnTo>
                      <a:pt x="432" y="42"/>
                    </a:lnTo>
                    <a:lnTo>
                      <a:pt x="396" y="24"/>
                    </a:lnTo>
                    <a:lnTo>
                      <a:pt x="390" y="18"/>
                    </a:lnTo>
                    <a:lnTo>
                      <a:pt x="384" y="18"/>
                    </a:lnTo>
                    <a:lnTo>
                      <a:pt x="354" y="36"/>
                    </a:lnTo>
                    <a:lnTo>
                      <a:pt x="348" y="18"/>
                    </a:lnTo>
                    <a:lnTo>
                      <a:pt x="312" y="12"/>
                    </a:lnTo>
                    <a:lnTo>
                      <a:pt x="300" y="18"/>
                    </a:lnTo>
                    <a:lnTo>
                      <a:pt x="300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52" y="6"/>
                    </a:lnTo>
                    <a:lnTo>
                      <a:pt x="246" y="18"/>
                    </a:lnTo>
                    <a:lnTo>
                      <a:pt x="240" y="24"/>
                    </a:lnTo>
                    <a:lnTo>
                      <a:pt x="234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30"/>
                    </a:lnTo>
                    <a:lnTo>
                      <a:pt x="180" y="36"/>
                    </a:lnTo>
                    <a:lnTo>
                      <a:pt x="174" y="42"/>
                    </a:lnTo>
                    <a:lnTo>
                      <a:pt x="174" y="54"/>
                    </a:lnTo>
                    <a:lnTo>
                      <a:pt x="192" y="72"/>
                    </a:lnTo>
                    <a:lnTo>
                      <a:pt x="186" y="78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72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2" y="120"/>
                    </a:lnTo>
                    <a:lnTo>
                      <a:pt x="132" y="126"/>
                    </a:lnTo>
                    <a:lnTo>
                      <a:pt x="138" y="132"/>
                    </a:lnTo>
                    <a:lnTo>
                      <a:pt x="138" y="144"/>
                    </a:lnTo>
                    <a:lnTo>
                      <a:pt x="144" y="15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38" y="150"/>
                    </a:lnTo>
                    <a:lnTo>
                      <a:pt x="138" y="144"/>
                    </a:lnTo>
                    <a:lnTo>
                      <a:pt x="120" y="144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6" y="168"/>
                    </a:lnTo>
                    <a:lnTo>
                      <a:pt x="84" y="156"/>
                    </a:lnTo>
                    <a:lnTo>
                      <a:pt x="84" y="174"/>
                    </a:lnTo>
                    <a:lnTo>
                      <a:pt x="54" y="174"/>
                    </a:lnTo>
                    <a:lnTo>
                      <a:pt x="54" y="168"/>
                    </a:lnTo>
                    <a:lnTo>
                      <a:pt x="48" y="162"/>
                    </a:lnTo>
                    <a:lnTo>
                      <a:pt x="42" y="162"/>
                    </a:lnTo>
                    <a:lnTo>
                      <a:pt x="30" y="168"/>
                    </a:lnTo>
                    <a:lnTo>
                      <a:pt x="18" y="168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18" y="204"/>
                    </a:lnTo>
                    <a:lnTo>
                      <a:pt x="24" y="210"/>
                    </a:lnTo>
                    <a:lnTo>
                      <a:pt x="36" y="234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6" y="264"/>
                    </a:lnTo>
                    <a:lnTo>
                      <a:pt x="12" y="270"/>
                    </a:lnTo>
                    <a:lnTo>
                      <a:pt x="12" y="288"/>
                    </a:lnTo>
                    <a:lnTo>
                      <a:pt x="0" y="288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24" y="31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2" name="Azerbaij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68E19E-E73D-E10D-2B74-A9C46A71E8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44933" y="2396290"/>
                <a:ext cx="163181" cy="131272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3" name="Aust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015C479-40A4-7291-4DFF-A394C0AF0D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05540" y="2144390"/>
                <a:ext cx="205750" cy="90471"/>
              </a:xfrm>
              <a:custGeom>
                <a:avLst/>
                <a:gdLst>
                  <a:gd name="T0" fmla="*/ 2147483647 w 456"/>
                  <a:gd name="T1" fmla="*/ 2147483647 h 204"/>
                  <a:gd name="T2" fmla="*/ 2147483647 w 456"/>
                  <a:gd name="T3" fmla="*/ 2147483647 h 204"/>
                  <a:gd name="T4" fmla="*/ 2147483647 w 456"/>
                  <a:gd name="T5" fmla="*/ 2147483647 h 204"/>
                  <a:gd name="T6" fmla="*/ 2147483647 w 456"/>
                  <a:gd name="T7" fmla="*/ 2147483647 h 204"/>
                  <a:gd name="T8" fmla="*/ 2147483647 w 456"/>
                  <a:gd name="T9" fmla="*/ 2147483647 h 204"/>
                  <a:gd name="T10" fmla="*/ 2147483647 w 456"/>
                  <a:gd name="T11" fmla="*/ 2147483647 h 204"/>
                  <a:gd name="T12" fmla="*/ 2147483647 w 456"/>
                  <a:gd name="T13" fmla="*/ 2147483647 h 204"/>
                  <a:gd name="T14" fmla="*/ 2147483647 w 456"/>
                  <a:gd name="T15" fmla="*/ 0 h 204"/>
                  <a:gd name="T16" fmla="*/ 2147483647 w 456"/>
                  <a:gd name="T17" fmla="*/ 2147483647 h 204"/>
                  <a:gd name="T18" fmla="*/ 2147483647 w 456"/>
                  <a:gd name="T19" fmla="*/ 2147483647 h 204"/>
                  <a:gd name="T20" fmla="*/ 2147483647 w 456"/>
                  <a:gd name="T21" fmla="*/ 2147483647 h 204"/>
                  <a:gd name="T22" fmla="*/ 2147483647 w 456"/>
                  <a:gd name="T23" fmla="*/ 2147483647 h 204"/>
                  <a:gd name="T24" fmla="*/ 2147483647 w 456"/>
                  <a:gd name="T25" fmla="*/ 2147483647 h 204"/>
                  <a:gd name="T26" fmla="*/ 2147483647 w 456"/>
                  <a:gd name="T27" fmla="*/ 2147483647 h 204"/>
                  <a:gd name="T28" fmla="*/ 2147483647 w 456"/>
                  <a:gd name="T29" fmla="*/ 2147483647 h 204"/>
                  <a:gd name="T30" fmla="*/ 2147483647 w 456"/>
                  <a:gd name="T31" fmla="*/ 2147483647 h 204"/>
                  <a:gd name="T32" fmla="*/ 2147483647 w 456"/>
                  <a:gd name="T33" fmla="*/ 2147483647 h 204"/>
                  <a:gd name="T34" fmla="*/ 2147483647 w 456"/>
                  <a:gd name="T35" fmla="*/ 2147483647 h 204"/>
                  <a:gd name="T36" fmla="*/ 2147483647 w 456"/>
                  <a:gd name="T37" fmla="*/ 2147483647 h 204"/>
                  <a:gd name="T38" fmla="*/ 2147483647 w 456"/>
                  <a:gd name="T39" fmla="*/ 2147483647 h 204"/>
                  <a:gd name="T40" fmla="*/ 2147483647 w 456"/>
                  <a:gd name="T41" fmla="*/ 2147483647 h 204"/>
                  <a:gd name="T42" fmla="*/ 2147483647 w 456"/>
                  <a:gd name="T43" fmla="*/ 2147483647 h 204"/>
                  <a:gd name="T44" fmla="*/ 2147483647 w 456"/>
                  <a:gd name="T45" fmla="*/ 2147483647 h 204"/>
                  <a:gd name="T46" fmla="*/ 2147483647 w 456"/>
                  <a:gd name="T47" fmla="*/ 2147483647 h 204"/>
                  <a:gd name="T48" fmla="*/ 2147483647 w 456"/>
                  <a:gd name="T49" fmla="*/ 2147483647 h 204"/>
                  <a:gd name="T50" fmla="*/ 2147483647 w 456"/>
                  <a:gd name="T51" fmla="*/ 2147483647 h 204"/>
                  <a:gd name="T52" fmla="*/ 2147483647 w 456"/>
                  <a:gd name="T53" fmla="*/ 2147483647 h 204"/>
                  <a:gd name="T54" fmla="*/ 0 w 456"/>
                  <a:gd name="T55" fmla="*/ 2147483647 h 204"/>
                  <a:gd name="T56" fmla="*/ 2147483647 w 456"/>
                  <a:gd name="T57" fmla="*/ 2147483647 h 204"/>
                  <a:gd name="T58" fmla="*/ 2147483647 w 456"/>
                  <a:gd name="T59" fmla="*/ 2147483647 h 204"/>
                  <a:gd name="T60" fmla="*/ 2147483647 w 456"/>
                  <a:gd name="T61" fmla="*/ 2147483647 h 204"/>
                  <a:gd name="T62" fmla="*/ 2147483647 w 456"/>
                  <a:gd name="T63" fmla="*/ 2147483647 h 204"/>
                  <a:gd name="T64" fmla="*/ 2147483647 w 456"/>
                  <a:gd name="T65" fmla="*/ 2147483647 h 204"/>
                  <a:gd name="T66" fmla="*/ 2147483647 w 456"/>
                  <a:gd name="T67" fmla="*/ 2147483647 h 204"/>
                  <a:gd name="T68" fmla="*/ 2147483647 w 456"/>
                  <a:gd name="T69" fmla="*/ 2147483647 h 204"/>
                  <a:gd name="T70" fmla="*/ 2147483647 w 456"/>
                  <a:gd name="T71" fmla="*/ 2147483647 h 204"/>
                  <a:gd name="T72" fmla="*/ 2147483647 w 456"/>
                  <a:gd name="T73" fmla="*/ 2147483647 h 204"/>
                  <a:gd name="T74" fmla="*/ 2147483647 w 456"/>
                  <a:gd name="T75" fmla="*/ 2147483647 h 204"/>
                  <a:gd name="T76" fmla="*/ 2147483647 w 456"/>
                  <a:gd name="T77" fmla="*/ 2147483647 h 204"/>
                  <a:gd name="T78" fmla="*/ 2147483647 w 456"/>
                  <a:gd name="T79" fmla="*/ 2147483647 h 204"/>
                  <a:gd name="T80" fmla="*/ 2147483647 w 456"/>
                  <a:gd name="T81" fmla="*/ 2147483647 h 204"/>
                  <a:gd name="T82" fmla="*/ 2147483647 w 456"/>
                  <a:gd name="T83" fmla="*/ 2147483647 h 204"/>
                  <a:gd name="T84" fmla="*/ 2147483647 w 456"/>
                  <a:gd name="T85" fmla="*/ 2147483647 h 204"/>
                  <a:gd name="T86" fmla="*/ 2147483647 w 456"/>
                  <a:gd name="T87" fmla="*/ 2147483647 h 204"/>
                  <a:gd name="T88" fmla="*/ 2147483647 w 456"/>
                  <a:gd name="T89" fmla="*/ 2147483647 h 204"/>
                  <a:gd name="T90" fmla="*/ 2147483647 w 456"/>
                  <a:gd name="T91" fmla="*/ 2147483647 h 20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56"/>
                  <a:gd name="T139" fmla="*/ 0 h 204"/>
                  <a:gd name="T140" fmla="*/ 456 w 456"/>
                  <a:gd name="T141" fmla="*/ 204 h 20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56" h="204">
                    <a:moveTo>
                      <a:pt x="456" y="102"/>
                    </a:moveTo>
                    <a:lnTo>
                      <a:pt x="456" y="60"/>
                    </a:lnTo>
                    <a:lnTo>
                      <a:pt x="450" y="60"/>
                    </a:lnTo>
                    <a:lnTo>
                      <a:pt x="450" y="48"/>
                    </a:lnTo>
                    <a:lnTo>
                      <a:pt x="456" y="24"/>
                    </a:lnTo>
                    <a:lnTo>
                      <a:pt x="444" y="18"/>
                    </a:lnTo>
                    <a:lnTo>
                      <a:pt x="438" y="18"/>
                    </a:lnTo>
                    <a:lnTo>
                      <a:pt x="432" y="12"/>
                    </a:lnTo>
                    <a:lnTo>
                      <a:pt x="420" y="12"/>
                    </a:lnTo>
                    <a:lnTo>
                      <a:pt x="414" y="18"/>
                    </a:lnTo>
                    <a:lnTo>
                      <a:pt x="402" y="24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66" y="6"/>
                    </a:lnTo>
                    <a:lnTo>
                      <a:pt x="354" y="0"/>
                    </a:lnTo>
                    <a:lnTo>
                      <a:pt x="336" y="0"/>
                    </a:lnTo>
                    <a:lnTo>
                      <a:pt x="330" y="6"/>
                    </a:lnTo>
                    <a:lnTo>
                      <a:pt x="324" y="18"/>
                    </a:lnTo>
                    <a:lnTo>
                      <a:pt x="318" y="18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300" y="30"/>
                    </a:lnTo>
                    <a:lnTo>
                      <a:pt x="288" y="36"/>
                    </a:lnTo>
                    <a:lnTo>
                      <a:pt x="276" y="36"/>
                    </a:lnTo>
                    <a:lnTo>
                      <a:pt x="258" y="18"/>
                    </a:lnTo>
                    <a:lnTo>
                      <a:pt x="252" y="36"/>
                    </a:lnTo>
                    <a:lnTo>
                      <a:pt x="234" y="36"/>
                    </a:lnTo>
                    <a:lnTo>
                      <a:pt x="240" y="48"/>
                    </a:lnTo>
                    <a:lnTo>
                      <a:pt x="240" y="66"/>
                    </a:lnTo>
                    <a:lnTo>
                      <a:pt x="234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66"/>
                    </a:lnTo>
                    <a:lnTo>
                      <a:pt x="204" y="72"/>
                    </a:lnTo>
                    <a:lnTo>
                      <a:pt x="198" y="78"/>
                    </a:lnTo>
                    <a:lnTo>
                      <a:pt x="198" y="84"/>
                    </a:lnTo>
                    <a:lnTo>
                      <a:pt x="210" y="84"/>
                    </a:lnTo>
                    <a:lnTo>
                      <a:pt x="210" y="126"/>
                    </a:lnTo>
                    <a:lnTo>
                      <a:pt x="204" y="126"/>
                    </a:lnTo>
                    <a:lnTo>
                      <a:pt x="192" y="114"/>
                    </a:lnTo>
                    <a:lnTo>
                      <a:pt x="174" y="108"/>
                    </a:lnTo>
                    <a:lnTo>
                      <a:pt x="162" y="102"/>
                    </a:lnTo>
                    <a:lnTo>
                      <a:pt x="144" y="114"/>
                    </a:lnTo>
                    <a:lnTo>
                      <a:pt x="126" y="114"/>
                    </a:lnTo>
                    <a:lnTo>
                      <a:pt x="108" y="126"/>
                    </a:lnTo>
                    <a:lnTo>
                      <a:pt x="102" y="132"/>
                    </a:lnTo>
                    <a:lnTo>
                      <a:pt x="84" y="132"/>
                    </a:lnTo>
                    <a:lnTo>
                      <a:pt x="66" y="114"/>
                    </a:lnTo>
                    <a:lnTo>
                      <a:pt x="48" y="114"/>
                    </a:lnTo>
                    <a:lnTo>
                      <a:pt x="48" y="126"/>
                    </a:lnTo>
                    <a:lnTo>
                      <a:pt x="42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0" y="120"/>
                    </a:lnTo>
                    <a:lnTo>
                      <a:pt x="0" y="156"/>
                    </a:lnTo>
                    <a:lnTo>
                      <a:pt x="18" y="156"/>
                    </a:lnTo>
                    <a:lnTo>
                      <a:pt x="18" y="174"/>
                    </a:lnTo>
                    <a:lnTo>
                      <a:pt x="24" y="174"/>
                    </a:lnTo>
                    <a:lnTo>
                      <a:pt x="42" y="156"/>
                    </a:lnTo>
                    <a:lnTo>
                      <a:pt x="48" y="156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72" y="174"/>
                    </a:lnTo>
                    <a:lnTo>
                      <a:pt x="84" y="180"/>
                    </a:lnTo>
                    <a:lnTo>
                      <a:pt x="96" y="162"/>
                    </a:lnTo>
                    <a:lnTo>
                      <a:pt x="138" y="162"/>
                    </a:lnTo>
                    <a:lnTo>
                      <a:pt x="138" y="156"/>
                    </a:lnTo>
                    <a:lnTo>
                      <a:pt x="144" y="150"/>
                    </a:lnTo>
                    <a:lnTo>
                      <a:pt x="162" y="150"/>
                    </a:lnTo>
                    <a:lnTo>
                      <a:pt x="168" y="156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186" y="192"/>
                    </a:lnTo>
                    <a:lnTo>
                      <a:pt x="240" y="192"/>
                    </a:lnTo>
                    <a:lnTo>
                      <a:pt x="240" y="204"/>
                    </a:lnTo>
                    <a:lnTo>
                      <a:pt x="258" y="204"/>
                    </a:lnTo>
                    <a:lnTo>
                      <a:pt x="264" y="198"/>
                    </a:lnTo>
                    <a:lnTo>
                      <a:pt x="282" y="198"/>
                    </a:lnTo>
                    <a:lnTo>
                      <a:pt x="288" y="204"/>
                    </a:lnTo>
                    <a:lnTo>
                      <a:pt x="318" y="204"/>
                    </a:lnTo>
                    <a:lnTo>
                      <a:pt x="318" y="192"/>
                    </a:lnTo>
                    <a:lnTo>
                      <a:pt x="366" y="192"/>
                    </a:lnTo>
                    <a:lnTo>
                      <a:pt x="378" y="186"/>
                    </a:lnTo>
                    <a:lnTo>
                      <a:pt x="402" y="192"/>
                    </a:lnTo>
                    <a:lnTo>
                      <a:pt x="414" y="156"/>
                    </a:lnTo>
                    <a:lnTo>
                      <a:pt x="432" y="156"/>
                    </a:lnTo>
                    <a:lnTo>
                      <a:pt x="432" y="132"/>
                    </a:lnTo>
                    <a:lnTo>
                      <a:pt x="444" y="114"/>
                    </a:lnTo>
                    <a:lnTo>
                      <a:pt x="432" y="114"/>
                    </a:lnTo>
                    <a:lnTo>
                      <a:pt x="438" y="102"/>
                    </a:lnTo>
                    <a:lnTo>
                      <a:pt x="456" y="10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4" name="Arm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B40DBF2-4296-5D21-1BB1-5BCAB7DEDC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00590" y="2415803"/>
                <a:ext cx="99328" cy="95792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5" name="Andor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9F34A82-9BC3-AD7B-84E8-0BEA51BF85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67864" y="2371456"/>
                <a:ext cx="14191" cy="7096"/>
              </a:xfrm>
              <a:custGeom>
                <a:avLst/>
                <a:gdLst>
                  <a:gd name="T0" fmla="*/ 2147483647 w 30"/>
                  <a:gd name="T1" fmla="*/ 2147483647 h 18"/>
                  <a:gd name="T2" fmla="*/ 2147483647 w 30"/>
                  <a:gd name="T3" fmla="*/ 2147483647 h 18"/>
                  <a:gd name="T4" fmla="*/ 2147483647 w 30"/>
                  <a:gd name="T5" fmla="*/ 2147483647 h 18"/>
                  <a:gd name="T6" fmla="*/ 2147483647 w 30"/>
                  <a:gd name="T7" fmla="*/ 0 h 18"/>
                  <a:gd name="T8" fmla="*/ 0 w 30"/>
                  <a:gd name="T9" fmla="*/ 0 h 18"/>
                  <a:gd name="T10" fmla="*/ 2147483647 w 30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18"/>
                  <a:gd name="T20" fmla="*/ 30 w 3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18">
                    <a:moveTo>
                      <a:pt x="6" y="18"/>
                    </a:moveTo>
                    <a:lnTo>
                      <a:pt x="18" y="12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96" name="Alb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7D5821A-72ED-9655-649D-7C39CFA2C2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691" y="2371456"/>
                <a:ext cx="65626" cy="109985"/>
              </a:xfrm>
              <a:custGeom>
                <a:avLst/>
                <a:gdLst>
                  <a:gd name="T0" fmla="*/ 2147483647 w 144"/>
                  <a:gd name="T1" fmla="*/ 2147483647 h 246"/>
                  <a:gd name="T2" fmla="*/ 2147483647 w 144"/>
                  <a:gd name="T3" fmla="*/ 2147483647 h 246"/>
                  <a:gd name="T4" fmla="*/ 2147483647 w 144"/>
                  <a:gd name="T5" fmla="*/ 2147483647 h 246"/>
                  <a:gd name="T6" fmla="*/ 2147483647 w 144"/>
                  <a:gd name="T7" fmla="*/ 2147483647 h 246"/>
                  <a:gd name="T8" fmla="*/ 2147483647 w 144"/>
                  <a:gd name="T9" fmla="*/ 2147483647 h 246"/>
                  <a:gd name="T10" fmla="*/ 2147483647 w 144"/>
                  <a:gd name="T11" fmla="*/ 2147483647 h 246"/>
                  <a:gd name="T12" fmla="*/ 2147483647 w 144"/>
                  <a:gd name="T13" fmla="*/ 2147483647 h 246"/>
                  <a:gd name="T14" fmla="*/ 2147483647 w 144"/>
                  <a:gd name="T15" fmla="*/ 2147483647 h 246"/>
                  <a:gd name="T16" fmla="*/ 2147483647 w 144"/>
                  <a:gd name="T17" fmla="*/ 2147483647 h 246"/>
                  <a:gd name="T18" fmla="*/ 2147483647 w 144"/>
                  <a:gd name="T19" fmla="*/ 2147483647 h 246"/>
                  <a:gd name="T20" fmla="*/ 2147483647 w 144"/>
                  <a:gd name="T21" fmla="*/ 2147483647 h 246"/>
                  <a:gd name="T22" fmla="*/ 2147483647 w 144"/>
                  <a:gd name="T23" fmla="*/ 2147483647 h 246"/>
                  <a:gd name="T24" fmla="*/ 2147483647 w 144"/>
                  <a:gd name="T25" fmla="*/ 2147483647 h 246"/>
                  <a:gd name="T26" fmla="*/ 2147483647 w 144"/>
                  <a:gd name="T27" fmla="*/ 2147483647 h 246"/>
                  <a:gd name="T28" fmla="*/ 2147483647 w 144"/>
                  <a:gd name="T29" fmla="*/ 2147483647 h 246"/>
                  <a:gd name="T30" fmla="*/ 2147483647 w 144"/>
                  <a:gd name="T31" fmla="*/ 2147483647 h 246"/>
                  <a:gd name="T32" fmla="*/ 2147483647 w 144"/>
                  <a:gd name="T33" fmla="*/ 2147483647 h 246"/>
                  <a:gd name="T34" fmla="*/ 2147483647 w 144"/>
                  <a:gd name="T35" fmla="*/ 2147483647 h 246"/>
                  <a:gd name="T36" fmla="*/ 2147483647 w 144"/>
                  <a:gd name="T37" fmla="*/ 2147483647 h 246"/>
                  <a:gd name="T38" fmla="*/ 2147483647 w 144"/>
                  <a:gd name="T39" fmla="*/ 0 h 246"/>
                  <a:gd name="T40" fmla="*/ 2147483647 w 144"/>
                  <a:gd name="T41" fmla="*/ 2147483647 h 246"/>
                  <a:gd name="T42" fmla="*/ 2147483647 w 144"/>
                  <a:gd name="T43" fmla="*/ 2147483647 h 246"/>
                  <a:gd name="T44" fmla="*/ 0 w 144"/>
                  <a:gd name="T45" fmla="*/ 2147483647 h 246"/>
                  <a:gd name="T46" fmla="*/ 2147483647 w 144"/>
                  <a:gd name="T47" fmla="*/ 2147483647 h 246"/>
                  <a:gd name="T48" fmla="*/ 2147483647 w 144"/>
                  <a:gd name="T49" fmla="*/ 2147483647 h 246"/>
                  <a:gd name="T50" fmla="*/ 2147483647 w 144"/>
                  <a:gd name="T51" fmla="*/ 2147483647 h 246"/>
                  <a:gd name="T52" fmla="*/ 2147483647 w 144"/>
                  <a:gd name="T53" fmla="*/ 2147483647 h 246"/>
                  <a:gd name="T54" fmla="*/ 2147483647 w 144"/>
                  <a:gd name="T55" fmla="*/ 2147483647 h 246"/>
                  <a:gd name="T56" fmla="*/ 2147483647 w 144"/>
                  <a:gd name="T57" fmla="*/ 2147483647 h 246"/>
                  <a:gd name="T58" fmla="*/ 2147483647 w 144"/>
                  <a:gd name="T59" fmla="*/ 2147483647 h 246"/>
                  <a:gd name="T60" fmla="*/ 2147483647 w 144"/>
                  <a:gd name="T61" fmla="*/ 2147483647 h 246"/>
                  <a:gd name="T62" fmla="*/ 2147483647 w 144"/>
                  <a:gd name="T63" fmla="*/ 2147483647 h 246"/>
                  <a:gd name="T64" fmla="*/ 2147483647 w 144"/>
                  <a:gd name="T65" fmla="*/ 2147483647 h 246"/>
                  <a:gd name="T66" fmla="*/ 2147483647 w 144"/>
                  <a:gd name="T67" fmla="*/ 2147483647 h 246"/>
                  <a:gd name="T68" fmla="*/ 2147483647 w 144"/>
                  <a:gd name="T69" fmla="*/ 2147483647 h 246"/>
                  <a:gd name="T70" fmla="*/ 2147483647 w 144"/>
                  <a:gd name="T71" fmla="*/ 2147483647 h 246"/>
                  <a:gd name="T72" fmla="*/ 2147483647 w 144"/>
                  <a:gd name="T73" fmla="*/ 2147483647 h 246"/>
                  <a:gd name="T74" fmla="*/ 2147483647 w 144"/>
                  <a:gd name="T75" fmla="*/ 2147483647 h 246"/>
                  <a:gd name="T76" fmla="*/ 2147483647 w 144"/>
                  <a:gd name="T77" fmla="*/ 2147483647 h 246"/>
                  <a:gd name="T78" fmla="*/ 2147483647 w 144"/>
                  <a:gd name="T79" fmla="*/ 2147483647 h 246"/>
                  <a:gd name="T80" fmla="*/ 2147483647 w 144"/>
                  <a:gd name="T81" fmla="*/ 2147483647 h 246"/>
                  <a:gd name="T82" fmla="*/ 2147483647 w 144"/>
                  <a:gd name="T83" fmla="*/ 2147483647 h 246"/>
                  <a:gd name="T84" fmla="*/ 2147483647 w 144"/>
                  <a:gd name="T85" fmla="*/ 2147483647 h 246"/>
                  <a:gd name="T86" fmla="*/ 2147483647 w 144"/>
                  <a:gd name="T87" fmla="*/ 2147483647 h 246"/>
                  <a:gd name="T88" fmla="*/ 2147483647 w 144"/>
                  <a:gd name="T89" fmla="*/ 2147483647 h 2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246"/>
                  <a:gd name="T137" fmla="*/ 144 w 144"/>
                  <a:gd name="T138" fmla="*/ 246 h 2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246">
                    <a:moveTo>
                      <a:pt x="96" y="210"/>
                    </a:moveTo>
                    <a:lnTo>
                      <a:pt x="96" y="204"/>
                    </a:lnTo>
                    <a:lnTo>
                      <a:pt x="108" y="204"/>
                    </a:lnTo>
                    <a:lnTo>
                      <a:pt x="120" y="198"/>
                    </a:lnTo>
                    <a:lnTo>
                      <a:pt x="120" y="174"/>
                    </a:lnTo>
                    <a:lnTo>
                      <a:pt x="138" y="174"/>
                    </a:lnTo>
                    <a:lnTo>
                      <a:pt x="144" y="168"/>
                    </a:lnTo>
                    <a:lnTo>
                      <a:pt x="144" y="138"/>
                    </a:lnTo>
                    <a:lnTo>
                      <a:pt x="120" y="144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20"/>
                    </a:lnTo>
                    <a:lnTo>
                      <a:pt x="108" y="96"/>
                    </a:lnTo>
                    <a:lnTo>
                      <a:pt x="102" y="84"/>
                    </a:lnTo>
                    <a:lnTo>
                      <a:pt x="102" y="42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36" y="0"/>
                    </a:lnTo>
                    <a:lnTo>
                      <a:pt x="36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48"/>
                    </a:lnTo>
                    <a:lnTo>
                      <a:pt x="18" y="60"/>
                    </a:lnTo>
                    <a:lnTo>
                      <a:pt x="24" y="66"/>
                    </a:lnTo>
                    <a:lnTo>
                      <a:pt x="48" y="66"/>
                    </a:lnTo>
                    <a:lnTo>
                      <a:pt x="48" y="84"/>
                    </a:lnTo>
                    <a:lnTo>
                      <a:pt x="42" y="96"/>
                    </a:lnTo>
                    <a:lnTo>
                      <a:pt x="42" y="114"/>
                    </a:lnTo>
                    <a:lnTo>
                      <a:pt x="36" y="132"/>
                    </a:lnTo>
                    <a:lnTo>
                      <a:pt x="36" y="15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42" y="204"/>
                    </a:lnTo>
                    <a:lnTo>
                      <a:pt x="54" y="210"/>
                    </a:lnTo>
                    <a:lnTo>
                      <a:pt x="60" y="216"/>
                    </a:lnTo>
                    <a:lnTo>
                      <a:pt x="60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90" y="246"/>
                    </a:lnTo>
                    <a:lnTo>
                      <a:pt x="96" y="246"/>
                    </a:lnTo>
                    <a:lnTo>
                      <a:pt x="96" y="21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497" name="Group 340">
                <a:extLst>
                  <a:ext uri="{FF2B5EF4-FFF2-40B4-BE49-F238E27FC236}">
                    <a16:creationId xmlns:a16="http://schemas.microsoft.com/office/drawing/2014/main" id="{D5473312-FFDD-EFDE-C596-5006184438C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268048" y="2245510"/>
                <a:ext cx="124159" cy="152559"/>
                <a:chOff x="2184" y="1242"/>
                <a:chExt cx="257" cy="316"/>
              </a:xfrm>
              <a:grpFill/>
            </p:grpSpPr>
            <p:sp>
              <p:nvSpPr>
                <p:cNvPr id="516" name="Freeform 341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73D3357C-D474-7442-CA01-01405FF590A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84" y="1242"/>
                  <a:ext cx="257" cy="282"/>
                </a:xfrm>
                <a:custGeom>
                  <a:avLst/>
                  <a:gdLst/>
                  <a:ahLst/>
                  <a:cxnLst>
                    <a:cxn ang="0">
                      <a:pos x="464" y="374"/>
                    </a:cxn>
                    <a:cxn ang="0">
                      <a:pos x="453" y="310"/>
                    </a:cxn>
                    <a:cxn ang="0">
                      <a:pos x="453" y="235"/>
                    </a:cxn>
                    <a:cxn ang="0">
                      <a:pos x="378" y="224"/>
                    </a:cxn>
                    <a:cxn ang="0">
                      <a:pos x="302" y="171"/>
                    </a:cxn>
                    <a:cxn ang="0">
                      <a:pos x="291" y="118"/>
                    </a:cxn>
                    <a:cxn ang="0">
                      <a:pos x="259" y="128"/>
                    </a:cxn>
                    <a:cxn ang="0">
                      <a:pos x="216" y="53"/>
                    </a:cxn>
                    <a:cxn ang="0">
                      <a:pos x="87" y="0"/>
                    </a:cxn>
                    <a:cxn ang="0">
                      <a:pos x="0" y="43"/>
                    </a:cxn>
                    <a:cxn ang="0">
                      <a:pos x="32" y="96"/>
                    </a:cxn>
                    <a:cxn ang="0">
                      <a:pos x="65" y="139"/>
                    </a:cxn>
                    <a:cxn ang="0">
                      <a:pos x="54" y="150"/>
                    </a:cxn>
                    <a:cxn ang="0">
                      <a:pos x="32" y="181"/>
                    </a:cxn>
                    <a:cxn ang="0">
                      <a:pos x="32" y="192"/>
                    </a:cxn>
                    <a:cxn ang="0">
                      <a:pos x="76" y="203"/>
                    </a:cxn>
                    <a:cxn ang="0">
                      <a:pos x="87" y="267"/>
                    </a:cxn>
                    <a:cxn ang="0">
                      <a:pos x="65" y="310"/>
                    </a:cxn>
                    <a:cxn ang="0">
                      <a:pos x="98" y="363"/>
                    </a:cxn>
                    <a:cxn ang="0">
                      <a:pos x="119" y="395"/>
                    </a:cxn>
                    <a:cxn ang="0">
                      <a:pos x="157" y="442"/>
                    </a:cxn>
                    <a:cxn ang="0">
                      <a:pos x="173" y="438"/>
                    </a:cxn>
                    <a:cxn ang="0">
                      <a:pos x="180" y="444"/>
                    </a:cxn>
                    <a:cxn ang="0">
                      <a:pos x="230" y="446"/>
                    </a:cxn>
                    <a:cxn ang="0">
                      <a:pos x="237" y="431"/>
                    </a:cxn>
                    <a:cxn ang="0">
                      <a:pos x="258" y="416"/>
                    </a:cxn>
                    <a:cxn ang="0">
                      <a:pos x="266" y="418"/>
                    </a:cxn>
                    <a:cxn ang="0">
                      <a:pos x="268" y="407"/>
                    </a:cxn>
                    <a:cxn ang="0">
                      <a:pos x="267" y="399"/>
                    </a:cxn>
                    <a:cxn ang="0">
                      <a:pos x="254" y="388"/>
                    </a:cxn>
                    <a:cxn ang="0">
                      <a:pos x="262" y="387"/>
                    </a:cxn>
                    <a:cxn ang="0">
                      <a:pos x="279" y="380"/>
                    </a:cxn>
                    <a:cxn ang="0">
                      <a:pos x="288" y="372"/>
                    </a:cxn>
                    <a:cxn ang="0">
                      <a:pos x="298" y="389"/>
                    </a:cxn>
                    <a:cxn ang="0">
                      <a:pos x="292" y="399"/>
                    </a:cxn>
                    <a:cxn ang="0">
                      <a:pos x="309" y="402"/>
                    </a:cxn>
                    <a:cxn ang="0">
                      <a:pos x="321" y="404"/>
                    </a:cxn>
                    <a:cxn ang="0">
                      <a:pos x="326" y="408"/>
                    </a:cxn>
                    <a:cxn ang="0">
                      <a:pos x="328" y="433"/>
                    </a:cxn>
                    <a:cxn ang="0">
                      <a:pos x="334" y="429"/>
                    </a:cxn>
                    <a:cxn ang="0">
                      <a:pos x="335" y="448"/>
                    </a:cxn>
                    <a:cxn ang="0">
                      <a:pos x="348" y="452"/>
                    </a:cxn>
                    <a:cxn ang="0">
                      <a:pos x="356" y="467"/>
                    </a:cxn>
                    <a:cxn ang="0">
                      <a:pos x="354" y="478"/>
                    </a:cxn>
                    <a:cxn ang="0">
                      <a:pos x="356" y="482"/>
                    </a:cxn>
                    <a:cxn ang="0">
                      <a:pos x="369" y="485"/>
                    </a:cxn>
                    <a:cxn ang="0">
                      <a:pos x="381" y="492"/>
                    </a:cxn>
                    <a:cxn ang="0">
                      <a:pos x="390" y="496"/>
                    </a:cxn>
                    <a:cxn ang="0">
                      <a:pos x="399" y="501"/>
                    </a:cxn>
                    <a:cxn ang="0">
                      <a:pos x="392" y="513"/>
                    </a:cxn>
                    <a:cxn ang="0">
                      <a:pos x="384" y="528"/>
                    </a:cxn>
                    <a:cxn ang="0">
                      <a:pos x="376" y="542"/>
                    </a:cxn>
                    <a:cxn ang="0">
                      <a:pos x="453" y="492"/>
                    </a:cxn>
                    <a:cxn ang="0">
                      <a:pos x="486" y="470"/>
                    </a:cxn>
                    <a:cxn ang="0">
                      <a:pos x="486" y="406"/>
                    </a:cxn>
                  </a:cxnLst>
                  <a:rect l="0" t="0" r="r" b="b"/>
                  <a:pathLst>
                    <a:path w="496" h="542">
                      <a:moveTo>
                        <a:pt x="486" y="406"/>
                      </a:moveTo>
                      <a:cubicBezTo>
                        <a:pt x="453" y="395"/>
                        <a:pt x="453" y="395"/>
                        <a:pt x="453" y="395"/>
                      </a:cubicBezTo>
                      <a:cubicBezTo>
                        <a:pt x="464" y="374"/>
                        <a:pt x="464" y="374"/>
                        <a:pt x="464" y="374"/>
                      </a:cubicBezTo>
                      <a:cubicBezTo>
                        <a:pt x="432" y="363"/>
                        <a:pt x="432" y="363"/>
                        <a:pt x="432" y="363"/>
                      </a:cubicBezTo>
                      <a:cubicBezTo>
                        <a:pt x="432" y="331"/>
                        <a:pt x="432" y="331"/>
                        <a:pt x="432" y="331"/>
                      </a:cubicBezTo>
                      <a:cubicBezTo>
                        <a:pt x="453" y="310"/>
                        <a:pt x="453" y="310"/>
                        <a:pt x="453" y="310"/>
                      </a:cubicBezTo>
                      <a:cubicBezTo>
                        <a:pt x="453" y="267"/>
                        <a:pt x="453" y="267"/>
                        <a:pt x="453" y="267"/>
                      </a:cubicBezTo>
                      <a:cubicBezTo>
                        <a:pt x="442" y="256"/>
                        <a:pt x="442" y="256"/>
                        <a:pt x="442" y="256"/>
                      </a:cubicBezTo>
                      <a:cubicBezTo>
                        <a:pt x="453" y="235"/>
                        <a:pt x="453" y="235"/>
                        <a:pt x="453" y="235"/>
                      </a:cubicBezTo>
                      <a:cubicBezTo>
                        <a:pt x="464" y="224"/>
                        <a:pt x="464" y="224"/>
                        <a:pt x="464" y="224"/>
                      </a:cubicBezTo>
                      <a:cubicBezTo>
                        <a:pt x="421" y="213"/>
                        <a:pt x="421" y="213"/>
                        <a:pt x="421" y="213"/>
                      </a:cubicBezTo>
                      <a:cubicBezTo>
                        <a:pt x="378" y="224"/>
                        <a:pt x="378" y="224"/>
                        <a:pt x="378" y="224"/>
                      </a:cubicBezTo>
                      <a:cubicBezTo>
                        <a:pt x="367" y="213"/>
                        <a:pt x="367" y="213"/>
                        <a:pt x="367" y="213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02" y="171"/>
                        <a:pt x="302" y="171"/>
                        <a:pt x="302" y="171"/>
                      </a:cubicBezTo>
                      <a:cubicBezTo>
                        <a:pt x="313" y="160"/>
                        <a:pt x="313" y="160"/>
                        <a:pt x="313" y="160"/>
                      </a:cubicBezTo>
                      <a:cubicBezTo>
                        <a:pt x="313" y="128"/>
                        <a:pt x="313" y="128"/>
                        <a:pt x="313" y="128"/>
                      </a:cubicBezTo>
                      <a:cubicBezTo>
                        <a:pt x="291" y="118"/>
                        <a:pt x="291" y="118"/>
                        <a:pt x="291" y="118"/>
                      </a:cubicBezTo>
                      <a:cubicBezTo>
                        <a:pt x="280" y="118"/>
                        <a:pt x="280" y="118"/>
                        <a:pt x="280" y="118"/>
                      </a:cubicBezTo>
                      <a:cubicBezTo>
                        <a:pt x="270" y="128"/>
                        <a:pt x="270" y="128"/>
                        <a:pt x="270" y="128"/>
                      </a:cubicBezTo>
                      <a:cubicBezTo>
                        <a:pt x="259" y="128"/>
                        <a:pt x="259" y="128"/>
                        <a:pt x="259" y="128"/>
                      </a:cubicBezTo>
                      <a:cubicBezTo>
                        <a:pt x="249" y="118"/>
                        <a:pt x="249" y="118"/>
                        <a:pt x="249" y="118"/>
                      </a:cubicBezTo>
                      <a:cubicBezTo>
                        <a:pt x="227" y="53"/>
                        <a:pt x="227" y="53"/>
                        <a:pt x="227" y="53"/>
                      </a:cubicBezTo>
                      <a:cubicBezTo>
                        <a:pt x="216" y="53"/>
                        <a:pt x="216" y="53"/>
                        <a:pt x="216" y="53"/>
                      </a:cubicBezTo>
                      <a:cubicBezTo>
                        <a:pt x="173" y="21"/>
                        <a:pt x="173" y="21"/>
                        <a:pt x="173" y="21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11" y="32"/>
                        <a:pt x="11" y="32"/>
                        <a:pt x="11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2" y="128"/>
                        <a:pt x="22" y="128"/>
                        <a:pt x="22" y="128"/>
                      </a:cubicBezTo>
                      <a:cubicBezTo>
                        <a:pt x="43" y="128"/>
                        <a:pt x="43" y="128"/>
                        <a:pt x="43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65" y="150"/>
                        <a:pt x="65" y="150"/>
                        <a:pt x="65" y="150"/>
                      </a:cubicBezTo>
                      <a:cubicBezTo>
                        <a:pt x="54" y="150"/>
                        <a:pt x="54" y="150"/>
                        <a:pt x="54" y="150"/>
                      </a:cubicBezTo>
                      <a:cubicBezTo>
                        <a:pt x="43" y="160"/>
                        <a:pt x="43" y="160"/>
                        <a:pt x="43" y="160"/>
                      </a:cubicBezTo>
                      <a:cubicBezTo>
                        <a:pt x="32" y="160"/>
                        <a:pt x="32" y="160"/>
                        <a:pt x="32" y="160"/>
                      </a:cubicBezTo>
                      <a:cubicBezTo>
                        <a:pt x="32" y="181"/>
                        <a:pt x="32" y="181"/>
                        <a:pt x="32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2" y="192"/>
                        <a:pt x="22" y="192"/>
                        <a:pt x="22" y="192"/>
                      </a:cubicBezTo>
                      <a:cubicBezTo>
                        <a:pt x="32" y="192"/>
                        <a:pt x="32" y="192"/>
                        <a:pt x="32" y="192"/>
                      </a:cubicBezTo>
                      <a:cubicBezTo>
                        <a:pt x="54" y="181"/>
                        <a:pt x="54" y="181"/>
                        <a:pt x="54" y="181"/>
                      </a:cubicBezTo>
                      <a:cubicBezTo>
                        <a:pt x="76" y="181"/>
                        <a:pt x="76" y="181"/>
                        <a:pt x="76" y="181"/>
                      </a:cubicBezTo>
                      <a:cubicBezTo>
                        <a:pt x="76" y="203"/>
                        <a:pt x="76" y="203"/>
                        <a:pt x="76" y="203"/>
                      </a:cubicBezTo>
                      <a:cubicBezTo>
                        <a:pt x="43" y="235"/>
                        <a:pt x="43" y="235"/>
                        <a:pt x="43" y="235"/>
                      </a:cubicBezTo>
                      <a:cubicBezTo>
                        <a:pt x="43" y="267"/>
                        <a:pt x="43" y="267"/>
                        <a:pt x="43" y="267"/>
                      </a:cubicBezTo>
                      <a:cubicBezTo>
                        <a:pt x="87" y="267"/>
                        <a:pt x="87" y="267"/>
                        <a:pt x="87" y="267"/>
                      </a:cubicBezTo>
                      <a:cubicBezTo>
                        <a:pt x="98" y="278"/>
                        <a:pt x="98" y="278"/>
                        <a:pt x="98" y="278"/>
                      </a:cubicBezTo>
                      <a:cubicBezTo>
                        <a:pt x="108" y="299"/>
                        <a:pt x="108" y="299"/>
                        <a:pt x="108" y="299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87" y="331"/>
                        <a:pt x="87" y="331"/>
                        <a:pt x="87" y="331"/>
                      </a:cubicBezTo>
                      <a:cubicBezTo>
                        <a:pt x="98" y="353"/>
                        <a:pt x="98" y="353"/>
                        <a:pt x="98" y="353"/>
                      </a:cubicBezTo>
                      <a:cubicBezTo>
                        <a:pt x="98" y="363"/>
                        <a:pt x="98" y="363"/>
                        <a:pt x="98" y="363"/>
                      </a:cubicBezTo>
                      <a:cubicBezTo>
                        <a:pt x="87" y="363"/>
                        <a:pt x="87" y="363"/>
                        <a:pt x="87" y="363"/>
                      </a:cubicBezTo>
                      <a:cubicBezTo>
                        <a:pt x="87" y="374"/>
                        <a:pt x="87" y="374"/>
                        <a:pt x="87" y="374"/>
                      </a:cubicBezTo>
                      <a:cubicBezTo>
                        <a:pt x="119" y="395"/>
                        <a:pt x="119" y="395"/>
                        <a:pt x="119" y="395"/>
                      </a:cubicBezTo>
                      <a:cubicBezTo>
                        <a:pt x="140" y="417"/>
                        <a:pt x="140" y="417"/>
                        <a:pt x="140" y="417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9" y="442"/>
                        <a:pt x="161" y="443"/>
                        <a:pt x="166" y="444"/>
                      </a:cubicBezTo>
                      <a:cubicBezTo>
                        <a:pt x="166" y="444"/>
                        <a:pt x="166" y="444"/>
                        <a:pt x="167" y="444"/>
                      </a:cubicBezTo>
                      <a:cubicBezTo>
                        <a:pt x="173" y="438"/>
                        <a:pt x="173" y="438"/>
                        <a:pt x="173" y="438"/>
                      </a:cubicBezTo>
                      <a:cubicBezTo>
                        <a:pt x="173" y="447"/>
                        <a:pt x="173" y="447"/>
                        <a:pt x="173" y="447"/>
                      </a:cubicBezTo>
                      <a:cubicBezTo>
                        <a:pt x="174" y="448"/>
                        <a:pt x="175" y="448"/>
                        <a:pt x="176" y="449"/>
                      </a:cubicBezTo>
                      <a:cubicBezTo>
                        <a:pt x="176" y="449"/>
                        <a:pt x="176" y="449"/>
                        <a:pt x="180" y="444"/>
                      </a:cubicBezTo>
                      <a:cubicBezTo>
                        <a:pt x="180" y="444"/>
                        <a:pt x="180" y="444"/>
                        <a:pt x="199" y="447"/>
                      </a:cubicBezTo>
                      <a:cubicBezTo>
                        <a:pt x="199" y="447"/>
                        <a:pt x="199" y="447"/>
                        <a:pt x="212" y="446"/>
                      </a:cubicBezTo>
                      <a:cubicBezTo>
                        <a:pt x="212" y="446"/>
                        <a:pt x="212" y="446"/>
                        <a:pt x="230" y="446"/>
                      </a:cubicBezTo>
                      <a:cubicBezTo>
                        <a:pt x="230" y="446"/>
                        <a:pt x="230" y="446"/>
                        <a:pt x="240" y="443"/>
                      </a:cubicBezTo>
                      <a:cubicBezTo>
                        <a:pt x="240" y="443"/>
                        <a:pt x="240" y="443"/>
                        <a:pt x="239" y="437"/>
                      </a:cubicBezTo>
                      <a:cubicBezTo>
                        <a:pt x="239" y="437"/>
                        <a:pt x="239" y="437"/>
                        <a:pt x="237" y="431"/>
                      </a:cubicBezTo>
                      <a:cubicBezTo>
                        <a:pt x="237" y="431"/>
                        <a:pt x="237" y="431"/>
                        <a:pt x="245" y="425"/>
                      </a:cubicBezTo>
                      <a:cubicBezTo>
                        <a:pt x="245" y="425"/>
                        <a:pt x="245" y="425"/>
                        <a:pt x="255" y="417"/>
                      </a:cubicBezTo>
                      <a:cubicBezTo>
                        <a:pt x="255" y="417"/>
                        <a:pt x="255" y="417"/>
                        <a:pt x="258" y="416"/>
                      </a:cubicBezTo>
                      <a:cubicBezTo>
                        <a:pt x="258" y="416"/>
                        <a:pt x="258" y="416"/>
                        <a:pt x="258" y="421"/>
                      </a:cubicBezTo>
                      <a:cubicBezTo>
                        <a:pt x="258" y="421"/>
                        <a:pt x="258" y="421"/>
                        <a:pt x="262" y="419"/>
                      </a:cubicBezTo>
                      <a:cubicBezTo>
                        <a:pt x="262" y="419"/>
                        <a:pt x="262" y="419"/>
                        <a:pt x="266" y="418"/>
                      </a:cubicBezTo>
                      <a:cubicBezTo>
                        <a:pt x="266" y="418"/>
                        <a:pt x="266" y="418"/>
                        <a:pt x="263" y="414"/>
                      </a:cubicBezTo>
                      <a:cubicBezTo>
                        <a:pt x="263" y="414"/>
                        <a:pt x="263" y="414"/>
                        <a:pt x="267" y="412"/>
                      </a:cubicBezTo>
                      <a:cubicBezTo>
                        <a:pt x="267" y="412"/>
                        <a:pt x="267" y="412"/>
                        <a:pt x="268" y="407"/>
                      </a:cubicBezTo>
                      <a:cubicBezTo>
                        <a:pt x="268" y="407"/>
                        <a:pt x="268" y="407"/>
                        <a:pt x="264" y="405"/>
                      </a:cubicBezTo>
                      <a:cubicBezTo>
                        <a:pt x="264" y="405"/>
                        <a:pt x="264" y="405"/>
                        <a:pt x="264" y="402"/>
                      </a:cubicBezTo>
                      <a:cubicBezTo>
                        <a:pt x="264" y="402"/>
                        <a:pt x="264" y="402"/>
                        <a:pt x="267" y="399"/>
                      </a:cubicBezTo>
                      <a:cubicBezTo>
                        <a:pt x="267" y="399"/>
                        <a:pt x="267" y="399"/>
                        <a:pt x="266" y="396"/>
                      </a:cubicBezTo>
                      <a:cubicBezTo>
                        <a:pt x="266" y="396"/>
                        <a:pt x="266" y="396"/>
                        <a:pt x="258" y="394"/>
                      </a:cubicBezTo>
                      <a:cubicBezTo>
                        <a:pt x="258" y="394"/>
                        <a:pt x="258" y="394"/>
                        <a:pt x="254" y="388"/>
                      </a:cubicBezTo>
                      <a:cubicBezTo>
                        <a:pt x="254" y="388"/>
                        <a:pt x="254" y="388"/>
                        <a:pt x="256" y="385"/>
                      </a:cubicBezTo>
                      <a:cubicBezTo>
                        <a:pt x="256" y="385"/>
                        <a:pt x="256" y="385"/>
                        <a:pt x="259" y="389"/>
                      </a:cubicBezTo>
                      <a:cubicBezTo>
                        <a:pt x="259" y="389"/>
                        <a:pt x="259" y="389"/>
                        <a:pt x="262" y="387"/>
                      </a:cubicBezTo>
                      <a:cubicBezTo>
                        <a:pt x="262" y="387"/>
                        <a:pt x="262" y="387"/>
                        <a:pt x="267" y="388"/>
                      </a:cubicBezTo>
                      <a:cubicBezTo>
                        <a:pt x="267" y="388"/>
                        <a:pt x="267" y="388"/>
                        <a:pt x="271" y="385"/>
                      </a:cubicBezTo>
                      <a:cubicBezTo>
                        <a:pt x="271" y="385"/>
                        <a:pt x="271" y="385"/>
                        <a:pt x="279" y="380"/>
                      </a:cubicBezTo>
                      <a:cubicBezTo>
                        <a:pt x="279" y="380"/>
                        <a:pt x="279" y="380"/>
                        <a:pt x="282" y="378"/>
                      </a:cubicBezTo>
                      <a:cubicBezTo>
                        <a:pt x="282" y="378"/>
                        <a:pt x="282" y="378"/>
                        <a:pt x="283" y="374"/>
                      </a:cubicBezTo>
                      <a:cubicBezTo>
                        <a:pt x="283" y="374"/>
                        <a:pt x="283" y="374"/>
                        <a:pt x="288" y="372"/>
                      </a:cubicBezTo>
                      <a:cubicBezTo>
                        <a:pt x="288" y="372"/>
                        <a:pt x="288" y="372"/>
                        <a:pt x="293" y="377"/>
                      </a:cubicBezTo>
                      <a:cubicBezTo>
                        <a:pt x="293" y="377"/>
                        <a:pt x="293" y="377"/>
                        <a:pt x="297" y="384"/>
                      </a:cubicBezTo>
                      <a:cubicBezTo>
                        <a:pt x="297" y="384"/>
                        <a:pt x="297" y="384"/>
                        <a:pt x="298" y="389"/>
                      </a:cubicBezTo>
                      <a:cubicBezTo>
                        <a:pt x="298" y="389"/>
                        <a:pt x="298" y="389"/>
                        <a:pt x="298" y="392"/>
                      </a:cubicBezTo>
                      <a:cubicBezTo>
                        <a:pt x="298" y="392"/>
                        <a:pt x="298" y="392"/>
                        <a:pt x="291" y="396"/>
                      </a:cubicBezTo>
                      <a:cubicBezTo>
                        <a:pt x="291" y="396"/>
                        <a:pt x="291" y="396"/>
                        <a:pt x="292" y="399"/>
                      </a:cubicBezTo>
                      <a:cubicBezTo>
                        <a:pt x="292" y="399"/>
                        <a:pt x="292" y="399"/>
                        <a:pt x="299" y="400"/>
                      </a:cubicBezTo>
                      <a:cubicBezTo>
                        <a:pt x="299" y="400"/>
                        <a:pt x="299" y="400"/>
                        <a:pt x="303" y="404"/>
                      </a:cubicBezTo>
                      <a:cubicBezTo>
                        <a:pt x="303" y="404"/>
                        <a:pt x="303" y="404"/>
                        <a:pt x="309" y="402"/>
                      </a:cubicBezTo>
                      <a:cubicBezTo>
                        <a:pt x="309" y="402"/>
                        <a:pt x="309" y="402"/>
                        <a:pt x="314" y="404"/>
                      </a:cubicBezTo>
                      <a:cubicBezTo>
                        <a:pt x="314" y="404"/>
                        <a:pt x="314" y="404"/>
                        <a:pt x="319" y="401"/>
                      </a:cubicBezTo>
                      <a:cubicBezTo>
                        <a:pt x="319" y="401"/>
                        <a:pt x="319" y="401"/>
                        <a:pt x="321" y="404"/>
                      </a:cubicBezTo>
                      <a:cubicBezTo>
                        <a:pt x="321" y="404"/>
                        <a:pt x="321" y="404"/>
                        <a:pt x="318" y="408"/>
                      </a:cubicBezTo>
                      <a:cubicBezTo>
                        <a:pt x="318" y="408"/>
                        <a:pt x="318" y="408"/>
                        <a:pt x="324" y="407"/>
                      </a:cubicBezTo>
                      <a:cubicBezTo>
                        <a:pt x="324" y="407"/>
                        <a:pt x="324" y="407"/>
                        <a:pt x="326" y="408"/>
                      </a:cubicBezTo>
                      <a:cubicBezTo>
                        <a:pt x="326" y="408"/>
                        <a:pt x="326" y="408"/>
                        <a:pt x="324" y="425"/>
                      </a:cubicBezTo>
                      <a:cubicBezTo>
                        <a:pt x="324" y="425"/>
                        <a:pt x="324" y="425"/>
                        <a:pt x="324" y="432"/>
                      </a:cubicBezTo>
                      <a:cubicBezTo>
                        <a:pt x="324" y="432"/>
                        <a:pt x="324" y="432"/>
                        <a:pt x="328" y="433"/>
                      </a:cubicBezTo>
                      <a:cubicBezTo>
                        <a:pt x="328" y="433"/>
                        <a:pt x="328" y="433"/>
                        <a:pt x="330" y="431"/>
                      </a:cubicBezTo>
                      <a:cubicBezTo>
                        <a:pt x="330" y="431"/>
                        <a:pt x="330" y="431"/>
                        <a:pt x="331" y="428"/>
                      </a:cubicBezTo>
                      <a:cubicBezTo>
                        <a:pt x="331" y="428"/>
                        <a:pt x="331" y="428"/>
                        <a:pt x="334" y="429"/>
                      </a:cubicBezTo>
                      <a:cubicBezTo>
                        <a:pt x="334" y="429"/>
                        <a:pt x="334" y="429"/>
                        <a:pt x="336" y="433"/>
                      </a:cubicBezTo>
                      <a:cubicBezTo>
                        <a:pt x="336" y="433"/>
                        <a:pt x="336" y="433"/>
                        <a:pt x="336" y="443"/>
                      </a:cubicBezTo>
                      <a:cubicBezTo>
                        <a:pt x="336" y="443"/>
                        <a:pt x="336" y="443"/>
                        <a:pt x="335" y="448"/>
                      </a:cubicBezTo>
                      <a:cubicBezTo>
                        <a:pt x="335" y="448"/>
                        <a:pt x="335" y="448"/>
                        <a:pt x="339" y="450"/>
                      </a:cubicBezTo>
                      <a:cubicBezTo>
                        <a:pt x="339" y="450"/>
                        <a:pt x="339" y="450"/>
                        <a:pt x="344" y="450"/>
                      </a:cubicBezTo>
                      <a:cubicBezTo>
                        <a:pt x="344" y="450"/>
                        <a:pt x="344" y="450"/>
                        <a:pt x="348" y="452"/>
                      </a:cubicBezTo>
                      <a:cubicBezTo>
                        <a:pt x="348" y="452"/>
                        <a:pt x="348" y="452"/>
                        <a:pt x="353" y="456"/>
                      </a:cubicBezTo>
                      <a:cubicBezTo>
                        <a:pt x="353" y="456"/>
                        <a:pt x="353" y="456"/>
                        <a:pt x="357" y="457"/>
                      </a:cubicBezTo>
                      <a:cubicBezTo>
                        <a:pt x="357" y="457"/>
                        <a:pt x="357" y="457"/>
                        <a:pt x="356" y="467"/>
                      </a:cubicBezTo>
                      <a:cubicBezTo>
                        <a:pt x="356" y="467"/>
                        <a:pt x="356" y="467"/>
                        <a:pt x="356" y="472"/>
                      </a:cubicBezTo>
                      <a:cubicBezTo>
                        <a:pt x="356" y="472"/>
                        <a:pt x="356" y="472"/>
                        <a:pt x="352" y="473"/>
                      </a:cubicBezTo>
                      <a:cubicBezTo>
                        <a:pt x="352" y="473"/>
                        <a:pt x="352" y="473"/>
                        <a:pt x="354" y="478"/>
                      </a:cubicBezTo>
                      <a:cubicBezTo>
                        <a:pt x="354" y="478"/>
                        <a:pt x="354" y="478"/>
                        <a:pt x="351" y="482"/>
                      </a:cubicBezTo>
                      <a:cubicBezTo>
                        <a:pt x="351" y="482"/>
                        <a:pt x="351" y="482"/>
                        <a:pt x="353" y="483"/>
                      </a:cubicBezTo>
                      <a:cubicBezTo>
                        <a:pt x="353" y="483"/>
                        <a:pt x="353" y="483"/>
                        <a:pt x="356" y="482"/>
                      </a:cubicBezTo>
                      <a:cubicBezTo>
                        <a:pt x="356" y="482"/>
                        <a:pt x="356" y="482"/>
                        <a:pt x="361" y="485"/>
                      </a:cubicBezTo>
                      <a:cubicBezTo>
                        <a:pt x="361" y="485"/>
                        <a:pt x="361" y="485"/>
                        <a:pt x="364" y="483"/>
                      </a:cubicBezTo>
                      <a:cubicBezTo>
                        <a:pt x="364" y="483"/>
                        <a:pt x="364" y="483"/>
                        <a:pt x="369" y="485"/>
                      </a:cubicBezTo>
                      <a:cubicBezTo>
                        <a:pt x="369" y="485"/>
                        <a:pt x="369" y="485"/>
                        <a:pt x="372" y="485"/>
                      </a:cubicBezTo>
                      <a:cubicBezTo>
                        <a:pt x="372" y="485"/>
                        <a:pt x="372" y="485"/>
                        <a:pt x="377" y="489"/>
                      </a:cubicBezTo>
                      <a:cubicBezTo>
                        <a:pt x="377" y="489"/>
                        <a:pt x="377" y="489"/>
                        <a:pt x="381" y="492"/>
                      </a:cubicBezTo>
                      <a:cubicBezTo>
                        <a:pt x="381" y="492"/>
                        <a:pt x="381" y="492"/>
                        <a:pt x="383" y="496"/>
                      </a:cubicBezTo>
                      <a:cubicBezTo>
                        <a:pt x="383" y="496"/>
                        <a:pt x="383" y="496"/>
                        <a:pt x="385" y="499"/>
                      </a:cubicBezTo>
                      <a:cubicBezTo>
                        <a:pt x="385" y="499"/>
                        <a:pt x="385" y="499"/>
                        <a:pt x="390" y="496"/>
                      </a:cubicBezTo>
                      <a:cubicBezTo>
                        <a:pt x="390" y="496"/>
                        <a:pt x="390" y="496"/>
                        <a:pt x="394" y="494"/>
                      </a:cubicBezTo>
                      <a:cubicBezTo>
                        <a:pt x="394" y="494"/>
                        <a:pt x="394" y="494"/>
                        <a:pt x="398" y="496"/>
                      </a:cubicBezTo>
                      <a:cubicBezTo>
                        <a:pt x="398" y="496"/>
                        <a:pt x="398" y="496"/>
                        <a:pt x="399" y="501"/>
                      </a:cubicBezTo>
                      <a:cubicBezTo>
                        <a:pt x="399" y="501"/>
                        <a:pt x="399" y="501"/>
                        <a:pt x="395" y="505"/>
                      </a:cubicBezTo>
                      <a:cubicBezTo>
                        <a:pt x="395" y="505"/>
                        <a:pt x="395" y="505"/>
                        <a:pt x="395" y="509"/>
                      </a:cubicBezTo>
                      <a:cubicBezTo>
                        <a:pt x="395" y="509"/>
                        <a:pt x="395" y="509"/>
                        <a:pt x="392" y="513"/>
                      </a:cubicBezTo>
                      <a:cubicBezTo>
                        <a:pt x="392" y="513"/>
                        <a:pt x="392" y="513"/>
                        <a:pt x="392" y="516"/>
                      </a:cubicBezTo>
                      <a:cubicBezTo>
                        <a:pt x="392" y="516"/>
                        <a:pt x="392" y="516"/>
                        <a:pt x="386" y="519"/>
                      </a:cubicBezTo>
                      <a:cubicBezTo>
                        <a:pt x="386" y="519"/>
                        <a:pt x="386" y="519"/>
                        <a:pt x="384" y="528"/>
                      </a:cubicBezTo>
                      <a:cubicBezTo>
                        <a:pt x="384" y="528"/>
                        <a:pt x="384" y="528"/>
                        <a:pt x="379" y="531"/>
                      </a:cubicBezTo>
                      <a:cubicBezTo>
                        <a:pt x="379" y="531"/>
                        <a:pt x="379" y="531"/>
                        <a:pt x="376" y="535"/>
                      </a:cubicBezTo>
                      <a:cubicBezTo>
                        <a:pt x="376" y="535"/>
                        <a:pt x="376" y="535"/>
                        <a:pt x="376" y="542"/>
                      </a:cubicBezTo>
                      <a:cubicBezTo>
                        <a:pt x="432" y="535"/>
                        <a:pt x="432" y="535"/>
                        <a:pt x="432" y="535"/>
                      </a:cubicBezTo>
                      <a:cubicBezTo>
                        <a:pt x="453" y="535"/>
                        <a:pt x="453" y="535"/>
                        <a:pt x="453" y="535"/>
                      </a:cubicBezTo>
                      <a:cubicBezTo>
                        <a:pt x="453" y="492"/>
                        <a:pt x="453" y="492"/>
                        <a:pt x="453" y="492"/>
                      </a:cubicBezTo>
                      <a:cubicBezTo>
                        <a:pt x="442" y="481"/>
                        <a:pt x="442" y="481"/>
                        <a:pt x="442" y="481"/>
                      </a:cubicBezTo>
                      <a:cubicBezTo>
                        <a:pt x="442" y="470"/>
                        <a:pt x="442" y="470"/>
                        <a:pt x="442" y="470"/>
                      </a:cubicBezTo>
                      <a:cubicBezTo>
                        <a:pt x="486" y="470"/>
                        <a:pt x="486" y="470"/>
                        <a:pt x="486" y="470"/>
                      </a:cubicBezTo>
                      <a:cubicBezTo>
                        <a:pt x="496" y="460"/>
                        <a:pt x="496" y="460"/>
                        <a:pt x="496" y="460"/>
                      </a:cubicBezTo>
                      <a:cubicBezTo>
                        <a:pt x="496" y="417"/>
                        <a:pt x="496" y="417"/>
                        <a:pt x="496" y="417"/>
                      </a:cubicBezTo>
                      <a:lnTo>
                        <a:pt x="486" y="40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517" name="Freeform 342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E57B52FD-6DBB-A938-EA44-8BD8AADEB5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268" y="1436"/>
                  <a:ext cx="121" cy="122"/>
                </a:xfrm>
                <a:custGeom>
                  <a:avLst/>
                  <a:gdLst/>
                  <a:ahLst/>
                  <a:cxnLst>
                    <a:cxn ang="0">
                      <a:pos x="6" y="75"/>
                    </a:cxn>
                    <a:cxn ang="0">
                      <a:pos x="0" y="72"/>
                    </a:cxn>
                    <a:cxn ang="0">
                      <a:pos x="227" y="122"/>
                    </a:cxn>
                    <a:cxn ang="0">
                      <a:pos x="218" y="127"/>
                    </a:cxn>
                    <a:cxn ang="0">
                      <a:pos x="214" y="120"/>
                    </a:cxn>
                    <a:cxn ang="0">
                      <a:pos x="206" y="113"/>
                    </a:cxn>
                    <a:cxn ang="0">
                      <a:pos x="197" y="111"/>
                    </a:cxn>
                    <a:cxn ang="0">
                      <a:pos x="190" y="110"/>
                    </a:cxn>
                    <a:cxn ang="0">
                      <a:pos x="185" y="110"/>
                    </a:cxn>
                    <a:cxn ang="0">
                      <a:pos x="185" y="101"/>
                    </a:cxn>
                    <a:cxn ang="0">
                      <a:pos x="189" y="95"/>
                    </a:cxn>
                    <a:cxn ang="0">
                      <a:pos x="187" y="84"/>
                    </a:cxn>
                    <a:cxn ang="0">
                      <a:pos x="177" y="78"/>
                    </a:cxn>
                    <a:cxn ang="0">
                      <a:pos x="169" y="76"/>
                    </a:cxn>
                    <a:cxn ang="0">
                      <a:pos x="170" y="61"/>
                    </a:cxn>
                    <a:cxn ang="0">
                      <a:pos x="165" y="56"/>
                    </a:cxn>
                    <a:cxn ang="0">
                      <a:pos x="161" y="61"/>
                    </a:cxn>
                    <a:cxn ang="0">
                      <a:pos x="157" y="53"/>
                    </a:cxn>
                    <a:cxn ang="0">
                      <a:pos x="158" y="35"/>
                    </a:cxn>
                    <a:cxn ang="0">
                      <a:pos x="154" y="32"/>
                    </a:cxn>
                    <a:cxn ang="0">
                      <a:pos x="147" y="32"/>
                    </a:cxn>
                    <a:cxn ang="0">
                      <a:pos x="137" y="32"/>
                    </a:cxn>
                    <a:cxn ang="0">
                      <a:pos x="126" y="27"/>
                    </a:cxn>
                    <a:cxn ang="0">
                      <a:pos x="131" y="20"/>
                    </a:cxn>
                    <a:cxn ang="0">
                      <a:pos x="130" y="12"/>
                    </a:cxn>
                    <a:cxn ang="0">
                      <a:pos x="122" y="0"/>
                    </a:cxn>
                    <a:cxn ang="0">
                      <a:pos x="115" y="6"/>
                    </a:cxn>
                    <a:cxn ang="0">
                      <a:pos x="104" y="13"/>
                    </a:cxn>
                    <a:cxn ang="0">
                      <a:pos x="96" y="15"/>
                    </a:cxn>
                    <a:cxn ang="0">
                      <a:pos x="89" y="13"/>
                    </a:cxn>
                    <a:cxn ang="0">
                      <a:pos x="91" y="22"/>
                    </a:cxn>
                    <a:cxn ang="0">
                      <a:pos x="101" y="27"/>
                    </a:cxn>
                    <a:cxn ang="0">
                      <a:pos x="97" y="33"/>
                    </a:cxn>
                    <a:cxn ang="0">
                      <a:pos x="100" y="40"/>
                    </a:cxn>
                    <a:cxn ang="0">
                      <a:pos x="99" y="46"/>
                    </a:cxn>
                    <a:cxn ang="0">
                      <a:pos x="92" y="49"/>
                    </a:cxn>
                    <a:cxn ang="0">
                      <a:pos x="88" y="45"/>
                    </a:cxn>
                    <a:cxn ang="0">
                      <a:pos x="70" y="59"/>
                    </a:cxn>
                    <a:cxn ang="0">
                      <a:pos x="73" y="71"/>
                    </a:cxn>
                    <a:cxn ang="0">
                      <a:pos x="45" y="74"/>
                    </a:cxn>
                    <a:cxn ang="0">
                      <a:pos x="14" y="72"/>
                    </a:cxn>
                    <a:cxn ang="0">
                      <a:pos x="6" y="75"/>
                    </a:cxn>
                    <a:cxn ang="0">
                      <a:pos x="6" y="141"/>
                    </a:cxn>
                    <a:cxn ang="0">
                      <a:pos x="14" y="155"/>
                    </a:cxn>
                    <a:cxn ang="0">
                      <a:pos x="27" y="173"/>
                    </a:cxn>
                    <a:cxn ang="0">
                      <a:pos x="50" y="175"/>
                    </a:cxn>
                    <a:cxn ang="0">
                      <a:pos x="60" y="211"/>
                    </a:cxn>
                    <a:cxn ang="0">
                      <a:pos x="60" y="237"/>
                    </a:cxn>
                    <a:cxn ang="0">
                      <a:pos x="92" y="226"/>
                    </a:cxn>
                    <a:cxn ang="0">
                      <a:pos x="138" y="205"/>
                    </a:cxn>
                    <a:cxn ang="0">
                      <a:pos x="146" y="184"/>
                    </a:cxn>
                    <a:cxn ang="0">
                      <a:pos x="189" y="173"/>
                    </a:cxn>
                    <a:cxn ang="0">
                      <a:pos x="209" y="163"/>
                    </a:cxn>
                    <a:cxn ang="0">
                      <a:pos x="217" y="156"/>
                    </a:cxn>
                    <a:cxn ang="0">
                      <a:pos x="225" y="144"/>
                    </a:cxn>
                    <a:cxn ang="0">
                      <a:pos x="228" y="137"/>
                    </a:cxn>
                    <a:cxn ang="0">
                      <a:pos x="232" y="129"/>
                    </a:cxn>
                  </a:cxnLst>
                  <a:rect l="0" t="0" r="r" b="b"/>
                  <a:pathLst>
                    <a:path w="232" h="237">
                      <a:moveTo>
                        <a:pt x="0" y="72"/>
                      </a:moveTo>
                      <a:cubicBezTo>
                        <a:pt x="1" y="72"/>
                        <a:pt x="2" y="73"/>
                        <a:pt x="6" y="75"/>
                      </a:cubicBezTo>
                      <a:cubicBezTo>
                        <a:pt x="6" y="66"/>
                        <a:pt x="6" y="66"/>
                        <a:pt x="6" y="66"/>
                      </a:cubicBezTo>
                      <a:lnTo>
                        <a:pt x="0" y="72"/>
                      </a:lnTo>
                      <a:close/>
                      <a:moveTo>
                        <a:pt x="231" y="124"/>
                      </a:moveTo>
                      <a:cubicBezTo>
                        <a:pt x="227" y="122"/>
                        <a:pt x="227" y="122"/>
                        <a:pt x="227" y="122"/>
                      </a:cubicBezTo>
                      <a:cubicBezTo>
                        <a:pt x="223" y="124"/>
                        <a:pt x="223" y="124"/>
                        <a:pt x="223" y="124"/>
                      </a:cubicBezTo>
                      <a:cubicBezTo>
                        <a:pt x="218" y="127"/>
                        <a:pt x="218" y="127"/>
                        <a:pt x="218" y="127"/>
                      </a:cubicBezTo>
                      <a:cubicBezTo>
                        <a:pt x="216" y="124"/>
                        <a:pt x="216" y="124"/>
                        <a:pt x="216" y="124"/>
                      </a:cubicBezTo>
                      <a:cubicBezTo>
                        <a:pt x="214" y="120"/>
                        <a:pt x="214" y="120"/>
                        <a:pt x="214" y="120"/>
                      </a:cubicBezTo>
                      <a:cubicBezTo>
                        <a:pt x="210" y="117"/>
                        <a:pt x="210" y="117"/>
                        <a:pt x="210" y="117"/>
                      </a:cubicBezTo>
                      <a:cubicBezTo>
                        <a:pt x="206" y="113"/>
                        <a:pt x="206" y="113"/>
                        <a:pt x="206" y="113"/>
                      </a:cubicBezTo>
                      <a:cubicBezTo>
                        <a:pt x="202" y="113"/>
                        <a:pt x="202" y="113"/>
                        <a:pt x="202" y="113"/>
                      </a:cubicBezTo>
                      <a:cubicBezTo>
                        <a:pt x="197" y="111"/>
                        <a:pt x="197" y="111"/>
                        <a:pt x="197" y="111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6" y="111"/>
                        <a:pt x="186" y="111"/>
                        <a:pt x="186" y="111"/>
                      </a:cubicBezTo>
                      <a:cubicBezTo>
                        <a:pt x="185" y="110"/>
                        <a:pt x="185" y="110"/>
                        <a:pt x="185" y="110"/>
                      </a:cubicBezTo>
                      <a:cubicBezTo>
                        <a:pt x="187" y="106"/>
                        <a:pt x="187" y="106"/>
                        <a:pt x="187" y="106"/>
                      </a:cubicBezTo>
                      <a:cubicBezTo>
                        <a:pt x="185" y="101"/>
                        <a:pt x="185" y="101"/>
                        <a:pt x="185" y="101"/>
                      </a:cubicBezTo>
                      <a:cubicBezTo>
                        <a:pt x="189" y="100"/>
                        <a:pt x="189" y="100"/>
                        <a:pt x="189" y="100"/>
                      </a:cubicBezTo>
                      <a:cubicBezTo>
                        <a:pt x="189" y="95"/>
                        <a:pt x="189" y="95"/>
                        <a:pt x="189" y="95"/>
                      </a:cubicBezTo>
                      <a:cubicBezTo>
                        <a:pt x="191" y="85"/>
                        <a:pt x="191" y="85"/>
                        <a:pt x="191" y="85"/>
                      </a:cubicBezTo>
                      <a:cubicBezTo>
                        <a:pt x="187" y="84"/>
                        <a:pt x="187" y="84"/>
                        <a:pt x="187" y="84"/>
                      </a:cubicBezTo>
                      <a:cubicBezTo>
                        <a:pt x="182" y="80"/>
                        <a:pt x="182" y="80"/>
                        <a:pt x="182" y="80"/>
                      </a:cubicBezTo>
                      <a:cubicBezTo>
                        <a:pt x="177" y="78"/>
                        <a:pt x="177" y="78"/>
                        <a:pt x="177" y="78"/>
                      </a:cubicBezTo>
                      <a:cubicBezTo>
                        <a:pt x="172" y="78"/>
                        <a:pt x="172" y="78"/>
                        <a:pt x="172" y="78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69" y="71"/>
                        <a:pt x="169" y="71"/>
                        <a:pt x="169" y="71"/>
                      </a:cubicBezTo>
                      <a:cubicBezTo>
                        <a:pt x="170" y="61"/>
                        <a:pt x="170" y="61"/>
                        <a:pt x="170" y="61"/>
                      </a:cubicBezTo>
                      <a:cubicBezTo>
                        <a:pt x="167" y="57"/>
                        <a:pt x="167" y="57"/>
                        <a:pt x="167" y="57"/>
                      </a:cubicBezTo>
                      <a:cubicBezTo>
                        <a:pt x="165" y="56"/>
                        <a:pt x="165" y="56"/>
                        <a:pt x="165" y="56"/>
                      </a:cubicBezTo>
                      <a:cubicBezTo>
                        <a:pt x="163" y="59"/>
                        <a:pt x="163" y="59"/>
                        <a:pt x="163" y="59"/>
                      </a:cubicBezTo>
                      <a:cubicBezTo>
                        <a:pt x="161" y="61"/>
                        <a:pt x="161" y="61"/>
                        <a:pt x="161" y="61"/>
                      </a:cubicBezTo>
                      <a:cubicBezTo>
                        <a:pt x="158" y="60"/>
                        <a:pt x="158" y="60"/>
                        <a:pt x="158" y="60"/>
                      </a:cubicBezTo>
                      <a:cubicBezTo>
                        <a:pt x="157" y="53"/>
                        <a:pt x="157" y="53"/>
                        <a:pt x="157" y="53"/>
                      </a:cubicBezTo>
                      <a:cubicBezTo>
                        <a:pt x="159" y="36"/>
                        <a:pt x="159" y="36"/>
                        <a:pt x="159" y="36"/>
                      </a:cubicBezTo>
                      <a:cubicBezTo>
                        <a:pt x="158" y="35"/>
                        <a:pt x="158" y="35"/>
                        <a:pt x="158" y="35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cubicBezTo>
                        <a:pt x="154" y="32"/>
                        <a:pt x="154" y="32"/>
                        <a:pt x="154" y="32"/>
                      </a:cubicBezTo>
                      <a:cubicBezTo>
                        <a:pt x="152" y="29"/>
                        <a:pt x="152" y="29"/>
                        <a:pt x="152" y="29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2" y="30"/>
                        <a:pt x="142" y="30"/>
                        <a:pt x="142" y="30"/>
                      </a:cubicBezTo>
                      <a:cubicBezTo>
                        <a:pt x="137" y="32"/>
                        <a:pt x="137" y="32"/>
                        <a:pt x="137" y="32"/>
                      </a:cubicBezTo>
                      <a:cubicBezTo>
                        <a:pt x="132" y="28"/>
                        <a:pt x="132" y="28"/>
                        <a:pt x="132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5" y="24"/>
                        <a:pt x="125" y="24"/>
                        <a:pt x="125" y="24"/>
                      </a:cubicBezTo>
                      <a:cubicBezTo>
                        <a:pt x="131" y="20"/>
                        <a:pt x="131" y="20"/>
                        <a:pt x="131" y="20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6" y="5"/>
                        <a:pt x="126" y="5"/>
                        <a:pt x="126" y="5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5" y="6"/>
                        <a:pt x="115" y="6"/>
                        <a:pt x="115" y="6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0" y="16"/>
                        <a:pt x="100" y="16"/>
                        <a:pt x="100" y="16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88" y="16"/>
                        <a:pt x="88" y="16"/>
                        <a:pt x="88" y="16"/>
                      </a:cubicBezTo>
                      <a:cubicBezTo>
                        <a:pt x="91" y="22"/>
                        <a:pt x="91" y="22"/>
                        <a:pt x="91" y="22"/>
                      </a:cubicBezTo>
                      <a:cubicBezTo>
                        <a:pt x="99" y="24"/>
                        <a:pt x="99" y="24"/>
                        <a:pt x="99" y="24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97" y="30"/>
                        <a:pt x="97" y="30"/>
                        <a:pt x="97" y="30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100" y="40"/>
                        <a:pt x="100" y="40"/>
                        <a:pt x="100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9" y="46"/>
                        <a:pt x="99" y="46"/>
                        <a:pt x="99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70" y="59"/>
                        <a:pt x="70" y="59"/>
                        <a:pt x="70" y="59"/>
                      </a:cubicBezTo>
                      <a:cubicBezTo>
                        <a:pt x="72" y="65"/>
                        <a:pt x="72" y="65"/>
                        <a:pt x="72" y="65"/>
                      </a:cubicBezTo>
                      <a:cubicBezTo>
                        <a:pt x="73" y="71"/>
                        <a:pt x="73" y="71"/>
                        <a:pt x="73" y="71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8" y="76"/>
                        <a:pt x="7" y="76"/>
                        <a:pt x="6" y="75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14" y="153"/>
                        <a:pt x="14" y="153"/>
                        <a:pt x="14" y="153"/>
                      </a:cubicBezTo>
                      <a:cubicBezTo>
                        <a:pt x="14" y="154"/>
                        <a:pt x="14" y="155"/>
                        <a:pt x="14" y="155"/>
                      </a:cubicBezTo>
                      <a:cubicBezTo>
                        <a:pt x="14" y="155"/>
                        <a:pt x="15" y="155"/>
                        <a:pt x="16" y="156"/>
                      </a:cubicBez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48" y="173"/>
                        <a:pt x="48" y="173"/>
                        <a:pt x="48" y="173"/>
                      </a:cubicBezTo>
                      <a:cubicBezTo>
                        <a:pt x="48" y="173"/>
                        <a:pt x="49" y="174"/>
                        <a:pt x="50" y="175"/>
                      </a:cubicBezTo>
                      <a:cubicBezTo>
                        <a:pt x="59" y="201"/>
                        <a:pt x="59" y="201"/>
                        <a:pt x="59" y="201"/>
                      </a:cubicBezTo>
                      <a:cubicBezTo>
                        <a:pt x="59" y="205"/>
                        <a:pt x="60" y="208"/>
                        <a:pt x="60" y="211"/>
                      </a:cubicBezTo>
                      <a:cubicBezTo>
                        <a:pt x="60" y="229"/>
                        <a:pt x="60" y="229"/>
                        <a:pt x="60" y="229"/>
                      </a:cubicBezTo>
                      <a:cubicBezTo>
                        <a:pt x="60" y="237"/>
                        <a:pt x="60" y="237"/>
                        <a:pt x="60" y="237"/>
                      </a:cubicBezTo>
                      <a:cubicBezTo>
                        <a:pt x="76" y="232"/>
                        <a:pt x="76" y="232"/>
                        <a:pt x="76" y="232"/>
                      </a:cubicBezTo>
                      <a:cubicBezTo>
                        <a:pt x="92" y="226"/>
                        <a:pt x="92" y="226"/>
                        <a:pt x="92" y="226"/>
                      </a:cubicBezTo>
                      <a:cubicBezTo>
                        <a:pt x="103" y="205"/>
                        <a:pt x="103" y="205"/>
                        <a:pt x="103" y="205"/>
                      </a:cubicBezTo>
                      <a:cubicBezTo>
                        <a:pt x="138" y="205"/>
                        <a:pt x="138" y="205"/>
                        <a:pt x="138" y="205"/>
                      </a:cubicBezTo>
                      <a:cubicBezTo>
                        <a:pt x="146" y="205"/>
                        <a:pt x="146" y="205"/>
                        <a:pt x="146" y="205"/>
                      </a:cubicBezTo>
                      <a:cubicBezTo>
                        <a:pt x="146" y="184"/>
                        <a:pt x="146" y="184"/>
                        <a:pt x="146" y="184"/>
                      </a:cubicBezTo>
                      <a:cubicBezTo>
                        <a:pt x="178" y="184"/>
                        <a:pt x="178" y="184"/>
                        <a:pt x="178" y="184"/>
                      </a:cubicBezTo>
                      <a:cubicBezTo>
                        <a:pt x="189" y="173"/>
                        <a:pt x="189" y="173"/>
                        <a:pt x="189" y="173"/>
                      </a:cubicBezTo>
                      <a:cubicBezTo>
                        <a:pt x="210" y="170"/>
                        <a:pt x="210" y="170"/>
                        <a:pt x="210" y="170"/>
                      </a:cubicBezTo>
                      <a:cubicBezTo>
                        <a:pt x="209" y="163"/>
                        <a:pt x="209" y="163"/>
                        <a:pt x="209" y="163"/>
                      </a:cubicBezTo>
                      <a:cubicBezTo>
                        <a:pt x="213" y="159"/>
                        <a:pt x="213" y="159"/>
                        <a:pt x="213" y="159"/>
                      </a:cubicBezTo>
                      <a:cubicBezTo>
                        <a:pt x="217" y="156"/>
                        <a:pt x="217" y="156"/>
                        <a:pt x="217" y="156"/>
                      </a:cubicBezTo>
                      <a:cubicBezTo>
                        <a:pt x="219" y="147"/>
                        <a:pt x="219" y="147"/>
                        <a:pt x="219" y="147"/>
                      </a:cubicBezTo>
                      <a:cubicBezTo>
                        <a:pt x="225" y="144"/>
                        <a:pt x="225" y="144"/>
                        <a:pt x="225" y="144"/>
                      </a:cubicBezTo>
                      <a:cubicBezTo>
                        <a:pt x="225" y="141"/>
                        <a:pt x="225" y="141"/>
                        <a:pt x="225" y="141"/>
                      </a:cubicBezTo>
                      <a:cubicBezTo>
                        <a:pt x="228" y="137"/>
                        <a:pt x="228" y="137"/>
                        <a:pt x="228" y="137"/>
                      </a:cubicBezTo>
                      <a:cubicBezTo>
                        <a:pt x="229" y="133"/>
                        <a:pt x="229" y="133"/>
                        <a:pt x="229" y="133"/>
                      </a:cubicBezTo>
                      <a:cubicBezTo>
                        <a:pt x="232" y="129"/>
                        <a:pt x="232" y="129"/>
                        <a:pt x="232" y="129"/>
                      </a:cubicBezTo>
                      <a:cubicBezTo>
                        <a:pt x="231" y="124"/>
                        <a:pt x="231" y="124"/>
                        <a:pt x="231" y="124"/>
                      </a:cubicBez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</p:grpSp>
          <p:grpSp>
            <p:nvGrpSpPr>
              <p:cNvPr id="498" name="Gruppieren 70">
                <a:extLst>
                  <a:ext uri="{FF2B5EF4-FFF2-40B4-BE49-F238E27FC236}">
                    <a16:creationId xmlns:a16="http://schemas.microsoft.com/office/drawing/2014/main" id="{08BAAC9A-ED64-9FD5-C8D6-E2A831990E88}"/>
                  </a:ext>
                </a:extLst>
              </p:cNvPr>
              <p:cNvGrpSpPr/>
              <p:nvPr/>
            </p:nvGrpSpPr>
            <p:grpSpPr>
              <a:xfrm>
                <a:off x="5913033" y="1944270"/>
                <a:ext cx="196076" cy="202747"/>
                <a:chOff x="4318001" y="1228725"/>
                <a:chExt cx="2952752" cy="3989388"/>
              </a:xfrm>
              <a:grpFill/>
              <a:effectLst/>
            </p:grpSpPr>
            <p:sp>
              <p:nvSpPr>
                <p:cNvPr id="499" name="Freeform 45">
                  <a:extLst>
                    <a:ext uri="{FF2B5EF4-FFF2-40B4-BE49-F238E27FC236}">
                      <a16:creationId xmlns:a16="http://schemas.microsoft.com/office/drawing/2014/main" id="{66D6CD94-1326-D5FE-9D2B-F48D000583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8001" y="4873625"/>
                  <a:ext cx="457200" cy="344488"/>
                </a:xfrm>
                <a:custGeom>
                  <a:avLst/>
                  <a:gdLst>
                    <a:gd name="T0" fmla="*/ 260 w 288"/>
                    <a:gd name="T1" fmla="*/ 164 h 217"/>
                    <a:gd name="T2" fmla="*/ 279 w 288"/>
                    <a:gd name="T3" fmla="*/ 148 h 217"/>
                    <a:gd name="T4" fmla="*/ 282 w 288"/>
                    <a:gd name="T5" fmla="*/ 137 h 217"/>
                    <a:gd name="T6" fmla="*/ 288 w 288"/>
                    <a:gd name="T7" fmla="*/ 127 h 217"/>
                    <a:gd name="T8" fmla="*/ 288 w 288"/>
                    <a:gd name="T9" fmla="*/ 116 h 217"/>
                    <a:gd name="T10" fmla="*/ 264 w 288"/>
                    <a:gd name="T11" fmla="*/ 108 h 217"/>
                    <a:gd name="T12" fmla="*/ 260 w 288"/>
                    <a:gd name="T13" fmla="*/ 95 h 217"/>
                    <a:gd name="T14" fmla="*/ 245 w 288"/>
                    <a:gd name="T15" fmla="*/ 82 h 217"/>
                    <a:gd name="T16" fmla="*/ 260 w 288"/>
                    <a:gd name="T17" fmla="*/ 67 h 217"/>
                    <a:gd name="T18" fmla="*/ 258 w 288"/>
                    <a:gd name="T19" fmla="*/ 50 h 217"/>
                    <a:gd name="T20" fmla="*/ 252 w 288"/>
                    <a:gd name="T21" fmla="*/ 24 h 217"/>
                    <a:gd name="T22" fmla="*/ 237 w 288"/>
                    <a:gd name="T23" fmla="*/ 27 h 217"/>
                    <a:gd name="T24" fmla="*/ 229 w 288"/>
                    <a:gd name="T25" fmla="*/ 19 h 217"/>
                    <a:gd name="T26" fmla="*/ 207 w 288"/>
                    <a:gd name="T27" fmla="*/ 14 h 217"/>
                    <a:gd name="T28" fmla="*/ 195 w 288"/>
                    <a:gd name="T29" fmla="*/ 0 h 217"/>
                    <a:gd name="T30" fmla="*/ 165 w 288"/>
                    <a:gd name="T31" fmla="*/ 0 h 217"/>
                    <a:gd name="T32" fmla="*/ 136 w 288"/>
                    <a:gd name="T33" fmla="*/ 16 h 217"/>
                    <a:gd name="T34" fmla="*/ 101 w 288"/>
                    <a:gd name="T35" fmla="*/ 34 h 217"/>
                    <a:gd name="T36" fmla="*/ 69 w 288"/>
                    <a:gd name="T37" fmla="*/ 50 h 217"/>
                    <a:gd name="T38" fmla="*/ 43 w 288"/>
                    <a:gd name="T39" fmla="*/ 39 h 217"/>
                    <a:gd name="T40" fmla="*/ 1 w 288"/>
                    <a:gd name="T41" fmla="*/ 39 h 217"/>
                    <a:gd name="T42" fmla="*/ 0 w 288"/>
                    <a:gd name="T43" fmla="*/ 67 h 217"/>
                    <a:gd name="T44" fmla="*/ 22 w 288"/>
                    <a:gd name="T45" fmla="*/ 67 h 217"/>
                    <a:gd name="T46" fmla="*/ 56 w 288"/>
                    <a:gd name="T47" fmla="*/ 98 h 217"/>
                    <a:gd name="T48" fmla="*/ 67 w 288"/>
                    <a:gd name="T49" fmla="*/ 128 h 217"/>
                    <a:gd name="T50" fmla="*/ 81 w 288"/>
                    <a:gd name="T51" fmla="*/ 148 h 217"/>
                    <a:gd name="T52" fmla="*/ 96 w 288"/>
                    <a:gd name="T53" fmla="*/ 193 h 217"/>
                    <a:gd name="T54" fmla="*/ 110 w 288"/>
                    <a:gd name="T55" fmla="*/ 193 h 217"/>
                    <a:gd name="T56" fmla="*/ 131 w 288"/>
                    <a:gd name="T57" fmla="*/ 201 h 217"/>
                    <a:gd name="T58" fmla="*/ 131 w 288"/>
                    <a:gd name="T59" fmla="*/ 175 h 217"/>
                    <a:gd name="T60" fmla="*/ 162 w 288"/>
                    <a:gd name="T61" fmla="*/ 175 h 217"/>
                    <a:gd name="T62" fmla="*/ 181 w 288"/>
                    <a:gd name="T63" fmla="*/ 185 h 217"/>
                    <a:gd name="T64" fmla="*/ 187 w 288"/>
                    <a:gd name="T65" fmla="*/ 212 h 217"/>
                    <a:gd name="T66" fmla="*/ 205 w 288"/>
                    <a:gd name="T67" fmla="*/ 201 h 217"/>
                    <a:gd name="T68" fmla="*/ 218 w 288"/>
                    <a:gd name="T69" fmla="*/ 217 h 217"/>
                    <a:gd name="T70" fmla="*/ 253 w 288"/>
                    <a:gd name="T71" fmla="*/ 217 h 217"/>
                    <a:gd name="T72" fmla="*/ 272 w 288"/>
                    <a:gd name="T73" fmla="*/ 194 h 217"/>
                    <a:gd name="T74" fmla="*/ 260 w 288"/>
                    <a:gd name="T75" fmla="*/ 181 h 217"/>
                    <a:gd name="T76" fmla="*/ 260 w 288"/>
                    <a:gd name="T77" fmla="*/ 164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88" h="217">
                      <a:moveTo>
                        <a:pt x="260" y="164"/>
                      </a:moveTo>
                      <a:lnTo>
                        <a:pt x="279" y="148"/>
                      </a:lnTo>
                      <a:lnTo>
                        <a:pt x="282" y="137"/>
                      </a:lnTo>
                      <a:lnTo>
                        <a:pt x="288" y="127"/>
                      </a:lnTo>
                      <a:lnTo>
                        <a:pt x="288" y="116"/>
                      </a:lnTo>
                      <a:lnTo>
                        <a:pt x="264" y="108"/>
                      </a:lnTo>
                      <a:lnTo>
                        <a:pt x="260" y="95"/>
                      </a:lnTo>
                      <a:lnTo>
                        <a:pt x="245" y="82"/>
                      </a:lnTo>
                      <a:lnTo>
                        <a:pt x="260" y="67"/>
                      </a:lnTo>
                      <a:lnTo>
                        <a:pt x="258" y="50"/>
                      </a:lnTo>
                      <a:lnTo>
                        <a:pt x="252" y="24"/>
                      </a:lnTo>
                      <a:lnTo>
                        <a:pt x="237" y="27"/>
                      </a:lnTo>
                      <a:lnTo>
                        <a:pt x="229" y="19"/>
                      </a:lnTo>
                      <a:lnTo>
                        <a:pt x="207" y="14"/>
                      </a:lnTo>
                      <a:lnTo>
                        <a:pt x="195" y="0"/>
                      </a:lnTo>
                      <a:lnTo>
                        <a:pt x="165" y="0"/>
                      </a:lnTo>
                      <a:lnTo>
                        <a:pt x="136" y="16"/>
                      </a:lnTo>
                      <a:lnTo>
                        <a:pt x="101" y="34"/>
                      </a:lnTo>
                      <a:lnTo>
                        <a:pt x="69" y="50"/>
                      </a:lnTo>
                      <a:lnTo>
                        <a:pt x="43" y="39"/>
                      </a:lnTo>
                      <a:lnTo>
                        <a:pt x="1" y="39"/>
                      </a:lnTo>
                      <a:lnTo>
                        <a:pt x="0" y="67"/>
                      </a:lnTo>
                      <a:lnTo>
                        <a:pt x="22" y="67"/>
                      </a:lnTo>
                      <a:lnTo>
                        <a:pt x="56" y="98"/>
                      </a:lnTo>
                      <a:lnTo>
                        <a:pt x="67" y="128"/>
                      </a:lnTo>
                      <a:lnTo>
                        <a:pt x="81" y="148"/>
                      </a:lnTo>
                      <a:lnTo>
                        <a:pt x="96" y="193"/>
                      </a:lnTo>
                      <a:lnTo>
                        <a:pt x="110" y="193"/>
                      </a:lnTo>
                      <a:lnTo>
                        <a:pt x="131" y="201"/>
                      </a:lnTo>
                      <a:lnTo>
                        <a:pt x="131" y="175"/>
                      </a:lnTo>
                      <a:lnTo>
                        <a:pt x="162" y="175"/>
                      </a:lnTo>
                      <a:lnTo>
                        <a:pt x="181" y="185"/>
                      </a:lnTo>
                      <a:lnTo>
                        <a:pt x="187" y="212"/>
                      </a:lnTo>
                      <a:lnTo>
                        <a:pt x="205" y="201"/>
                      </a:lnTo>
                      <a:lnTo>
                        <a:pt x="218" y="217"/>
                      </a:lnTo>
                      <a:lnTo>
                        <a:pt x="253" y="217"/>
                      </a:lnTo>
                      <a:lnTo>
                        <a:pt x="272" y="194"/>
                      </a:lnTo>
                      <a:lnTo>
                        <a:pt x="260" y="181"/>
                      </a:lnTo>
                      <a:lnTo>
                        <a:pt x="260" y="164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0" name="Freeform 52">
                  <a:extLst>
                    <a:ext uri="{FF2B5EF4-FFF2-40B4-BE49-F238E27FC236}">
                      <a16:creationId xmlns:a16="http://schemas.microsoft.com/office/drawing/2014/main" id="{3B3279B6-638B-7205-77B2-137E30B78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7163" y="2055813"/>
                  <a:ext cx="231775" cy="460375"/>
                </a:xfrm>
                <a:custGeom>
                  <a:avLst/>
                  <a:gdLst>
                    <a:gd name="T0" fmla="*/ 3 w 146"/>
                    <a:gd name="T1" fmla="*/ 199 h 290"/>
                    <a:gd name="T2" fmla="*/ 24 w 146"/>
                    <a:gd name="T3" fmla="*/ 213 h 290"/>
                    <a:gd name="T4" fmla="*/ 39 w 146"/>
                    <a:gd name="T5" fmla="*/ 223 h 290"/>
                    <a:gd name="T6" fmla="*/ 48 w 146"/>
                    <a:gd name="T7" fmla="*/ 236 h 290"/>
                    <a:gd name="T8" fmla="*/ 56 w 146"/>
                    <a:gd name="T9" fmla="*/ 253 h 290"/>
                    <a:gd name="T10" fmla="*/ 69 w 146"/>
                    <a:gd name="T11" fmla="*/ 258 h 290"/>
                    <a:gd name="T12" fmla="*/ 71 w 146"/>
                    <a:gd name="T13" fmla="*/ 276 h 290"/>
                    <a:gd name="T14" fmla="*/ 93 w 146"/>
                    <a:gd name="T15" fmla="*/ 279 h 290"/>
                    <a:gd name="T16" fmla="*/ 106 w 146"/>
                    <a:gd name="T17" fmla="*/ 284 h 290"/>
                    <a:gd name="T18" fmla="*/ 125 w 146"/>
                    <a:gd name="T19" fmla="*/ 290 h 290"/>
                    <a:gd name="T20" fmla="*/ 140 w 146"/>
                    <a:gd name="T21" fmla="*/ 276 h 290"/>
                    <a:gd name="T22" fmla="*/ 136 w 146"/>
                    <a:gd name="T23" fmla="*/ 256 h 290"/>
                    <a:gd name="T24" fmla="*/ 146 w 146"/>
                    <a:gd name="T25" fmla="*/ 247 h 290"/>
                    <a:gd name="T26" fmla="*/ 136 w 146"/>
                    <a:gd name="T27" fmla="*/ 239 h 290"/>
                    <a:gd name="T28" fmla="*/ 140 w 146"/>
                    <a:gd name="T29" fmla="*/ 229 h 290"/>
                    <a:gd name="T30" fmla="*/ 130 w 146"/>
                    <a:gd name="T31" fmla="*/ 224 h 290"/>
                    <a:gd name="T32" fmla="*/ 122 w 146"/>
                    <a:gd name="T33" fmla="*/ 236 h 290"/>
                    <a:gd name="T34" fmla="*/ 108 w 146"/>
                    <a:gd name="T35" fmla="*/ 229 h 290"/>
                    <a:gd name="T36" fmla="*/ 100 w 146"/>
                    <a:gd name="T37" fmla="*/ 219 h 290"/>
                    <a:gd name="T38" fmla="*/ 75 w 146"/>
                    <a:gd name="T39" fmla="*/ 219 h 290"/>
                    <a:gd name="T40" fmla="*/ 64 w 146"/>
                    <a:gd name="T41" fmla="*/ 207 h 290"/>
                    <a:gd name="T42" fmla="*/ 48 w 146"/>
                    <a:gd name="T43" fmla="*/ 213 h 290"/>
                    <a:gd name="T44" fmla="*/ 35 w 146"/>
                    <a:gd name="T45" fmla="*/ 208 h 290"/>
                    <a:gd name="T46" fmla="*/ 39 w 146"/>
                    <a:gd name="T47" fmla="*/ 195 h 290"/>
                    <a:gd name="T48" fmla="*/ 13 w 146"/>
                    <a:gd name="T49" fmla="*/ 195 h 290"/>
                    <a:gd name="T50" fmla="*/ 14 w 146"/>
                    <a:gd name="T51" fmla="*/ 163 h 290"/>
                    <a:gd name="T52" fmla="*/ 10 w 146"/>
                    <a:gd name="T53" fmla="*/ 141 h 290"/>
                    <a:gd name="T54" fmla="*/ 18 w 146"/>
                    <a:gd name="T55" fmla="*/ 75 h 290"/>
                    <a:gd name="T56" fmla="*/ 31 w 146"/>
                    <a:gd name="T57" fmla="*/ 69 h 290"/>
                    <a:gd name="T58" fmla="*/ 51 w 146"/>
                    <a:gd name="T59" fmla="*/ 69 h 290"/>
                    <a:gd name="T60" fmla="*/ 53 w 146"/>
                    <a:gd name="T61" fmla="*/ 56 h 290"/>
                    <a:gd name="T62" fmla="*/ 48 w 146"/>
                    <a:gd name="T63" fmla="*/ 38 h 290"/>
                    <a:gd name="T64" fmla="*/ 43 w 146"/>
                    <a:gd name="T65" fmla="*/ 27 h 290"/>
                    <a:gd name="T66" fmla="*/ 53 w 146"/>
                    <a:gd name="T67" fmla="*/ 17 h 290"/>
                    <a:gd name="T68" fmla="*/ 32 w 146"/>
                    <a:gd name="T69" fmla="*/ 17 h 290"/>
                    <a:gd name="T70" fmla="*/ 18 w 146"/>
                    <a:gd name="T71" fmla="*/ 14 h 290"/>
                    <a:gd name="T72" fmla="*/ 2 w 146"/>
                    <a:gd name="T73" fmla="*/ 0 h 290"/>
                    <a:gd name="T74" fmla="*/ 24 w 146"/>
                    <a:gd name="T75" fmla="*/ 38 h 290"/>
                    <a:gd name="T76" fmla="*/ 23 w 146"/>
                    <a:gd name="T77" fmla="*/ 62 h 290"/>
                    <a:gd name="T78" fmla="*/ 11 w 146"/>
                    <a:gd name="T79" fmla="*/ 73 h 290"/>
                    <a:gd name="T80" fmla="*/ 0 w 146"/>
                    <a:gd name="T81" fmla="*/ 141 h 290"/>
                    <a:gd name="T82" fmla="*/ 8 w 146"/>
                    <a:gd name="T83" fmla="*/ 163 h 290"/>
                    <a:gd name="T84" fmla="*/ 3 w 146"/>
                    <a:gd name="T85" fmla="*/ 199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6" h="290">
                      <a:moveTo>
                        <a:pt x="3" y="199"/>
                      </a:moveTo>
                      <a:lnTo>
                        <a:pt x="24" y="213"/>
                      </a:lnTo>
                      <a:lnTo>
                        <a:pt x="39" y="223"/>
                      </a:lnTo>
                      <a:lnTo>
                        <a:pt x="48" y="236"/>
                      </a:lnTo>
                      <a:lnTo>
                        <a:pt x="56" y="253"/>
                      </a:lnTo>
                      <a:lnTo>
                        <a:pt x="69" y="258"/>
                      </a:lnTo>
                      <a:lnTo>
                        <a:pt x="71" y="276"/>
                      </a:lnTo>
                      <a:lnTo>
                        <a:pt x="93" y="279"/>
                      </a:lnTo>
                      <a:lnTo>
                        <a:pt x="106" y="284"/>
                      </a:lnTo>
                      <a:lnTo>
                        <a:pt x="125" y="290"/>
                      </a:lnTo>
                      <a:lnTo>
                        <a:pt x="140" y="276"/>
                      </a:lnTo>
                      <a:lnTo>
                        <a:pt x="136" y="256"/>
                      </a:lnTo>
                      <a:lnTo>
                        <a:pt x="146" y="247"/>
                      </a:lnTo>
                      <a:lnTo>
                        <a:pt x="136" y="239"/>
                      </a:lnTo>
                      <a:lnTo>
                        <a:pt x="140" y="229"/>
                      </a:lnTo>
                      <a:lnTo>
                        <a:pt x="130" y="224"/>
                      </a:lnTo>
                      <a:lnTo>
                        <a:pt x="122" y="236"/>
                      </a:lnTo>
                      <a:lnTo>
                        <a:pt x="108" y="229"/>
                      </a:lnTo>
                      <a:lnTo>
                        <a:pt x="100" y="219"/>
                      </a:lnTo>
                      <a:lnTo>
                        <a:pt x="75" y="219"/>
                      </a:lnTo>
                      <a:lnTo>
                        <a:pt x="64" y="207"/>
                      </a:lnTo>
                      <a:lnTo>
                        <a:pt x="48" y="213"/>
                      </a:lnTo>
                      <a:lnTo>
                        <a:pt x="35" y="208"/>
                      </a:lnTo>
                      <a:lnTo>
                        <a:pt x="39" y="195"/>
                      </a:lnTo>
                      <a:lnTo>
                        <a:pt x="13" y="195"/>
                      </a:lnTo>
                      <a:lnTo>
                        <a:pt x="14" y="163"/>
                      </a:lnTo>
                      <a:lnTo>
                        <a:pt x="10" y="141"/>
                      </a:lnTo>
                      <a:lnTo>
                        <a:pt x="18" y="75"/>
                      </a:lnTo>
                      <a:lnTo>
                        <a:pt x="31" y="69"/>
                      </a:lnTo>
                      <a:lnTo>
                        <a:pt x="51" y="69"/>
                      </a:lnTo>
                      <a:lnTo>
                        <a:pt x="53" y="56"/>
                      </a:lnTo>
                      <a:lnTo>
                        <a:pt x="48" y="38"/>
                      </a:lnTo>
                      <a:lnTo>
                        <a:pt x="43" y="27"/>
                      </a:lnTo>
                      <a:lnTo>
                        <a:pt x="53" y="17"/>
                      </a:lnTo>
                      <a:lnTo>
                        <a:pt x="32" y="17"/>
                      </a:lnTo>
                      <a:lnTo>
                        <a:pt x="18" y="14"/>
                      </a:lnTo>
                      <a:lnTo>
                        <a:pt x="2" y="0"/>
                      </a:lnTo>
                      <a:lnTo>
                        <a:pt x="24" y="38"/>
                      </a:lnTo>
                      <a:lnTo>
                        <a:pt x="23" y="62"/>
                      </a:lnTo>
                      <a:lnTo>
                        <a:pt x="11" y="73"/>
                      </a:lnTo>
                      <a:lnTo>
                        <a:pt x="0" y="141"/>
                      </a:lnTo>
                      <a:lnTo>
                        <a:pt x="8" y="163"/>
                      </a:lnTo>
                      <a:lnTo>
                        <a:pt x="3" y="199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grpSp>
              <p:nvGrpSpPr>
                <p:cNvPr id="501" name="Group 210">
                  <a:extLst>
                    <a:ext uri="{FF2B5EF4-FFF2-40B4-BE49-F238E27FC236}">
                      <a16:creationId xmlns:a16="http://schemas.microsoft.com/office/drawing/2014/main" id="{3EA51269-7F29-9735-D599-D0AFB0EE64CE}"/>
                    </a:ext>
                  </a:extLst>
                </p:cNvPr>
                <p:cNvGrpSpPr/>
                <p:nvPr/>
              </p:nvGrpSpPr>
              <p:grpSpPr>
                <a:xfrm>
                  <a:off x="5149851" y="1228725"/>
                  <a:ext cx="1317625" cy="265113"/>
                  <a:chOff x="5149851" y="1228725"/>
                  <a:chExt cx="1317625" cy="265113"/>
                </a:xfrm>
                <a:grpFill/>
              </p:grpSpPr>
              <p:sp>
                <p:nvSpPr>
                  <p:cNvPr id="511" name="Freeform 53">
                    <a:extLst>
                      <a:ext uri="{FF2B5EF4-FFF2-40B4-BE49-F238E27FC236}">
                        <a16:creationId xmlns:a16="http://schemas.microsoft.com/office/drawing/2014/main" id="{3A6F9A7A-F547-45D4-B668-CD6BF128A2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86376" y="1379538"/>
                    <a:ext cx="44450" cy="50800"/>
                  </a:xfrm>
                  <a:custGeom>
                    <a:avLst/>
                    <a:gdLst>
                      <a:gd name="T0" fmla="*/ 1 w 28"/>
                      <a:gd name="T1" fmla="*/ 26 h 32"/>
                      <a:gd name="T2" fmla="*/ 8 w 28"/>
                      <a:gd name="T3" fmla="*/ 32 h 32"/>
                      <a:gd name="T4" fmla="*/ 28 w 28"/>
                      <a:gd name="T5" fmla="*/ 24 h 32"/>
                      <a:gd name="T6" fmla="*/ 28 w 28"/>
                      <a:gd name="T7" fmla="*/ 0 h 32"/>
                      <a:gd name="T8" fmla="*/ 8 w 28"/>
                      <a:gd name="T9" fmla="*/ 5 h 32"/>
                      <a:gd name="T10" fmla="*/ 0 w 28"/>
                      <a:gd name="T11" fmla="*/ 13 h 32"/>
                      <a:gd name="T12" fmla="*/ 1 w 28"/>
                      <a:gd name="T13" fmla="*/ 2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2">
                        <a:moveTo>
                          <a:pt x="1" y="26"/>
                        </a:moveTo>
                        <a:lnTo>
                          <a:pt x="8" y="32"/>
                        </a:lnTo>
                        <a:lnTo>
                          <a:pt x="28" y="24"/>
                        </a:lnTo>
                        <a:lnTo>
                          <a:pt x="28" y="0"/>
                        </a:lnTo>
                        <a:lnTo>
                          <a:pt x="8" y="5"/>
                        </a:lnTo>
                        <a:lnTo>
                          <a:pt x="0" y="13"/>
                        </a:lnTo>
                        <a:lnTo>
                          <a:pt x="1" y="26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12" name="Freeform 54">
                    <a:extLst>
                      <a:ext uri="{FF2B5EF4-FFF2-40B4-BE49-F238E27FC236}">
                        <a16:creationId xmlns:a16="http://schemas.microsoft.com/office/drawing/2014/main" id="{9968DACD-5865-76CB-EC29-917939295D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59388" y="1311275"/>
                    <a:ext cx="44450" cy="14288"/>
                  </a:xfrm>
                  <a:custGeom>
                    <a:avLst/>
                    <a:gdLst>
                      <a:gd name="T0" fmla="*/ 10 w 28"/>
                      <a:gd name="T1" fmla="*/ 0 h 9"/>
                      <a:gd name="T2" fmla="*/ 0 w 28"/>
                      <a:gd name="T3" fmla="*/ 9 h 9"/>
                      <a:gd name="T4" fmla="*/ 13 w 28"/>
                      <a:gd name="T5" fmla="*/ 9 h 9"/>
                      <a:gd name="T6" fmla="*/ 28 w 28"/>
                      <a:gd name="T7" fmla="*/ 0 h 9"/>
                      <a:gd name="T8" fmla="*/ 10 w 28"/>
                      <a:gd name="T9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" h="9">
                        <a:moveTo>
                          <a:pt x="10" y="0"/>
                        </a:moveTo>
                        <a:lnTo>
                          <a:pt x="0" y="9"/>
                        </a:lnTo>
                        <a:lnTo>
                          <a:pt x="13" y="9"/>
                        </a:lnTo>
                        <a:lnTo>
                          <a:pt x="28" y="0"/>
                        </a:lnTo>
                        <a:lnTo>
                          <a:pt x="10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13" name="Freeform 55">
                    <a:extLst>
                      <a:ext uri="{FF2B5EF4-FFF2-40B4-BE49-F238E27FC236}">
                        <a16:creationId xmlns:a16="http://schemas.microsoft.com/office/drawing/2014/main" id="{FADCF4B4-CB01-5220-7E98-70829C3F4D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49851" y="1270000"/>
                    <a:ext cx="49213" cy="68263"/>
                  </a:xfrm>
                  <a:custGeom>
                    <a:avLst/>
                    <a:gdLst>
                      <a:gd name="T0" fmla="*/ 21 w 31"/>
                      <a:gd name="T1" fmla="*/ 13 h 43"/>
                      <a:gd name="T2" fmla="*/ 17 w 31"/>
                      <a:gd name="T3" fmla="*/ 0 h 43"/>
                      <a:gd name="T4" fmla="*/ 0 w 31"/>
                      <a:gd name="T5" fmla="*/ 19 h 43"/>
                      <a:gd name="T6" fmla="*/ 10 w 31"/>
                      <a:gd name="T7" fmla="*/ 27 h 43"/>
                      <a:gd name="T8" fmla="*/ 21 w 31"/>
                      <a:gd name="T9" fmla="*/ 43 h 43"/>
                      <a:gd name="T10" fmla="*/ 31 w 31"/>
                      <a:gd name="T11" fmla="*/ 43 h 43"/>
                      <a:gd name="T12" fmla="*/ 25 w 31"/>
                      <a:gd name="T13" fmla="*/ 26 h 43"/>
                      <a:gd name="T14" fmla="*/ 21 w 31"/>
                      <a:gd name="T15" fmla="*/ 1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3">
                        <a:moveTo>
                          <a:pt x="21" y="13"/>
                        </a:moveTo>
                        <a:lnTo>
                          <a:pt x="17" y="0"/>
                        </a:lnTo>
                        <a:lnTo>
                          <a:pt x="0" y="19"/>
                        </a:lnTo>
                        <a:lnTo>
                          <a:pt x="10" y="27"/>
                        </a:lnTo>
                        <a:lnTo>
                          <a:pt x="21" y="43"/>
                        </a:lnTo>
                        <a:lnTo>
                          <a:pt x="31" y="43"/>
                        </a:lnTo>
                        <a:lnTo>
                          <a:pt x="25" y="26"/>
                        </a:lnTo>
                        <a:lnTo>
                          <a:pt x="21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14" name="Freeform 56">
                    <a:extLst>
                      <a:ext uri="{FF2B5EF4-FFF2-40B4-BE49-F238E27FC236}">
                        <a16:creationId xmlns:a16="http://schemas.microsoft.com/office/drawing/2014/main" id="{E5EDFBE4-E175-31EE-4342-9B6987012C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03826" y="1228725"/>
                    <a:ext cx="82550" cy="58738"/>
                  </a:xfrm>
                  <a:custGeom>
                    <a:avLst/>
                    <a:gdLst>
                      <a:gd name="T0" fmla="*/ 52 w 52"/>
                      <a:gd name="T1" fmla="*/ 8 h 37"/>
                      <a:gd name="T2" fmla="*/ 39 w 52"/>
                      <a:gd name="T3" fmla="*/ 0 h 37"/>
                      <a:gd name="T4" fmla="*/ 10 w 52"/>
                      <a:gd name="T5" fmla="*/ 0 h 37"/>
                      <a:gd name="T6" fmla="*/ 0 w 52"/>
                      <a:gd name="T7" fmla="*/ 10 h 37"/>
                      <a:gd name="T8" fmla="*/ 0 w 52"/>
                      <a:gd name="T9" fmla="*/ 21 h 37"/>
                      <a:gd name="T10" fmla="*/ 16 w 52"/>
                      <a:gd name="T11" fmla="*/ 37 h 37"/>
                      <a:gd name="T12" fmla="*/ 48 w 52"/>
                      <a:gd name="T13" fmla="*/ 34 h 37"/>
                      <a:gd name="T14" fmla="*/ 52 w 52"/>
                      <a:gd name="T15" fmla="*/ 8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2" h="37">
                        <a:moveTo>
                          <a:pt x="52" y="8"/>
                        </a:moveTo>
                        <a:lnTo>
                          <a:pt x="39" y="0"/>
                        </a:lnTo>
                        <a:lnTo>
                          <a:pt x="10" y="0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16" y="37"/>
                        </a:lnTo>
                        <a:lnTo>
                          <a:pt x="48" y="34"/>
                        </a:lnTo>
                        <a:lnTo>
                          <a:pt x="52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15" name="Freeform 57">
                    <a:extLst>
                      <a:ext uri="{FF2B5EF4-FFF2-40B4-BE49-F238E27FC236}">
                        <a16:creationId xmlns:a16="http://schemas.microsoft.com/office/drawing/2014/main" id="{D0D988DB-F979-E95F-1385-F8BECEC261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40476" y="1395413"/>
                    <a:ext cx="127000" cy="98425"/>
                  </a:xfrm>
                  <a:custGeom>
                    <a:avLst/>
                    <a:gdLst>
                      <a:gd name="T0" fmla="*/ 74 w 80"/>
                      <a:gd name="T1" fmla="*/ 42 h 62"/>
                      <a:gd name="T2" fmla="*/ 64 w 80"/>
                      <a:gd name="T3" fmla="*/ 16 h 62"/>
                      <a:gd name="T4" fmla="*/ 34 w 80"/>
                      <a:gd name="T5" fmla="*/ 3 h 62"/>
                      <a:gd name="T6" fmla="*/ 11 w 80"/>
                      <a:gd name="T7" fmla="*/ 0 h 62"/>
                      <a:gd name="T8" fmla="*/ 0 w 80"/>
                      <a:gd name="T9" fmla="*/ 17 h 62"/>
                      <a:gd name="T10" fmla="*/ 0 w 80"/>
                      <a:gd name="T11" fmla="*/ 42 h 62"/>
                      <a:gd name="T12" fmla="*/ 19 w 80"/>
                      <a:gd name="T13" fmla="*/ 42 h 62"/>
                      <a:gd name="T14" fmla="*/ 23 w 80"/>
                      <a:gd name="T15" fmla="*/ 53 h 62"/>
                      <a:gd name="T16" fmla="*/ 32 w 80"/>
                      <a:gd name="T17" fmla="*/ 62 h 62"/>
                      <a:gd name="T18" fmla="*/ 47 w 80"/>
                      <a:gd name="T19" fmla="*/ 59 h 62"/>
                      <a:gd name="T20" fmla="*/ 58 w 80"/>
                      <a:gd name="T21" fmla="*/ 56 h 62"/>
                      <a:gd name="T22" fmla="*/ 80 w 80"/>
                      <a:gd name="T23" fmla="*/ 62 h 62"/>
                      <a:gd name="T24" fmla="*/ 74 w 80"/>
                      <a:gd name="T25" fmla="*/ 42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0" h="62">
                        <a:moveTo>
                          <a:pt x="74" y="42"/>
                        </a:moveTo>
                        <a:lnTo>
                          <a:pt x="64" y="16"/>
                        </a:lnTo>
                        <a:lnTo>
                          <a:pt x="34" y="3"/>
                        </a:lnTo>
                        <a:lnTo>
                          <a:pt x="11" y="0"/>
                        </a:lnTo>
                        <a:lnTo>
                          <a:pt x="0" y="17"/>
                        </a:lnTo>
                        <a:lnTo>
                          <a:pt x="0" y="42"/>
                        </a:lnTo>
                        <a:lnTo>
                          <a:pt x="19" y="42"/>
                        </a:lnTo>
                        <a:lnTo>
                          <a:pt x="23" y="53"/>
                        </a:lnTo>
                        <a:lnTo>
                          <a:pt x="32" y="62"/>
                        </a:lnTo>
                        <a:lnTo>
                          <a:pt x="47" y="59"/>
                        </a:lnTo>
                        <a:lnTo>
                          <a:pt x="58" y="56"/>
                        </a:lnTo>
                        <a:lnTo>
                          <a:pt x="80" y="62"/>
                        </a:lnTo>
                        <a:lnTo>
                          <a:pt x="74" y="42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sp>
              <p:nvSpPr>
                <p:cNvPr id="502" name="Freeform 59">
                  <a:extLst>
                    <a:ext uri="{FF2B5EF4-FFF2-40B4-BE49-F238E27FC236}">
                      <a16:creationId xmlns:a16="http://schemas.microsoft.com/office/drawing/2014/main" id="{6156BD0C-E6E4-31AE-4B2A-E6182BF95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8026" y="1981200"/>
                  <a:ext cx="265113" cy="255588"/>
                </a:xfrm>
                <a:custGeom>
                  <a:avLst/>
                  <a:gdLst>
                    <a:gd name="T0" fmla="*/ 19 w 167"/>
                    <a:gd name="T1" fmla="*/ 124 h 161"/>
                    <a:gd name="T2" fmla="*/ 30 w 167"/>
                    <a:gd name="T3" fmla="*/ 133 h 161"/>
                    <a:gd name="T4" fmla="*/ 37 w 167"/>
                    <a:gd name="T5" fmla="*/ 146 h 161"/>
                    <a:gd name="T6" fmla="*/ 50 w 167"/>
                    <a:gd name="T7" fmla="*/ 135 h 161"/>
                    <a:gd name="T8" fmla="*/ 50 w 167"/>
                    <a:gd name="T9" fmla="*/ 152 h 161"/>
                    <a:gd name="T10" fmla="*/ 59 w 167"/>
                    <a:gd name="T11" fmla="*/ 144 h 161"/>
                    <a:gd name="T12" fmla="*/ 72 w 167"/>
                    <a:gd name="T13" fmla="*/ 154 h 161"/>
                    <a:gd name="T14" fmla="*/ 78 w 167"/>
                    <a:gd name="T15" fmla="*/ 148 h 161"/>
                    <a:gd name="T16" fmla="*/ 85 w 167"/>
                    <a:gd name="T17" fmla="*/ 136 h 161"/>
                    <a:gd name="T18" fmla="*/ 90 w 167"/>
                    <a:gd name="T19" fmla="*/ 127 h 161"/>
                    <a:gd name="T20" fmla="*/ 101 w 167"/>
                    <a:gd name="T21" fmla="*/ 135 h 161"/>
                    <a:gd name="T22" fmla="*/ 103 w 167"/>
                    <a:gd name="T23" fmla="*/ 144 h 161"/>
                    <a:gd name="T24" fmla="*/ 111 w 167"/>
                    <a:gd name="T25" fmla="*/ 144 h 161"/>
                    <a:gd name="T26" fmla="*/ 119 w 167"/>
                    <a:gd name="T27" fmla="*/ 156 h 161"/>
                    <a:gd name="T28" fmla="*/ 139 w 167"/>
                    <a:gd name="T29" fmla="*/ 161 h 161"/>
                    <a:gd name="T30" fmla="*/ 144 w 167"/>
                    <a:gd name="T31" fmla="*/ 152 h 161"/>
                    <a:gd name="T32" fmla="*/ 165 w 167"/>
                    <a:gd name="T33" fmla="*/ 148 h 161"/>
                    <a:gd name="T34" fmla="*/ 167 w 167"/>
                    <a:gd name="T35" fmla="*/ 136 h 161"/>
                    <a:gd name="T36" fmla="*/ 159 w 167"/>
                    <a:gd name="T37" fmla="*/ 138 h 161"/>
                    <a:gd name="T38" fmla="*/ 139 w 167"/>
                    <a:gd name="T39" fmla="*/ 116 h 161"/>
                    <a:gd name="T40" fmla="*/ 138 w 167"/>
                    <a:gd name="T41" fmla="*/ 106 h 161"/>
                    <a:gd name="T42" fmla="*/ 117 w 167"/>
                    <a:gd name="T43" fmla="*/ 100 h 161"/>
                    <a:gd name="T44" fmla="*/ 117 w 167"/>
                    <a:gd name="T45" fmla="*/ 80 h 161"/>
                    <a:gd name="T46" fmla="*/ 131 w 167"/>
                    <a:gd name="T47" fmla="*/ 77 h 161"/>
                    <a:gd name="T48" fmla="*/ 131 w 167"/>
                    <a:gd name="T49" fmla="*/ 58 h 161"/>
                    <a:gd name="T50" fmla="*/ 133 w 167"/>
                    <a:gd name="T51" fmla="*/ 50 h 161"/>
                    <a:gd name="T52" fmla="*/ 119 w 167"/>
                    <a:gd name="T53" fmla="*/ 34 h 161"/>
                    <a:gd name="T54" fmla="*/ 115 w 167"/>
                    <a:gd name="T55" fmla="*/ 16 h 161"/>
                    <a:gd name="T56" fmla="*/ 127 w 167"/>
                    <a:gd name="T57" fmla="*/ 16 h 161"/>
                    <a:gd name="T58" fmla="*/ 131 w 167"/>
                    <a:gd name="T59" fmla="*/ 10 h 161"/>
                    <a:gd name="T60" fmla="*/ 131 w 167"/>
                    <a:gd name="T61" fmla="*/ 3 h 161"/>
                    <a:gd name="T62" fmla="*/ 119 w 167"/>
                    <a:gd name="T63" fmla="*/ 0 h 161"/>
                    <a:gd name="T64" fmla="*/ 114 w 167"/>
                    <a:gd name="T65" fmla="*/ 8 h 161"/>
                    <a:gd name="T66" fmla="*/ 107 w 167"/>
                    <a:gd name="T67" fmla="*/ 8 h 161"/>
                    <a:gd name="T68" fmla="*/ 98 w 167"/>
                    <a:gd name="T69" fmla="*/ 8 h 161"/>
                    <a:gd name="T70" fmla="*/ 98 w 167"/>
                    <a:gd name="T71" fmla="*/ 32 h 161"/>
                    <a:gd name="T72" fmla="*/ 75 w 167"/>
                    <a:gd name="T73" fmla="*/ 27 h 161"/>
                    <a:gd name="T74" fmla="*/ 69 w 167"/>
                    <a:gd name="T75" fmla="*/ 47 h 161"/>
                    <a:gd name="T76" fmla="*/ 50 w 167"/>
                    <a:gd name="T77" fmla="*/ 39 h 161"/>
                    <a:gd name="T78" fmla="*/ 46 w 167"/>
                    <a:gd name="T79" fmla="*/ 50 h 161"/>
                    <a:gd name="T80" fmla="*/ 35 w 167"/>
                    <a:gd name="T81" fmla="*/ 66 h 161"/>
                    <a:gd name="T82" fmla="*/ 24 w 167"/>
                    <a:gd name="T83" fmla="*/ 72 h 161"/>
                    <a:gd name="T84" fmla="*/ 11 w 167"/>
                    <a:gd name="T85" fmla="*/ 50 h 161"/>
                    <a:gd name="T86" fmla="*/ 6 w 167"/>
                    <a:gd name="T87" fmla="*/ 71 h 161"/>
                    <a:gd name="T88" fmla="*/ 0 w 167"/>
                    <a:gd name="T89" fmla="*/ 85 h 161"/>
                    <a:gd name="T90" fmla="*/ 9 w 167"/>
                    <a:gd name="T91" fmla="*/ 88 h 161"/>
                    <a:gd name="T92" fmla="*/ 46 w 167"/>
                    <a:gd name="T93" fmla="*/ 88 h 161"/>
                    <a:gd name="T94" fmla="*/ 53 w 167"/>
                    <a:gd name="T95" fmla="*/ 95 h 161"/>
                    <a:gd name="T96" fmla="*/ 62 w 167"/>
                    <a:gd name="T97" fmla="*/ 119 h 161"/>
                    <a:gd name="T98" fmla="*/ 45 w 167"/>
                    <a:gd name="T99" fmla="*/ 103 h 161"/>
                    <a:gd name="T100" fmla="*/ 13 w 167"/>
                    <a:gd name="T101" fmla="*/ 100 h 161"/>
                    <a:gd name="T102" fmla="*/ 19 w 167"/>
                    <a:gd name="T103" fmla="*/ 114 h 161"/>
                    <a:gd name="T104" fmla="*/ 19 w 167"/>
                    <a:gd name="T105" fmla="*/ 124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67" h="161">
                      <a:moveTo>
                        <a:pt x="19" y="124"/>
                      </a:moveTo>
                      <a:lnTo>
                        <a:pt x="30" y="133"/>
                      </a:lnTo>
                      <a:lnTo>
                        <a:pt x="37" y="146"/>
                      </a:lnTo>
                      <a:lnTo>
                        <a:pt x="50" y="135"/>
                      </a:lnTo>
                      <a:lnTo>
                        <a:pt x="50" y="152"/>
                      </a:lnTo>
                      <a:lnTo>
                        <a:pt x="59" y="144"/>
                      </a:lnTo>
                      <a:lnTo>
                        <a:pt x="72" y="154"/>
                      </a:lnTo>
                      <a:lnTo>
                        <a:pt x="78" y="148"/>
                      </a:lnTo>
                      <a:lnTo>
                        <a:pt x="85" y="136"/>
                      </a:lnTo>
                      <a:lnTo>
                        <a:pt x="90" y="127"/>
                      </a:lnTo>
                      <a:lnTo>
                        <a:pt x="101" y="135"/>
                      </a:lnTo>
                      <a:lnTo>
                        <a:pt x="103" y="144"/>
                      </a:lnTo>
                      <a:lnTo>
                        <a:pt x="111" y="144"/>
                      </a:lnTo>
                      <a:lnTo>
                        <a:pt x="119" y="156"/>
                      </a:lnTo>
                      <a:lnTo>
                        <a:pt x="139" y="161"/>
                      </a:lnTo>
                      <a:lnTo>
                        <a:pt x="144" y="152"/>
                      </a:lnTo>
                      <a:lnTo>
                        <a:pt x="165" y="148"/>
                      </a:lnTo>
                      <a:lnTo>
                        <a:pt x="167" y="136"/>
                      </a:lnTo>
                      <a:lnTo>
                        <a:pt x="159" y="138"/>
                      </a:lnTo>
                      <a:lnTo>
                        <a:pt x="139" y="116"/>
                      </a:lnTo>
                      <a:lnTo>
                        <a:pt x="138" y="106"/>
                      </a:lnTo>
                      <a:lnTo>
                        <a:pt x="117" y="100"/>
                      </a:lnTo>
                      <a:lnTo>
                        <a:pt x="117" y="80"/>
                      </a:lnTo>
                      <a:lnTo>
                        <a:pt x="131" y="77"/>
                      </a:lnTo>
                      <a:lnTo>
                        <a:pt x="131" y="58"/>
                      </a:lnTo>
                      <a:lnTo>
                        <a:pt x="133" y="50"/>
                      </a:lnTo>
                      <a:lnTo>
                        <a:pt x="119" y="34"/>
                      </a:lnTo>
                      <a:lnTo>
                        <a:pt x="115" y="16"/>
                      </a:lnTo>
                      <a:lnTo>
                        <a:pt x="127" y="16"/>
                      </a:lnTo>
                      <a:lnTo>
                        <a:pt x="131" y="10"/>
                      </a:lnTo>
                      <a:lnTo>
                        <a:pt x="131" y="3"/>
                      </a:lnTo>
                      <a:lnTo>
                        <a:pt x="119" y="0"/>
                      </a:lnTo>
                      <a:lnTo>
                        <a:pt x="114" y="8"/>
                      </a:lnTo>
                      <a:lnTo>
                        <a:pt x="107" y="8"/>
                      </a:lnTo>
                      <a:lnTo>
                        <a:pt x="98" y="8"/>
                      </a:lnTo>
                      <a:lnTo>
                        <a:pt x="98" y="32"/>
                      </a:lnTo>
                      <a:lnTo>
                        <a:pt x="75" y="27"/>
                      </a:lnTo>
                      <a:lnTo>
                        <a:pt x="69" y="47"/>
                      </a:lnTo>
                      <a:lnTo>
                        <a:pt x="50" y="39"/>
                      </a:lnTo>
                      <a:lnTo>
                        <a:pt x="46" y="50"/>
                      </a:lnTo>
                      <a:lnTo>
                        <a:pt x="35" y="66"/>
                      </a:lnTo>
                      <a:lnTo>
                        <a:pt x="24" y="72"/>
                      </a:lnTo>
                      <a:lnTo>
                        <a:pt x="11" y="50"/>
                      </a:lnTo>
                      <a:lnTo>
                        <a:pt x="6" y="71"/>
                      </a:lnTo>
                      <a:lnTo>
                        <a:pt x="0" y="85"/>
                      </a:lnTo>
                      <a:lnTo>
                        <a:pt x="9" y="88"/>
                      </a:lnTo>
                      <a:lnTo>
                        <a:pt x="46" y="88"/>
                      </a:lnTo>
                      <a:lnTo>
                        <a:pt x="53" y="95"/>
                      </a:lnTo>
                      <a:lnTo>
                        <a:pt x="62" y="119"/>
                      </a:lnTo>
                      <a:lnTo>
                        <a:pt x="45" y="103"/>
                      </a:lnTo>
                      <a:lnTo>
                        <a:pt x="13" y="100"/>
                      </a:lnTo>
                      <a:lnTo>
                        <a:pt x="19" y="114"/>
                      </a:lnTo>
                      <a:lnTo>
                        <a:pt x="19" y="124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grpSp>
              <p:nvGrpSpPr>
                <p:cNvPr id="503" name="Group 212">
                  <a:extLst>
                    <a:ext uri="{FF2B5EF4-FFF2-40B4-BE49-F238E27FC236}">
                      <a16:creationId xmlns:a16="http://schemas.microsoft.com/office/drawing/2014/main" id="{BA0FC5CA-8777-72D2-F0C7-BA8FF04A8F02}"/>
                    </a:ext>
                  </a:extLst>
                </p:cNvPr>
                <p:cNvGrpSpPr/>
                <p:nvPr/>
              </p:nvGrpSpPr>
              <p:grpSpPr>
                <a:xfrm>
                  <a:off x="4446588" y="1955800"/>
                  <a:ext cx="504826" cy="157163"/>
                  <a:chOff x="4446588" y="1955800"/>
                  <a:chExt cx="504826" cy="157163"/>
                </a:xfrm>
                <a:grpFill/>
              </p:grpSpPr>
              <p:sp>
                <p:nvSpPr>
                  <p:cNvPr id="505" name="Freeform 60">
                    <a:extLst>
                      <a:ext uri="{FF2B5EF4-FFF2-40B4-BE49-F238E27FC236}">
                        <a16:creationId xmlns:a16="http://schemas.microsoft.com/office/drawing/2014/main" id="{96D14F29-445E-1E30-4E9A-9967F0FF3E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46588" y="2085975"/>
                    <a:ext cx="53975" cy="26988"/>
                  </a:xfrm>
                  <a:custGeom>
                    <a:avLst/>
                    <a:gdLst>
                      <a:gd name="T0" fmla="*/ 28 w 34"/>
                      <a:gd name="T1" fmla="*/ 17 h 17"/>
                      <a:gd name="T2" fmla="*/ 23 w 34"/>
                      <a:gd name="T3" fmla="*/ 8 h 17"/>
                      <a:gd name="T4" fmla="*/ 34 w 34"/>
                      <a:gd name="T5" fmla="*/ 0 h 17"/>
                      <a:gd name="T6" fmla="*/ 0 w 34"/>
                      <a:gd name="T7" fmla="*/ 0 h 17"/>
                      <a:gd name="T8" fmla="*/ 0 w 34"/>
                      <a:gd name="T9" fmla="*/ 13 h 17"/>
                      <a:gd name="T10" fmla="*/ 12 w 34"/>
                      <a:gd name="T11" fmla="*/ 17 h 17"/>
                      <a:gd name="T12" fmla="*/ 28 w 34"/>
                      <a:gd name="T13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" h="17">
                        <a:moveTo>
                          <a:pt x="28" y="17"/>
                        </a:moveTo>
                        <a:lnTo>
                          <a:pt x="23" y="8"/>
                        </a:lnTo>
                        <a:lnTo>
                          <a:pt x="34" y="0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12" y="17"/>
                        </a:lnTo>
                        <a:lnTo>
                          <a:pt x="28" y="17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06" name="Freeform 61">
                    <a:extLst>
                      <a:ext uri="{FF2B5EF4-FFF2-40B4-BE49-F238E27FC236}">
                        <a16:creationId xmlns:a16="http://schemas.microsoft.com/office/drawing/2014/main" id="{BCE56E28-B443-3DFD-317D-4D767E278A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37076" y="2027238"/>
                    <a:ext cx="85725" cy="42863"/>
                  </a:xfrm>
                  <a:custGeom>
                    <a:avLst/>
                    <a:gdLst>
                      <a:gd name="T0" fmla="*/ 12 w 54"/>
                      <a:gd name="T1" fmla="*/ 13 h 27"/>
                      <a:gd name="T2" fmla="*/ 24 w 54"/>
                      <a:gd name="T3" fmla="*/ 6 h 27"/>
                      <a:gd name="T4" fmla="*/ 54 w 54"/>
                      <a:gd name="T5" fmla="*/ 0 h 27"/>
                      <a:gd name="T6" fmla="*/ 24 w 54"/>
                      <a:gd name="T7" fmla="*/ 0 h 27"/>
                      <a:gd name="T8" fmla="*/ 0 w 54"/>
                      <a:gd name="T9" fmla="*/ 8 h 27"/>
                      <a:gd name="T10" fmla="*/ 0 w 54"/>
                      <a:gd name="T11" fmla="*/ 18 h 27"/>
                      <a:gd name="T12" fmla="*/ 8 w 54"/>
                      <a:gd name="T13" fmla="*/ 27 h 27"/>
                      <a:gd name="T14" fmla="*/ 12 w 54"/>
                      <a:gd name="T15" fmla="*/ 13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4" h="27">
                        <a:moveTo>
                          <a:pt x="12" y="13"/>
                        </a:moveTo>
                        <a:lnTo>
                          <a:pt x="24" y="6"/>
                        </a:lnTo>
                        <a:lnTo>
                          <a:pt x="54" y="0"/>
                        </a:lnTo>
                        <a:lnTo>
                          <a:pt x="24" y="0"/>
                        </a:lnTo>
                        <a:lnTo>
                          <a:pt x="0" y="8"/>
                        </a:lnTo>
                        <a:lnTo>
                          <a:pt x="0" y="18"/>
                        </a:lnTo>
                        <a:lnTo>
                          <a:pt x="8" y="27"/>
                        </a:lnTo>
                        <a:lnTo>
                          <a:pt x="12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07" name="Freeform 62">
                    <a:extLst>
                      <a:ext uri="{FF2B5EF4-FFF2-40B4-BE49-F238E27FC236}">
                        <a16:creationId xmlns:a16="http://schemas.microsoft.com/office/drawing/2014/main" id="{54186F2C-7DF2-CA7C-A957-18512DA551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59313" y="1989138"/>
                    <a:ext cx="80963" cy="26988"/>
                  </a:xfrm>
                  <a:custGeom>
                    <a:avLst/>
                    <a:gdLst>
                      <a:gd name="T0" fmla="*/ 51 w 51"/>
                      <a:gd name="T1" fmla="*/ 8 h 17"/>
                      <a:gd name="T2" fmla="*/ 29 w 51"/>
                      <a:gd name="T3" fmla="*/ 0 h 17"/>
                      <a:gd name="T4" fmla="*/ 4 w 51"/>
                      <a:gd name="T5" fmla="*/ 3 h 17"/>
                      <a:gd name="T6" fmla="*/ 0 w 51"/>
                      <a:gd name="T7" fmla="*/ 17 h 17"/>
                      <a:gd name="T8" fmla="*/ 27 w 51"/>
                      <a:gd name="T9" fmla="*/ 14 h 17"/>
                      <a:gd name="T10" fmla="*/ 51 w 51"/>
                      <a:gd name="T11" fmla="*/ 8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1" h="17">
                        <a:moveTo>
                          <a:pt x="51" y="8"/>
                        </a:moveTo>
                        <a:lnTo>
                          <a:pt x="29" y="0"/>
                        </a:lnTo>
                        <a:lnTo>
                          <a:pt x="4" y="3"/>
                        </a:lnTo>
                        <a:lnTo>
                          <a:pt x="0" y="17"/>
                        </a:lnTo>
                        <a:lnTo>
                          <a:pt x="27" y="14"/>
                        </a:lnTo>
                        <a:lnTo>
                          <a:pt x="51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08" name="Freeform 63">
                    <a:extLst>
                      <a:ext uri="{FF2B5EF4-FFF2-40B4-BE49-F238E27FC236}">
                        <a16:creationId xmlns:a16="http://schemas.microsoft.com/office/drawing/2014/main" id="{2F4A31B8-0ED8-D75F-E483-0920E122B9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83151" y="1955800"/>
                    <a:ext cx="68263" cy="22225"/>
                  </a:xfrm>
                  <a:custGeom>
                    <a:avLst/>
                    <a:gdLst>
                      <a:gd name="T0" fmla="*/ 43 w 43"/>
                      <a:gd name="T1" fmla="*/ 0 h 14"/>
                      <a:gd name="T2" fmla="*/ 6 w 43"/>
                      <a:gd name="T3" fmla="*/ 0 h 14"/>
                      <a:gd name="T4" fmla="*/ 0 w 43"/>
                      <a:gd name="T5" fmla="*/ 14 h 14"/>
                      <a:gd name="T6" fmla="*/ 21 w 43"/>
                      <a:gd name="T7" fmla="*/ 11 h 14"/>
                      <a:gd name="T8" fmla="*/ 43 w 43"/>
                      <a:gd name="T9" fmla="*/ 0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3" h="14">
                        <a:moveTo>
                          <a:pt x="43" y="0"/>
                        </a:moveTo>
                        <a:lnTo>
                          <a:pt x="6" y="0"/>
                        </a:lnTo>
                        <a:lnTo>
                          <a:pt x="0" y="14"/>
                        </a:lnTo>
                        <a:lnTo>
                          <a:pt x="21" y="11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09" name="Freeform 64">
                    <a:extLst>
                      <a:ext uri="{FF2B5EF4-FFF2-40B4-BE49-F238E27FC236}">
                        <a16:creationId xmlns:a16="http://schemas.microsoft.com/office/drawing/2014/main" id="{726C7EC5-B18A-E6F6-966C-36A225767C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60913" y="1989138"/>
                    <a:ext cx="17463" cy="9525"/>
                  </a:xfrm>
                  <a:custGeom>
                    <a:avLst/>
                    <a:gdLst>
                      <a:gd name="T0" fmla="*/ 11 w 11"/>
                      <a:gd name="T1" fmla="*/ 0 h 6"/>
                      <a:gd name="T2" fmla="*/ 0 w 11"/>
                      <a:gd name="T3" fmla="*/ 0 h 6"/>
                      <a:gd name="T4" fmla="*/ 0 w 11"/>
                      <a:gd name="T5" fmla="*/ 6 h 6"/>
                      <a:gd name="T6" fmla="*/ 11 w 11"/>
                      <a:gd name="T7" fmla="*/ 5 h 6"/>
                      <a:gd name="T8" fmla="*/ 11 w 11"/>
                      <a:gd name="T9" fmla="*/ 0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6">
                        <a:moveTo>
                          <a:pt x="11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510" name="Freeform 65">
                    <a:extLst>
                      <a:ext uri="{FF2B5EF4-FFF2-40B4-BE49-F238E27FC236}">
                        <a16:creationId xmlns:a16="http://schemas.microsoft.com/office/drawing/2014/main" id="{965FCBAC-95DC-B06A-03FA-9320BAAF1A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95838" y="1978025"/>
                    <a:ext cx="36513" cy="25400"/>
                  </a:xfrm>
                  <a:custGeom>
                    <a:avLst/>
                    <a:gdLst>
                      <a:gd name="T0" fmla="*/ 13 w 23"/>
                      <a:gd name="T1" fmla="*/ 13 h 16"/>
                      <a:gd name="T2" fmla="*/ 23 w 23"/>
                      <a:gd name="T3" fmla="*/ 4 h 16"/>
                      <a:gd name="T4" fmla="*/ 0 w 23"/>
                      <a:gd name="T5" fmla="*/ 0 h 16"/>
                      <a:gd name="T6" fmla="*/ 4 w 23"/>
                      <a:gd name="T7" fmla="*/ 16 h 16"/>
                      <a:gd name="T8" fmla="*/ 13 w 23"/>
                      <a:gd name="T9" fmla="*/ 13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16">
                        <a:moveTo>
                          <a:pt x="13" y="13"/>
                        </a:moveTo>
                        <a:lnTo>
                          <a:pt x="23" y="4"/>
                        </a:lnTo>
                        <a:lnTo>
                          <a:pt x="0" y="0"/>
                        </a:lnTo>
                        <a:lnTo>
                          <a:pt x="4" y="16"/>
                        </a:lnTo>
                        <a:lnTo>
                          <a:pt x="13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sp>
              <p:nvSpPr>
                <p:cNvPr id="504" name="Freeform 68">
                  <a:extLst>
                    <a:ext uri="{FF2B5EF4-FFF2-40B4-BE49-F238E27FC236}">
                      <a16:creationId xmlns:a16="http://schemas.microsoft.com/office/drawing/2014/main" id="{1183CE41-EDB4-BF64-E5B0-08FB7896D1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35830" y="1357321"/>
                  <a:ext cx="34923" cy="73024"/>
                </a:xfrm>
                <a:custGeom>
                  <a:avLst/>
                  <a:gdLst>
                    <a:gd name="T0" fmla="*/ 16 w 22"/>
                    <a:gd name="T1" fmla="*/ 6 h 46"/>
                    <a:gd name="T2" fmla="*/ 22 w 22"/>
                    <a:gd name="T3" fmla="*/ 0 h 46"/>
                    <a:gd name="T4" fmla="*/ 6 w 22"/>
                    <a:gd name="T5" fmla="*/ 0 h 46"/>
                    <a:gd name="T6" fmla="*/ 0 w 22"/>
                    <a:gd name="T7" fmla="*/ 35 h 46"/>
                    <a:gd name="T8" fmla="*/ 0 w 22"/>
                    <a:gd name="T9" fmla="*/ 46 h 46"/>
                    <a:gd name="T10" fmla="*/ 6 w 22"/>
                    <a:gd name="T11" fmla="*/ 24 h 46"/>
                    <a:gd name="T12" fmla="*/ 16 w 22"/>
                    <a:gd name="T13" fmla="*/ 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" h="46">
                      <a:moveTo>
                        <a:pt x="16" y="6"/>
                      </a:moveTo>
                      <a:lnTo>
                        <a:pt x="22" y="0"/>
                      </a:lnTo>
                      <a:lnTo>
                        <a:pt x="6" y="0"/>
                      </a:lnTo>
                      <a:lnTo>
                        <a:pt x="0" y="35"/>
                      </a:lnTo>
                      <a:lnTo>
                        <a:pt x="0" y="46"/>
                      </a:lnTo>
                      <a:lnTo>
                        <a:pt x="6" y="24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</p:grpSp>
      </p:grpSp>
      <p:sp>
        <p:nvSpPr>
          <p:cNvPr id="537" name="Rectangle 536">
            <a:extLst>
              <a:ext uri="{FF2B5EF4-FFF2-40B4-BE49-F238E27FC236}">
                <a16:creationId xmlns:a16="http://schemas.microsoft.com/office/drawing/2014/main" id="{46FF15E8-CF53-81AD-1FE3-E0C251B5B960}"/>
              </a:ext>
            </a:extLst>
          </p:cNvPr>
          <p:cNvSpPr/>
          <p:nvPr/>
        </p:nvSpPr>
        <p:spPr bwMode="gray">
          <a:xfrm>
            <a:off x="2087307" y="287909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5C032447-1545-BA5A-8E2E-6A38300786B1}"/>
              </a:ext>
            </a:extLst>
          </p:cNvPr>
          <p:cNvSpPr txBox="1"/>
          <p:nvPr/>
        </p:nvSpPr>
        <p:spPr bwMode="gray">
          <a:xfrm>
            <a:off x="3509509" y="2207425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t. Petersburg</a:t>
            </a: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CD25FF0F-1C69-19EE-901A-21AEB9643365}"/>
              </a:ext>
            </a:extLst>
          </p:cNvPr>
          <p:cNvSpPr txBox="1"/>
          <p:nvPr/>
        </p:nvSpPr>
        <p:spPr bwMode="gray">
          <a:xfrm>
            <a:off x="3804820" y="2454497"/>
            <a:ext cx="572974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oscow</a:t>
            </a: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0" name="Rectangle 539">
            <a:extLst>
              <a:ext uri="{FF2B5EF4-FFF2-40B4-BE49-F238E27FC236}">
                <a16:creationId xmlns:a16="http://schemas.microsoft.com/office/drawing/2014/main" id="{782344F6-712D-59B3-390D-24FD8CE96FA2}"/>
              </a:ext>
            </a:extLst>
          </p:cNvPr>
          <p:cNvSpPr/>
          <p:nvPr/>
        </p:nvSpPr>
        <p:spPr bwMode="gray">
          <a:xfrm>
            <a:off x="3427174" y="227538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1" name="Rectangle 540">
            <a:extLst>
              <a:ext uri="{FF2B5EF4-FFF2-40B4-BE49-F238E27FC236}">
                <a16:creationId xmlns:a16="http://schemas.microsoft.com/office/drawing/2014/main" id="{33EFBF5C-30C1-5FB5-E929-C4861C81C329}"/>
              </a:ext>
            </a:extLst>
          </p:cNvPr>
          <p:cNvSpPr/>
          <p:nvPr/>
        </p:nvSpPr>
        <p:spPr bwMode="gray">
          <a:xfrm>
            <a:off x="4578821" y="258301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21571CF9-4B5E-4EC3-07E9-03F147A5DCAE}"/>
              </a:ext>
            </a:extLst>
          </p:cNvPr>
          <p:cNvSpPr/>
          <p:nvPr/>
        </p:nvSpPr>
        <p:spPr bwMode="gray">
          <a:xfrm>
            <a:off x="3772495" y="400845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3" name="Rectangle 542">
            <a:extLst>
              <a:ext uri="{FF2B5EF4-FFF2-40B4-BE49-F238E27FC236}">
                <a16:creationId xmlns:a16="http://schemas.microsoft.com/office/drawing/2014/main" id="{2DDE41A5-FCE8-2AFF-C78E-5A21ADC4BCC8}"/>
              </a:ext>
            </a:extLst>
          </p:cNvPr>
          <p:cNvSpPr/>
          <p:nvPr/>
        </p:nvSpPr>
        <p:spPr bwMode="gray">
          <a:xfrm>
            <a:off x="5675841" y="292166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4" name="Rectangle 543">
            <a:extLst>
              <a:ext uri="{FF2B5EF4-FFF2-40B4-BE49-F238E27FC236}">
                <a16:creationId xmlns:a16="http://schemas.microsoft.com/office/drawing/2014/main" id="{A84ABD25-8390-4545-DFA8-C63FADFAB40C}"/>
              </a:ext>
            </a:extLst>
          </p:cNvPr>
          <p:cNvSpPr/>
          <p:nvPr/>
        </p:nvSpPr>
        <p:spPr bwMode="gray">
          <a:xfrm>
            <a:off x="5927701" y="304157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5" name="Rectangle 544">
            <a:extLst>
              <a:ext uri="{FF2B5EF4-FFF2-40B4-BE49-F238E27FC236}">
                <a16:creationId xmlns:a16="http://schemas.microsoft.com/office/drawing/2014/main" id="{4C821B1E-7EF3-9177-284C-35899FAB6BF3}"/>
              </a:ext>
            </a:extLst>
          </p:cNvPr>
          <p:cNvSpPr/>
          <p:nvPr/>
        </p:nvSpPr>
        <p:spPr bwMode="gray">
          <a:xfrm>
            <a:off x="5802006" y="356895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6" name="Rectangle 545">
            <a:extLst>
              <a:ext uri="{FF2B5EF4-FFF2-40B4-BE49-F238E27FC236}">
                <a16:creationId xmlns:a16="http://schemas.microsoft.com/office/drawing/2014/main" id="{6432DC7C-3117-B9BB-1EE4-0254CBC01940}"/>
              </a:ext>
            </a:extLst>
          </p:cNvPr>
          <p:cNvSpPr/>
          <p:nvPr/>
        </p:nvSpPr>
        <p:spPr bwMode="gray">
          <a:xfrm>
            <a:off x="6122559" y="335629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7" name="Rectangle 546">
            <a:extLst>
              <a:ext uri="{FF2B5EF4-FFF2-40B4-BE49-F238E27FC236}">
                <a16:creationId xmlns:a16="http://schemas.microsoft.com/office/drawing/2014/main" id="{CC8E5E6F-36AE-832F-07C6-1504D8D7FBEB}"/>
              </a:ext>
            </a:extLst>
          </p:cNvPr>
          <p:cNvSpPr/>
          <p:nvPr/>
        </p:nvSpPr>
        <p:spPr bwMode="gray">
          <a:xfrm>
            <a:off x="3834162" y="382999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4711E228-B59D-3CB0-D384-65B57D5656B2}"/>
              </a:ext>
            </a:extLst>
          </p:cNvPr>
          <p:cNvSpPr/>
          <p:nvPr/>
        </p:nvSpPr>
        <p:spPr bwMode="gray">
          <a:xfrm>
            <a:off x="3489734" y="363025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CCBCC935-4455-36E1-E868-A38E141D44AA}"/>
              </a:ext>
            </a:extLst>
          </p:cNvPr>
          <p:cNvSpPr txBox="1"/>
          <p:nvPr/>
        </p:nvSpPr>
        <p:spPr bwMode="gray">
          <a:xfrm>
            <a:off x="2172422" y="2812411"/>
            <a:ext cx="50302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ntwerp</a:t>
            </a: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A637F976-45AE-1B41-790E-54A70A67D78E}"/>
              </a:ext>
            </a:extLst>
          </p:cNvPr>
          <p:cNvSpPr txBox="1"/>
          <p:nvPr/>
        </p:nvSpPr>
        <p:spPr bwMode="gray">
          <a:xfrm>
            <a:off x="4830142" y="2361343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Ekaterinburg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1" name="TextBox 550">
            <a:extLst>
              <a:ext uri="{FF2B5EF4-FFF2-40B4-BE49-F238E27FC236}">
                <a16:creationId xmlns:a16="http://schemas.microsoft.com/office/drawing/2014/main" id="{9D53F4E1-E758-FD93-CFD7-4A9C2A8C6B6F}"/>
              </a:ext>
            </a:extLst>
          </p:cNvPr>
          <p:cNvSpPr txBox="1"/>
          <p:nvPr/>
        </p:nvSpPr>
        <p:spPr bwMode="gray">
          <a:xfrm>
            <a:off x="4572729" y="2686498"/>
            <a:ext cx="590743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ogliatti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EB9F914E-88FF-774C-8700-E0F7B6CD19B4}"/>
              </a:ext>
            </a:extLst>
          </p:cNvPr>
          <p:cNvSpPr txBox="1"/>
          <p:nvPr/>
        </p:nvSpPr>
        <p:spPr bwMode="gray">
          <a:xfrm>
            <a:off x="4038266" y="3250925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ovorossiysk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3" name="TextBox 552">
            <a:extLst>
              <a:ext uri="{FF2B5EF4-FFF2-40B4-BE49-F238E27FC236}">
                <a16:creationId xmlns:a16="http://schemas.microsoft.com/office/drawing/2014/main" id="{E34D0963-D79E-D799-623C-55E7257BC6DA}"/>
              </a:ext>
            </a:extLst>
          </p:cNvPr>
          <p:cNvSpPr txBox="1"/>
          <p:nvPr/>
        </p:nvSpPr>
        <p:spPr bwMode="gray">
          <a:xfrm>
            <a:off x="3480427" y="3383139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Istanbul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D7C6BE0E-B1B8-4991-3BE0-4FC2C1B5D53C}"/>
              </a:ext>
            </a:extLst>
          </p:cNvPr>
          <p:cNvSpPr txBox="1"/>
          <p:nvPr/>
        </p:nvSpPr>
        <p:spPr bwMode="gray">
          <a:xfrm>
            <a:off x="3118014" y="3566492"/>
            <a:ext cx="421398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ursa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00CDCDC2-4136-42D7-9B9D-A94D14042D21}"/>
              </a:ext>
            </a:extLst>
          </p:cNvPr>
          <p:cNvSpPr txBox="1"/>
          <p:nvPr/>
        </p:nvSpPr>
        <p:spPr bwMode="gray">
          <a:xfrm>
            <a:off x="3453005" y="3713618"/>
            <a:ext cx="364638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Izmir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00F74E24-EA18-3488-C369-C0C6A72E7072}"/>
              </a:ext>
            </a:extLst>
          </p:cNvPr>
          <p:cNvSpPr txBox="1"/>
          <p:nvPr/>
        </p:nvSpPr>
        <p:spPr bwMode="gray">
          <a:xfrm>
            <a:off x="3783297" y="4059782"/>
            <a:ext cx="614316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Limassol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1AF1124C-2DBB-49DE-DB26-08D6EA2B2244}"/>
              </a:ext>
            </a:extLst>
          </p:cNvPr>
          <p:cNvSpPr txBox="1"/>
          <p:nvPr/>
        </p:nvSpPr>
        <p:spPr bwMode="gray">
          <a:xfrm>
            <a:off x="3915150" y="3735002"/>
            <a:ext cx="451481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ersin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BFE64173-D391-79D4-7CB8-3A6F2CA91155}"/>
              </a:ext>
            </a:extLst>
          </p:cNvPr>
          <p:cNvSpPr txBox="1"/>
          <p:nvPr/>
        </p:nvSpPr>
        <p:spPr bwMode="gray">
          <a:xfrm>
            <a:off x="3785241" y="3627488"/>
            <a:ext cx="519283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nkara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2C3D109C-95FE-C93E-7207-039ADE0C31D3}"/>
              </a:ext>
            </a:extLst>
          </p:cNvPr>
          <p:cNvSpPr txBox="1"/>
          <p:nvPr/>
        </p:nvSpPr>
        <p:spPr bwMode="gray">
          <a:xfrm>
            <a:off x="5871355" y="3504263"/>
            <a:ext cx="601731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ashkent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C38FC28E-9EBB-E9CA-79DA-9F74AE3B4CBE}"/>
              </a:ext>
            </a:extLst>
          </p:cNvPr>
          <p:cNvSpPr txBox="1"/>
          <p:nvPr/>
        </p:nvSpPr>
        <p:spPr bwMode="gray">
          <a:xfrm>
            <a:off x="5766173" y="2862350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stana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6F144BAF-2A7D-4421-FBC7-16C2D1E47078}"/>
              </a:ext>
            </a:extLst>
          </p:cNvPr>
          <p:cNvSpPr txBox="1"/>
          <p:nvPr/>
        </p:nvSpPr>
        <p:spPr bwMode="gray">
          <a:xfrm>
            <a:off x="6014696" y="2977562"/>
            <a:ext cx="714353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araganda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6278789-67E2-A9FC-2EBF-A514E0DBA925}"/>
              </a:ext>
            </a:extLst>
          </p:cNvPr>
          <p:cNvSpPr txBox="1"/>
          <p:nvPr/>
        </p:nvSpPr>
        <p:spPr bwMode="gray">
          <a:xfrm>
            <a:off x="4663805" y="2519758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izhnekamsk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06A84F05-3EEB-5C67-6316-268C08EB06D1}"/>
              </a:ext>
            </a:extLst>
          </p:cNvPr>
          <p:cNvSpPr txBox="1"/>
          <p:nvPr/>
        </p:nvSpPr>
        <p:spPr bwMode="gray">
          <a:xfrm>
            <a:off x="9157255" y="4164380"/>
            <a:ext cx="646432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hanghai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7FF5E6DC-A81E-F2B7-6440-06934144B276}"/>
              </a:ext>
            </a:extLst>
          </p:cNvPr>
          <p:cNvSpPr txBox="1"/>
          <p:nvPr/>
        </p:nvSpPr>
        <p:spPr bwMode="gray">
          <a:xfrm>
            <a:off x="9432141" y="3332516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Vladivostok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B5113BF7-3148-EA04-0BDD-96B51A120ADE}"/>
              </a:ext>
            </a:extLst>
          </p:cNvPr>
          <p:cNvSpPr/>
          <p:nvPr/>
        </p:nvSpPr>
        <p:spPr bwMode="gray">
          <a:xfrm>
            <a:off x="3469903" y="352906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4D2D0553-C17D-42F3-C828-14C7E36A63E8}"/>
              </a:ext>
            </a:extLst>
          </p:cNvPr>
          <p:cNvSpPr/>
          <p:nvPr/>
        </p:nvSpPr>
        <p:spPr bwMode="gray">
          <a:xfrm>
            <a:off x="3707620" y="367324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0A55D605-FD8B-1EEA-D30E-5865DA70D1DF}"/>
              </a:ext>
            </a:extLst>
          </p:cNvPr>
          <p:cNvSpPr/>
          <p:nvPr/>
        </p:nvSpPr>
        <p:spPr bwMode="gray">
          <a:xfrm>
            <a:off x="4504990" y="274801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B668A4DE-E631-ED78-0494-322F920600CE}"/>
              </a:ext>
            </a:extLst>
          </p:cNvPr>
          <p:cNvSpPr/>
          <p:nvPr/>
        </p:nvSpPr>
        <p:spPr bwMode="gray">
          <a:xfrm>
            <a:off x="4747166" y="242484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9" name="Rectangle 568">
            <a:extLst>
              <a:ext uri="{FF2B5EF4-FFF2-40B4-BE49-F238E27FC236}">
                <a16:creationId xmlns:a16="http://schemas.microsoft.com/office/drawing/2014/main" id="{AFEA5ACA-0AFE-B410-291F-A9AA9AC2F9CF}"/>
              </a:ext>
            </a:extLst>
          </p:cNvPr>
          <p:cNvSpPr/>
          <p:nvPr/>
        </p:nvSpPr>
        <p:spPr bwMode="gray">
          <a:xfrm>
            <a:off x="3384976" y="373500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DE47827F-16B9-24C4-ED6C-E4DBF9158FA5}"/>
              </a:ext>
            </a:extLst>
          </p:cNvPr>
          <p:cNvSpPr/>
          <p:nvPr/>
        </p:nvSpPr>
        <p:spPr bwMode="gray">
          <a:xfrm>
            <a:off x="3960896" y="331621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BB7C6E3C-101C-F6B5-E29C-6626223323BC}"/>
              </a:ext>
            </a:extLst>
          </p:cNvPr>
          <p:cNvSpPr/>
          <p:nvPr/>
        </p:nvSpPr>
        <p:spPr bwMode="gray">
          <a:xfrm>
            <a:off x="3720647" y="251800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60475E76-2B3A-ECA9-2F41-800B12D49657}"/>
              </a:ext>
            </a:extLst>
          </p:cNvPr>
          <p:cNvSpPr/>
          <p:nvPr/>
        </p:nvSpPr>
        <p:spPr bwMode="gray">
          <a:xfrm>
            <a:off x="9348570" y="339606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3" name="Rectangle 572">
            <a:extLst>
              <a:ext uri="{FF2B5EF4-FFF2-40B4-BE49-F238E27FC236}">
                <a16:creationId xmlns:a16="http://schemas.microsoft.com/office/drawing/2014/main" id="{A90AEE6C-56D9-D784-E397-E0ECD7CCBDE1}"/>
              </a:ext>
            </a:extLst>
          </p:cNvPr>
          <p:cNvSpPr/>
          <p:nvPr/>
        </p:nvSpPr>
        <p:spPr bwMode="gray">
          <a:xfrm>
            <a:off x="9072186" y="422248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E5A09CD4-2628-EC7B-FAC7-B55DE7C76448}"/>
              </a:ext>
            </a:extLst>
          </p:cNvPr>
          <p:cNvSpPr txBox="1"/>
          <p:nvPr/>
        </p:nvSpPr>
        <p:spPr bwMode="gray">
          <a:xfrm>
            <a:off x="6213021" y="3290587"/>
            <a:ext cx="491166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lmaty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75" name="Rectangle 574">
            <a:extLst>
              <a:ext uri="{FF2B5EF4-FFF2-40B4-BE49-F238E27FC236}">
                <a16:creationId xmlns:a16="http://schemas.microsoft.com/office/drawing/2014/main" id="{E36E021A-6D79-D438-5302-6E8C989337D0}"/>
              </a:ext>
            </a:extLst>
          </p:cNvPr>
          <p:cNvSpPr/>
          <p:nvPr/>
        </p:nvSpPr>
        <p:spPr bwMode="gray">
          <a:xfrm>
            <a:off x="3597271" y="366893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6" name="TextBox 575">
            <a:extLst>
              <a:ext uri="{FF2B5EF4-FFF2-40B4-BE49-F238E27FC236}">
                <a16:creationId xmlns:a16="http://schemas.microsoft.com/office/drawing/2014/main" id="{98E7A0A0-5A04-7076-DC2F-DE0B894D2BF2}"/>
              </a:ext>
            </a:extLst>
          </p:cNvPr>
          <p:cNvSpPr txBox="1"/>
          <p:nvPr/>
        </p:nvSpPr>
        <p:spPr bwMode="gray">
          <a:xfrm>
            <a:off x="3604058" y="3514228"/>
            <a:ext cx="928675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Eskisehir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77" name="Rectangle 576">
            <a:extLst>
              <a:ext uri="{FF2B5EF4-FFF2-40B4-BE49-F238E27FC236}">
                <a16:creationId xmlns:a16="http://schemas.microsoft.com/office/drawing/2014/main" id="{FAEFCCD4-0720-10A6-9DE3-4578F055022E}"/>
              </a:ext>
            </a:extLst>
          </p:cNvPr>
          <p:cNvSpPr/>
          <p:nvPr/>
        </p:nvSpPr>
        <p:spPr bwMode="gray">
          <a:xfrm>
            <a:off x="3918631" y="389159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8" name="TextBox 577">
            <a:extLst>
              <a:ext uri="{FF2B5EF4-FFF2-40B4-BE49-F238E27FC236}">
                <a16:creationId xmlns:a16="http://schemas.microsoft.com/office/drawing/2014/main" id="{EAB1366D-57BB-5E3E-1C34-ECB163ABC29E}"/>
              </a:ext>
            </a:extLst>
          </p:cNvPr>
          <p:cNvSpPr txBox="1"/>
          <p:nvPr/>
        </p:nvSpPr>
        <p:spPr bwMode="gray">
          <a:xfrm>
            <a:off x="3994617" y="3861169"/>
            <a:ext cx="451481" cy="1359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tay</a:t>
            </a:r>
          </a:p>
          <a:p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1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>
            <a:extLst>
              <a:ext uri="{FF2B5EF4-FFF2-40B4-BE49-F238E27FC236}">
                <a16:creationId xmlns:a16="http://schemas.microsoft.com/office/drawing/2014/main" id="{EB7A1627-ECBF-03E7-8E61-5CD73C217B56}"/>
              </a:ext>
            </a:extLst>
          </p:cNvPr>
          <p:cNvSpPr/>
          <p:nvPr/>
        </p:nvSpPr>
        <p:spPr bwMode="gray">
          <a:xfrm>
            <a:off x="8984788" y="2281036"/>
            <a:ext cx="2508502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FFC000"/>
                </a:solidFill>
                <a:latin typeface="Arial" panose="020B0604020202020204" pitchFamily="34" charset="0"/>
              </a:rPr>
              <a:t>Наши услуги</a:t>
            </a:r>
          </a:p>
        </p:txBody>
      </p:sp>
      <p:sp>
        <p:nvSpPr>
          <p:cNvPr id="47" name="Teardrop 46">
            <a:extLst>
              <a:ext uri="{FF2B5EF4-FFF2-40B4-BE49-F238E27FC236}">
                <a16:creationId xmlns:a16="http://schemas.microsoft.com/office/drawing/2014/main" id="{B794B3C6-8586-2607-0283-1AC09AB40C60}"/>
              </a:ext>
            </a:extLst>
          </p:cNvPr>
          <p:cNvSpPr>
            <a:spLocks/>
          </p:cNvSpPr>
          <p:nvPr/>
        </p:nvSpPr>
        <p:spPr bwMode="gray">
          <a:xfrm>
            <a:off x="8742326" y="1866375"/>
            <a:ext cx="484925" cy="502065"/>
          </a:xfrm>
          <a:prstGeom prst="teardrop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: </a:t>
            </a:r>
            <a:r>
              <a:rPr lang="ru-RU" dirty="0"/>
              <a:t>ФОКУС НА ИНТЕРМОДАЛЬНЫЕ ПЕРЕВОЗКИ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83DEE779-328F-77D5-D502-2AC0AA06F75C}"/>
              </a:ext>
            </a:extLst>
          </p:cNvPr>
          <p:cNvSpPr/>
          <p:nvPr/>
        </p:nvSpPr>
        <p:spPr bwMode="gray">
          <a:xfrm>
            <a:off x="878382" y="2281036"/>
            <a:ext cx="2495006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b="1" dirty="0">
                <a:solidFill>
                  <a:schemeClr val="accent6"/>
                </a:solidFill>
                <a:latin typeface="Arial" panose="020B0604020202020204" pitchFamily="34" charset="0"/>
              </a:rPr>
              <a:t>&gt; 500</a:t>
            </a:r>
            <a:r>
              <a:rPr lang="nl-BE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сотрудников</a:t>
            </a:r>
            <a:endParaRPr lang="en-GB" sz="1400" b="1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5F1E57-9C8B-7DD9-8AC2-C55F8BC91C70}"/>
              </a:ext>
            </a:extLst>
          </p:cNvPr>
          <p:cNvSpPr/>
          <p:nvPr/>
        </p:nvSpPr>
        <p:spPr bwMode="gray">
          <a:xfrm>
            <a:off x="872401" y="3702766"/>
            <a:ext cx="2495006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b="1" dirty="0">
                <a:solidFill>
                  <a:schemeClr val="accent6"/>
                </a:solidFill>
                <a:latin typeface="Arial" panose="020B0604020202020204" pitchFamily="34" charset="0"/>
              </a:rPr>
              <a:t>19</a:t>
            </a:r>
            <a:r>
              <a:rPr lang="nl-BE" sz="14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офисов</a:t>
            </a:r>
            <a:endParaRPr lang="en-GB" sz="1400" b="1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0874E668-A2B9-C0D7-B95B-EA0EB3D707F6}"/>
              </a:ext>
            </a:extLst>
          </p:cNvPr>
          <p:cNvSpPr/>
          <p:nvPr/>
        </p:nvSpPr>
        <p:spPr bwMode="gray">
          <a:xfrm>
            <a:off x="878382" y="5162872"/>
            <a:ext cx="2495006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b="1" dirty="0">
                <a:solidFill>
                  <a:schemeClr val="accent6"/>
                </a:solidFill>
                <a:latin typeface="Arial" panose="020B0604020202020204" pitchFamily="34" charset="0"/>
              </a:rPr>
              <a:t>7</a:t>
            </a:r>
            <a:r>
              <a:rPr lang="nl-BE" sz="14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стран</a:t>
            </a:r>
            <a:endParaRPr lang="en-GB" sz="1400" b="1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37" name="Picture 36" descr="Blue gears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0187331-8616-8315-5A29-57DE46FCDC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829" y="1893049"/>
            <a:ext cx="431917" cy="431917"/>
          </a:xfrm>
          <a:prstGeom prst="rect">
            <a:avLst/>
          </a:prstGeom>
        </p:spPr>
      </p:pic>
      <p:sp>
        <p:nvSpPr>
          <p:cNvPr id="40" name="Teardrop 39">
            <a:extLst>
              <a:ext uri="{FF2B5EF4-FFF2-40B4-BE49-F238E27FC236}">
                <a16:creationId xmlns:a16="http://schemas.microsoft.com/office/drawing/2014/main" id="{13F30BC2-CF68-CFEC-F1C4-AF644BCEE902}"/>
              </a:ext>
            </a:extLst>
          </p:cNvPr>
          <p:cNvSpPr>
            <a:spLocks/>
          </p:cNvSpPr>
          <p:nvPr/>
        </p:nvSpPr>
        <p:spPr bwMode="gray">
          <a:xfrm>
            <a:off x="697123" y="1863216"/>
            <a:ext cx="484925" cy="502065"/>
          </a:xfrm>
          <a:prstGeom prst="teardrop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41" name="Picture 40" descr="A blue circle with a white letter&#10;&#10;Description automatically generated with low confidence">
            <a:extLst>
              <a:ext uri="{FF2B5EF4-FFF2-40B4-BE49-F238E27FC236}">
                <a16:creationId xmlns:a16="http://schemas.microsoft.com/office/drawing/2014/main" id="{87183C55-7394-7929-6C53-7F4290607D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88" y="1941243"/>
            <a:ext cx="346793" cy="364446"/>
          </a:xfrm>
          <a:prstGeom prst="rect">
            <a:avLst/>
          </a:prstGeom>
        </p:spPr>
      </p:pic>
      <p:sp>
        <p:nvSpPr>
          <p:cNvPr id="43" name="Teardrop 42">
            <a:extLst>
              <a:ext uri="{FF2B5EF4-FFF2-40B4-BE49-F238E27FC236}">
                <a16:creationId xmlns:a16="http://schemas.microsoft.com/office/drawing/2014/main" id="{20599250-4CB4-D412-D616-B2E7F422CF35}"/>
              </a:ext>
            </a:extLst>
          </p:cNvPr>
          <p:cNvSpPr>
            <a:spLocks/>
          </p:cNvSpPr>
          <p:nvPr/>
        </p:nvSpPr>
        <p:spPr bwMode="gray">
          <a:xfrm>
            <a:off x="691142" y="3297877"/>
            <a:ext cx="484925" cy="502065"/>
          </a:xfrm>
          <a:prstGeom prst="teardrop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44" name="Picture 43" descr="A blue circle with a white letter&#10;&#10;Description automatically generated with low confidence">
            <a:extLst>
              <a:ext uri="{FF2B5EF4-FFF2-40B4-BE49-F238E27FC236}">
                <a16:creationId xmlns:a16="http://schemas.microsoft.com/office/drawing/2014/main" id="{41774D50-06D7-A65E-8BCF-FC2F03A7D1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207" y="3375904"/>
            <a:ext cx="346793" cy="364446"/>
          </a:xfrm>
          <a:prstGeom prst="rect">
            <a:avLst/>
          </a:prstGeom>
        </p:spPr>
      </p:pic>
      <p:sp>
        <p:nvSpPr>
          <p:cNvPr id="45" name="Teardrop 44">
            <a:extLst>
              <a:ext uri="{FF2B5EF4-FFF2-40B4-BE49-F238E27FC236}">
                <a16:creationId xmlns:a16="http://schemas.microsoft.com/office/drawing/2014/main" id="{1F793A96-0462-C055-382F-C8F74D702AF8}"/>
              </a:ext>
            </a:extLst>
          </p:cNvPr>
          <p:cNvSpPr>
            <a:spLocks/>
          </p:cNvSpPr>
          <p:nvPr/>
        </p:nvSpPr>
        <p:spPr bwMode="gray">
          <a:xfrm>
            <a:off x="697123" y="4722723"/>
            <a:ext cx="484925" cy="502065"/>
          </a:xfrm>
          <a:prstGeom prst="teardrop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46" name="Picture 45" descr="A blue circle with a white letter&#10;&#10;Description automatically generated with low confidence">
            <a:extLst>
              <a:ext uri="{FF2B5EF4-FFF2-40B4-BE49-F238E27FC236}">
                <a16:creationId xmlns:a16="http://schemas.microsoft.com/office/drawing/2014/main" id="{E162E912-2420-7B5D-460F-A9825C3D29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88" y="4800750"/>
            <a:ext cx="346793" cy="364446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E3359E84-595A-3AD4-4D23-A0073664BD91}"/>
              </a:ext>
            </a:extLst>
          </p:cNvPr>
          <p:cNvSpPr txBox="1"/>
          <p:nvPr/>
        </p:nvSpPr>
        <p:spPr bwMode="gray">
          <a:xfrm>
            <a:off x="5721213" y="4326287"/>
            <a:ext cx="259990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4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en-US" sz="20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&lt; 200 </a:t>
            </a: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</a:rPr>
              <a:t>контейнеровозов и</a:t>
            </a:r>
            <a:endParaRPr lang="nl-BE" sz="1400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 marL="5400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</a:rPr>
              <a:t>тягачей</a:t>
            </a:r>
            <a:endParaRPr lang="ru-RU" sz="1000" i="0" u="none" baseline="0" dirty="0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056C3E8-0884-A6F7-A2E6-77E4AB8E58CF}"/>
              </a:ext>
            </a:extLst>
          </p:cNvPr>
          <p:cNvSpPr txBox="1"/>
          <p:nvPr/>
        </p:nvSpPr>
        <p:spPr bwMode="gray">
          <a:xfrm>
            <a:off x="5721213" y="5343470"/>
            <a:ext cx="247159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0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 &lt; 300 </a:t>
            </a: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</a:rPr>
              <a:t>ж</a:t>
            </a:r>
            <a:r>
              <a:rPr lang="en-US" sz="1400" dirty="0">
                <a:solidFill>
                  <a:schemeClr val="accent4"/>
                </a:solidFill>
                <a:latin typeface="Arial" panose="020B0604020202020204" pitchFamily="34" charset="0"/>
              </a:rPr>
              <a:t>/</a:t>
            </a: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</a:rPr>
              <a:t>д платформ</a:t>
            </a:r>
            <a:endParaRPr lang="ru-RU" sz="1000" i="0" u="none" baseline="0" dirty="0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7EA2A3F3-2F49-BD66-909C-1862D7E99D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0226033"/>
              </p:ext>
            </p:extLst>
          </p:nvPr>
        </p:nvGraphicFramePr>
        <p:xfrm>
          <a:off x="8420853" y="2875421"/>
          <a:ext cx="3622875" cy="3053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5D08E9-DF98-AE3B-C742-2C60A803C5EA}"/>
              </a:ext>
            </a:extLst>
          </p:cNvPr>
          <p:cNvSpPr txBox="1"/>
          <p:nvPr/>
        </p:nvSpPr>
        <p:spPr bwMode="gray">
          <a:xfrm>
            <a:off x="10274115" y="3314572"/>
            <a:ext cx="840719" cy="2273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Road</a:t>
            </a:r>
            <a:endParaRPr lang="en-GB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5F38FE-5E85-6E4A-F90A-BA6A49D0B5AA}"/>
              </a:ext>
            </a:extLst>
          </p:cNvPr>
          <p:cNvSpPr txBox="1"/>
          <p:nvPr/>
        </p:nvSpPr>
        <p:spPr bwMode="gray">
          <a:xfrm>
            <a:off x="10881195" y="3748645"/>
            <a:ext cx="840719" cy="2273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Rail</a:t>
            </a:r>
            <a:endParaRPr lang="en-GB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5A85FF-3FC5-65C2-81C0-9FAD11DF69E3}"/>
              </a:ext>
            </a:extLst>
          </p:cNvPr>
          <p:cNvSpPr txBox="1"/>
          <p:nvPr/>
        </p:nvSpPr>
        <p:spPr bwMode="gray">
          <a:xfrm>
            <a:off x="9430415" y="5057037"/>
            <a:ext cx="895113" cy="2273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Intermoda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D7D8950-C005-573B-B401-3894EB3BF480}"/>
              </a:ext>
            </a:extLst>
          </p:cNvPr>
          <p:cNvCxnSpPr/>
          <p:nvPr/>
        </p:nvCxnSpPr>
        <p:spPr bwMode="gray">
          <a:xfrm>
            <a:off x="3939843" y="1598488"/>
            <a:ext cx="0" cy="4338377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D2CBE64-B5A2-706E-7DF6-41AA054C5E68}"/>
              </a:ext>
            </a:extLst>
          </p:cNvPr>
          <p:cNvCxnSpPr/>
          <p:nvPr/>
        </p:nvCxnSpPr>
        <p:spPr bwMode="gray">
          <a:xfrm>
            <a:off x="8257854" y="1598488"/>
            <a:ext cx="0" cy="4338377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9">
            <a:extLst>
              <a:ext uri="{FF2B5EF4-FFF2-40B4-BE49-F238E27FC236}">
                <a16:creationId xmlns:a16="http://schemas.microsoft.com/office/drawing/2014/main" id="{98E14179-D9E8-DF2F-500D-C9106F0547BC}"/>
              </a:ext>
            </a:extLst>
          </p:cNvPr>
          <p:cNvSpPr/>
          <p:nvPr/>
        </p:nvSpPr>
        <p:spPr bwMode="gray">
          <a:xfrm>
            <a:off x="4879707" y="2286135"/>
            <a:ext cx="2495006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Собственные </a:t>
            </a:r>
            <a:r>
              <a:rPr lang="ru-RU" sz="1400" b="1" i="0" u="none" baseline="0" dirty="0">
                <a:solidFill>
                  <a:schemeClr val="accent6"/>
                </a:solidFill>
                <a:latin typeface="Arial" panose="020B0604020202020204" pitchFamily="34" charset="0"/>
              </a:rPr>
              <a:t>активы</a:t>
            </a:r>
            <a:endParaRPr lang="en-GB" sz="1400" b="1" i="0" u="none" baseline="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ardrop 18">
            <a:extLst>
              <a:ext uri="{FF2B5EF4-FFF2-40B4-BE49-F238E27FC236}">
                <a16:creationId xmlns:a16="http://schemas.microsoft.com/office/drawing/2014/main" id="{C527C585-707D-6BDB-8405-0E40BDE24E80}"/>
              </a:ext>
            </a:extLst>
          </p:cNvPr>
          <p:cNvSpPr>
            <a:spLocks/>
          </p:cNvSpPr>
          <p:nvPr/>
        </p:nvSpPr>
        <p:spPr bwMode="gray">
          <a:xfrm>
            <a:off x="4575126" y="1889672"/>
            <a:ext cx="484925" cy="502065"/>
          </a:xfrm>
          <a:prstGeom prst="teardrop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 descr="A picture containing graphics, symbol, logo&#10;&#10;Description automatically generated">
            <a:extLst>
              <a:ext uri="{FF2B5EF4-FFF2-40B4-BE49-F238E27FC236}">
                <a16:creationId xmlns:a16="http://schemas.microsoft.com/office/drawing/2014/main" id="{A08E6A3F-849E-B509-9688-90267EA7E3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0125" y="1871022"/>
            <a:ext cx="542734" cy="54273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9F1F3D-EC41-1D17-C0AE-FA66D559FA04}"/>
              </a:ext>
            </a:extLst>
          </p:cNvPr>
          <p:cNvSpPr txBox="1"/>
          <p:nvPr/>
        </p:nvSpPr>
        <p:spPr bwMode="gray">
          <a:xfrm>
            <a:off x="10400556" y="5850593"/>
            <a:ext cx="1647195" cy="21102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nl-BE" sz="1200" dirty="0">
                <a:solidFill>
                  <a:schemeClr val="accent4"/>
                </a:solidFill>
                <a:latin typeface="Arial" panose="020B0604020202020204" pitchFamily="34" charset="0"/>
              </a:rPr>
              <a:t>* </a:t>
            </a: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</a:rPr>
              <a:t>данные 202</a:t>
            </a:r>
            <a:r>
              <a:rPr lang="en-US" sz="1200" dirty="0">
                <a:solidFill>
                  <a:schemeClr val="accent4"/>
                </a:solidFill>
                <a:latin typeface="Arial" panose="020B0604020202020204" pitchFamily="34" charset="0"/>
              </a:rPr>
              <a:t>2</a:t>
            </a: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</a:rPr>
              <a:t> год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63FAECC-9DDD-0727-C811-4B7E0208AA6F}"/>
              </a:ext>
            </a:extLst>
          </p:cNvPr>
          <p:cNvSpPr txBox="1"/>
          <p:nvPr/>
        </p:nvSpPr>
        <p:spPr bwMode="gray">
          <a:xfrm>
            <a:off x="8428292" y="2641242"/>
            <a:ext cx="37016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0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 &gt; 80% </a:t>
            </a:r>
            <a:r>
              <a:rPr lang="ru-RU" sz="1400" b="1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интермодальных перевозок</a:t>
            </a:r>
            <a:r>
              <a:rPr lang="nl-BE" sz="1400" b="1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 </a:t>
            </a:r>
            <a:r>
              <a:rPr lang="en-US" sz="1400" b="1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*</a:t>
            </a:r>
            <a:endParaRPr lang="ru-RU" sz="1000" b="0" i="0" u="none" baseline="0" dirty="0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Picture 16" descr="A blue container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9513CFF8-EB9E-00A4-B4ED-D8C6C70B17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367" y="2912488"/>
            <a:ext cx="1670788" cy="1181789"/>
          </a:xfrm>
          <a:prstGeom prst="rect">
            <a:avLst/>
          </a:prstGeom>
        </p:spPr>
      </p:pic>
      <p:pic>
        <p:nvPicPr>
          <p:cNvPr id="21" name="Picture 20" descr="A picture containing freight transport, LEGO, cargo container, vehicle&#10;&#10;Description automatically generated">
            <a:extLst>
              <a:ext uri="{FF2B5EF4-FFF2-40B4-BE49-F238E27FC236}">
                <a16:creationId xmlns:a16="http://schemas.microsoft.com/office/drawing/2014/main" id="{F88E4B64-CEC0-1D66-6639-ED2799291B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3266" y="3913128"/>
            <a:ext cx="1209269" cy="1209269"/>
          </a:xfrm>
          <a:prstGeom prst="rect">
            <a:avLst/>
          </a:prstGeom>
        </p:spPr>
      </p:pic>
      <p:pic>
        <p:nvPicPr>
          <p:cNvPr id="22" name="Picture 21" descr="A blue container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504FC77E-3BED-D095-7AC5-BBD889601B6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5926" y="4977749"/>
            <a:ext cx="1156792" cy="1156792"/>
          </a:xfrm>
          <a:prstGeom prst="rect">
            <a:avLst/>
          </a:prstGeom>
        </p:spPr>
      </p:pic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404F269A-7FDD-0DBA-B691-9E003318C8B9}"/>
              </a:ext>
            </a:extLst>
          </p:cNvPr>
          <p:cNvGraphicFramePr/>
          <p:nvPr/>
        </p:nvGraphicFramePr>
        <p:xfrm>
          <a:off x="8620378" y="3040702"/>
          <a:ext cx="3124085" cy="2612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40B685C6-3BF8-2503-7503-08ED2B5EB84D}"/>
              </a:ext>
            </a:extLst>
          </p:cNvPr>
          <p:cNvSpPr txBox="1"/>
          <p:nvPr/>
        </p:nvSpPr>
        <p:spPr bwMode="gray">
          <a:xfrm>
            <a:off x="10224814" y="3274239"/>
            <a:ext cx="724970" cy="1944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Road</a:t>
            </a:r>
            <a:endParaRPr lang="en-GB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E29B54-2E04-4611-A6DA-B80564AAB012}"/>
              </a:ext>
            </a:extLst>
          </p:cNvPr>
          <p:cNvSpPr txBox="1"/>
          <p:nvPr/>
        </p:nvSpPr>
        <p:spPr bwMode="gray">
          <a:xfrm>
            <a:off x="10661000" y="3653382"/>
            <a:ext cx="724970" cy="1944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Rail</a:t>
            </a:r>
            <a:endParaRPr lang="en-GB" sz="14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6FD0B83-154C-A348-3B1D-3C7727EA6B83}"/>
              </a:ext>
            </a:extLst>
          </p:cNvPr>
          <p:cNvSpPr txBox="1"/>
          <p:nvPr/>
        </p:nvSpPr>
        <p:spPr bwMode="gray">
          <a:xfrm>
            <a:off x="10388243" y="4301136"/>
            <a:ext cx="971401" cy="17687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4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Intermoda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6F0A3-D7F9-8BEB-A51A-A42C7A163A1F}"/>
              </a:ext>
            </a:extLst>
          </p:cNvPr>
          <p:cNvSpPr txBox="1"/>
          <p:nvPr/>
        </p:nvSpPr>
        <p:spPr bwMode="gray">
          <a:xfrm>
            <a:off x="5700969" y="3296831"/>
            <a:ext cx="27543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4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en-US" sz="2400" b="1" i="0" u="none" baseline="0">
                <a:solidFill>
                  <a:srgbClr val="FFC000"/>
                </a:solidFill>
                <a:latin typeface="Arial" panose="020B0604020202020204" pitchFamily="34" charset="0"/>
              </a:rPr>
              <a:t>&gt; </a:t>
            </a:r>
            <a:r>
              <a:rPr lang="en-US" sz="2400" b="1">
                <a:solidFill>
                  <a:srgbClr val="FFC000"/>
                </a:solidFill>
                <a:latin typeface="Arial" panose="020B0604020202020204" pitchFamily="34" charset="0"/>
              </a:rPr>
              <a:t>20</a:t>
            </a:r>
            <a:r>
              <a:rPr lang="en-US" sz="2400" b="1" i="0" u="none" baseline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en-US" sz="2400" b="1" i="0" u="none" baseline="0" dirty="0">
                <a:solidFill>
                  <a:srgbClr val="FFC000"/>
                </a:solidFill>
                <a:latin typeface="Arial" panose="020B0604020202020204" pitchFamily="34" charset="0"/>
              </a:rPr>
              <a:t>000 </a:t>
            </a: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</a:rPr>
              <a:t>контейнеров</a:t>
            </a:r>
          </a:p>
        </p:txBody>
      </p:sp>
    </p:spTree>
    <p:extLst>
      <p:ext uri="{BB962C8B-B14F-4D97-AF65-F5344CB8AC3E}">
        <p14:creationId xmlns:p14="http://schemas.microsoft.com/office/powerpoint/2010/main" val="124866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ы предоставляем следующие услуги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0D1933-A5E1-4437-B04A-01613FB0ADED}"/>
              </a:ext>
            </a:extLst>
          </p:cNvPr>
          <p:cNvSpPr txBox="1"/>
          <p:nvPr/>
        </p:nvSpPr>
        <p:spPr bwMode="gray">
          <a:xfrm>
            <a:off x="2114074" y="2423551"/>
            <a:ext cx="1828800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Интермодальные перевозк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140966-B09F-4F98-8127-0D3DCF7A30CA}"/>
              </a:ext>
            </a:extLst>
          </p:cNvPr>
          <p:cNvSpPr txBox="1"/>
          <p:nvPr/>
        </p:nvSpPr>
        <p:spPr bwMode="gray">
          <a:xfrm>
            <a:off x="2104944" y="3856765"/>
            <a:ext cx="2566723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Экспедирование в</a:t>
            </a:r>
            <a:endParaRPr lang="nl-BE" sz="1400" b="0" i="0" u="none" baseline="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порту и терминальная обработка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400" b="0" i="0" u="none" baseline="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111670-E3E7-4545-905A-C52577A14A4D}"/>
              </a:ext>
            </a:extLst>
          </p:cNvPr>
          <p:cNvSpPr txBox="1"/>
          <p:nvPr/>
        </p:nvSpPr>
        <p:spPr bwMode="gray">
          <a:xfrm>
            <a:off x="6319718" y="2329831"/>
            <a:ext cx="1940019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Морской фрах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О</a:t>
            </a:r>
            <a:r>
              <a:rPr lang="ru-RU" sz="105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кеанские перевозки и морские перевозки на короткие расстояния</a:t>
            </a:r>
            <a:endParaRPr lang="ru-RU" sz="2000" b="0" i="0" u="none" baseline="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2D2AEF-0E37-4C58-9890-A18C4C3CA8F8}"/>
              </a:ext>
            </a:extLst>
          </p:cNvPr>
          <p:cNvSpPr txBox="1"/>
          <p:nvPr/>
        </p:nvSpPr>
        <p:spPr bwMode="gray">
          <a:xfrm>
            <a:off x="10082897" y="2499754"/>
            <a:ext cx="2518381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Ж</a:t>
            </a:r>
            <a:r>
              <a:rPr lang="en-US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/</a:t>
            </a: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д перевозк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0F4C50-480E-4340-9E56-4388CFA9242D}"/>
              </a:ext>
            </a:extLst>
          </p:cNvPr>
          <p:cNvSpPr txBox="1"/>
          <p:nvPr/>
        </p:nvSpPr>
        <p:spPr bwMode="gray">
          <a:xfrm>
            <a:off x="6292885" y="3737924"/>
            <a:ext cx="1828800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Автодорожные перевозки </a:t>
            </a:r>
            <a:br>
              <a:rPr lang="ru-RU" sz="20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ru-RU" sz="105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Доставка в порт отправления и из порта прибытия</a:t>
            </a:r>
            <a:endParaRPr lang="ru-RU" sz="1400" b="0" i="0" u="none" baseline="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48BA1A-E638-4763-AE4F-61F01FAEA433}"/>
              </a:ext>
            </a:extLst>
          </p:cNvPr>
          <p:cNvSpPr txBox="1"/>
          <p:nvPr/>
        </p:nvSpPr>
        <p:spPr bwMode="gray">
          <a:xfrm>
            <a:off x="10082897" y="4006564"/>
            <a:ext cx="2609928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Таможенная очистк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E9BE85-6636-4817-BCC2-88D9D08AA41F}"/>
              </a:ext>
            </a:extLst>
          </p:cNvPr>
          <p:cNvSpPr txBox="1"/>
          <p:nvPr/>
        </p:nvSpPr>
        <p:spPr bwMode="gray">
          <a:xfrm>
            <a:off x="2114074" y="5515923"/>
            <a:ext cx="1828800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Торговля контейнерами</a:t>
            </a:r>
            <a:endParaRPr lang="nl-BE" sz="1400" b="0" i="0" u="none" baseline="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и каботаж</a:t>
            </a:r>
            <a:endParaRPr lang="ru-RU" sz="1400" b="0" i="0" u="none" baseline="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2B7149-FEAB-4A07-BD5D-A2A30270EEC7}"/>
              </a:ext>
            </a:extLst>
          </p:cNvPr>
          <p:cNvSpPr txBox="1"/>
          <p:nvPr/>
        </p:nvSpPr>
        <p:spPr bwMode="gray">
          <a:xfrm>
            <a:off x="6319719" y="5616403"/>
            <a:ext cx="1922161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Складское хранени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64EDFA-6AE0-457F-B704-2790B95E1F84}"/>
              </a:ext>
            </a:extLst>
          </p:cNvPr>
          <p:cNvSpPr txBox="1"/>
          <p:nvPr/>
        </p:nvSpPr>
        <p:spPr bwMode="gray">
          <a:xfrm>
            <a:off x="10082897" y="5620526"/>
            <a:ext cx="2507435" cy="44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Авиаперевозки</a:t>
            </a:r>
            <a:endParaRPr lang="en-US" sz="1400" b="0" i="0" u="none" baseline="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1EA77A-4D2C-7746-6C78-28FF5F8E5668}"/>
              </a:ext>
            </a:extLst>
          </p:cNvPr>
          <p:cNvCxnSpPr>
            <a:cxnSpLocks/>
          </p:cNvCxnSpPr>
          <p:nvPr/>
        </p:nvCxnSpPr>
        <p:spPr bwMode="gray">
          <a:xfrm flipV="1">
            <a:off x="2881425" y="1706174"/>
            <a:ext cx="9304654" cy="516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B37F2EE-D438-0853-EE3C-BFE84CF519A5}"/>
              </a:ext>
            </a:extLst>
          </p:cNvPr>
          <p:cNvCxnSpPr>
            <a:cxnSpLocks/>
          </p:cNvCxnSpPr>
          <p:nvPr/>
        </p:nvCxnSpPr>
        <p:spPr bwMode="gray">
          <a:xfrm flipV="1">
            <a:off x="2882569" y="3272887"/>
            <a:ext cx="9304654" cy="516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8D737CD-1FDA-313F-7CCC-CFC311FC5906}"/>
              </a:ext>
            </a:extLst>
          </p:cNvPr>
          <p:cNvCxnSpPr>
            <a:cxnSpLocks/>
          </p:cNvCxnSpPr>
          <p:nvPr/>
        </p:nvCxnSpPr>
        <p:spPr bwMode="gray">
          <a:xfrm flipV="1">
            <a:off x="2881425" y="4851352"/>
            <a:ext cx="9304654" cy="516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tire, wheel, vehicle, land vehicle&#10;&#10;Description automatically generated">
            <a:extLst>
              <a:ext uri="{FF2B5EF4-FFF2-40B4-BE49-F238E27FC236}">
                <a16:creationId xmlns:a16="http://schemas.microsoft.com/office/drawing/2014/main" id="{CE5A4701-802F-7808-CAC4-C40EA227BF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752" y="5273124"/>
            <a:ext cx="920668" cy="611210"/>
          </a:xfrm>
          <a:prstGeom prst="rect">
            <a:avLst/>
          </a:prstGeom>
        </p:spPr>
      </p:pic>
      <p:pic>
        <p:nvPicPr>
          <p:cNvPr id="11" name="Picture 10" descr="A picture containing screenshot, window, majorelle blue, text&#10;&#10;Description automatically generated">
            <a:extLst>
              <a:ext uri="{FF2B5EF4-FFF2-40B4-BE49-F238E27FC236}">
                <a16:creationId xmlns:a16="http://schemas.microsoft.com/office/drawing/2014/main" id="{90D1AF21-F9AC-6B63-ACD6-3B3A76D29B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9324" y="5369820"/>
            <a:ext cx="1645881" cy="537343"/>
          </a:xfrm>
          <a:prstGeom prst="rect">
            <a:avLst/>
          </a:prstGeom>
        </p:spPr>
      </p:pic>
      <p:pic>
        <p:nvPicPr>
          <p:cNvPr id="24" name="Picture 23" descr="A picture containing screenshot, blue, majorelle blue, rectangle&#10;&#10;Description automatically generated">
            <a:extLst>
              <a:ext uri="{FF2B5EF4-FFF2-40B4-BE49-F238E27FC236}">
                <a16:creationId xmlns:a16="http://schemas.microsoft.com/office/drawing/2014/main" id="{F01BB818-6E71-C89A-C45A-C5D1F84899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553" y="2361700"/>
            <a:ext cx="1129402" cy="506284"/>
          </a:xfrm>
          <a:prstGeom prst="rect">
            <a:avLst/>
          </a:prstGeom>
        </p:spPr>
      </p:pic>
      <p:pic>
        <p:nvPicPr>
          <p:cNvPr id="28" name="Picture 27" descr="A picture containing text, screenshot, design&#10;&#10;Description automatically generated">
            <a:extLst>
              <a:ext uri="{FF2B5EF4-FFF2-40B4-BE49-F238E27FC236}">
                <a16:creationId xmlns:a16="http://schemas.microsoft.com/office/drawing/2014/main" id="{11D1B29E-5932-9695-56F7-B43EFB6368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2829" y="3846412"/>
            <a:ext cx="790498" cy="531905"/>
          </a:xfrm>
          <a:prstGeom prst="rect">
            <a:avLst/>
          </a:prstGeom>
        </p:spPr>
      </p:pic>
      <p:pic>
        <p:nvPicPr>
          <p:cNvPr id="30" name="Picture 29" descr="A picture containing transport, LEGO&#10;&#10;Description automatically generated">
            <a:extLst>
              <a:ext uri="{FF2B5EF4-FFF2-40B4-BE49-F238E27FC236}">
                <a16:creationId xmlns:a16="http://schemas.microsoft.com/office/drawing/2014/main" id="{4A74AF40-5BD8-8ED5-AE16-55C5844FAE3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50" y="3747589"/>
            <a:ext cx="914060" cy="777625"/>
          </a:xfrm>
          <a:prstGeom prst="rect">
            <a:avLst/>
          </a:prstGeom>
        </p:spPr>
      </p:pic>
      <p:pic>
        <p:nvPicPr>
          <p:cNvPr id="33" name="Picture 32" descr="A picture containing transport, auto part, cargo, freight transport&#10;&#10;Description automatically generated">
            <a:extLst>
              <a:ext uri="{FF2B5EF4-FFF2-40B4-BE49-F238E27FC236}">
                <a16:creationId xmlns:a16="http://schemas.microsoft.com/office/drawing/2014/main" id="{7549E4FA-C0E3-D75B-D491-5DEE911795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7888" y="2375195"/>
            <a:ext cx="1166895" cy="359930"/>
          </a:xfrm>
          <a:prstGeom prst="rect">
            <a:avLst/>
          </a:prstGeom>
        </p:spPr>
      </p:pic>
      <p:pic>
        <p:nvPicPr>
          <p:cNvPr id="37" name="Picture 36" descr="A picture containing screenshot, LEGO&#10;&#10;Description automatically generated">
            <a:extLst>
              <a:ext uri="{FF2B5EF4-FFF2-40B4-BE49-F238E27FC236}">
                <a16:creationId xmlns:a16="http://schemas.microsoft.com/office/drawing/2014/main" id="{AC31284C-E7E6-945A-F264-18577131840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6434" y="2198102"/>
            <a:ext cx="1453847" cy="256016"/>
          </a:xfrm>
          <a:prstGeom prst="rect">
            <a:avLst/>
          </a:prstGeom>
        </p:spPr>
      </p:pic>
      <p:pic>
        <p:nvPicPr>
          <p:cNvPr id="41" name="Picture 40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8D2ED6FF-725D-0F05-4A43-56F4FC2EB66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826" y="2620746"/>
            <a:ext cx="1453842" cy="299883"/>
          </a:xfrm>
          <a:prstGeom prst="rect">
            <a:avLst/>
          </a:prstGeom>
        </p:spPr>
      </p:pic>
      <p:pic>
        <p:nvPicPr>
          <p:cNvPr id="44" name="Picture 43" descr="A blue container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875E13A0-83D3-AC49-5B92-7190F9C829D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1667" y="3705487"/>
            <a:ext cx="1177842" cy="301077"/>
          </a:xfrm>
          <a:prstGeom prst="rect">
            <a:avLst/>
          </a:prstGeom>
        </p:spPr>
      </p:pic>
      <p:pic>
        <p:nvPicPr>
          <p:cNvPr id="46" name="Picture 45" descr="A picture containing text, wheel, vehicle, land vehicle&#10;&#10;Description automatically generated">
            <a:extLst>
              <a:ext uri="{FF2B5EF4-FFF2-40B4-BE49-F238E27FC236}">
                <a16:creationId xmlns:a16="http://schemas.microsoft.com/office/drawing/2014/main" id="{87451519-A56E-45B2-F8C3-62670B17E09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916" y="4250035"/>
            <a:ext cx="1203807" cy="287999"/>
          </a:xfrm>
          <a:prstGeom prst="rect">
            <a:avLst/>
          </a:prstGeom>
        </p:spPr>
      </p:pic>
      <p:pic>
        <p:nvPicPr>
          <p:cNvPr id="49" name="Picture 48" descr="A blue and white airplane&#10;&#10;Description automatically generated">
            <a:extLst>
              <a:ext uri="{FF2B5EF4-FFF2-40B4-BE49-F238E27FC236}">
                <a16:creationId xmlns:a16="http://schemas.microsoft.com/office/drawing/2014/main" id="{A48AC104-2B68-3470-C827-D2ECD9D04C2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0526" y="5234253"/>
            <a:ext cx="943725" cy="943725"/>
          </a:xfrm>
          <a:prstGeom prst="rect">
            <a:avLst/>
          </a:prstGeom>
        </p:spPr>
      </p:pic>
      <p:sp>
        <p:nvSpPr>
          <p:cNvPr id="8" name="Rectangle 9">
            <a:extLst>
              <a:ext uri="{FF2B5EF4-FFF2-40B4-BE49-F238E27FC236}">
                <a16:creationId xmlns:a16="http://schemas.microsoft.com/office/drawing/2014/main" id="{6DF1142F-49E3-6DCB-9500-1F1581C7CD80}"/>
              </a:ext>
            </a:extLst>
          </p:cNvPr>
          <p:cNvSpPr/>
          <p:nvPr/>
        </p:nvSpPr>
        <p:spPr bwMode="gray">
          <a:xfrm>
            <a:off x="390752" y="1710508"/>
            <a:ext cx="4646915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Интермодальные, морские и ж</a:t>
            </a:r>
            <a:r>
              <a:rPr lang="en-US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/</a:t>
            </a: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д перевозки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B99364-D0DD-329B-FE77-70970C188B8A}"/>
              </a:ext>
            </a:extLst>
          </p:cNvPr>
          <p:cNvSpPr/>
          <p:nvPr/>
        </p:nvSpPr>
        <p:spPr bwMode="gray">
          <a:xfrm>
            <a:off x="390751" y="3274615"/>
            <a:ext cx="4646915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Экспедирование – Таможенное оформление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19C311DD-F502-302D-D091-CF3580803858}"/>
              </a:ext>
            </a:extLst>
          </p:cNvPr>
          <p:cNvSpPr/>
          <p:nvPr/>
        </p:nvSpPr>
        <p:spPr bwMode="gray">
          <a:xfrm>
            <a:off x="390753" y="4853936"/>
            <a:ext cx="4646914" cy="308770"/>
          </a:xfrm>
          <a:custGeom>
            <a:avLst/>
            <a:gdLst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675467 w 2675467"/>
              <a:gd name="connsiteY2" fmla="*/ 663499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71966"/>
              <a:gd name="connsiteX1" fmla="*/ 2675467 w 2675467"/>
              <a:gd name="connsiteY1" fmla="*/ 0 h 671966"/>
              <a:gd name="connsiteX2" fmla="*/ 2023534 w 2675467"/>
              <a:gd name="connsiteY2" fmla="*/ 671966 h 671966"/>
              <a:gd name="connsiteX3" fmla="*/ 0 w 2675467"/>
              <a:gd name="connsiteY3" fmla="*/ 663499 h 671966"/>
              <a:gd name="connsiteX4" fmla="*/ 0 w 2675467"/>
              <a:gd name="connsiteY4" fmla="*/ 0 h 671966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422008 w 2675467"/>
              <a:gd name="connsiteY2" fmla="*/ 618784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91559"/>
              <a:gd name="connsiteX1" fmla="*/ 2675467 w 2675467"/>
              <a:gd name="connsiteY1" fmla="*/ 0 h 691559"/>
              <a:gd name="connsiteX2" fmla="*/ 2280961 w 2675467"/>
              <a:gd name="connsiteY2" fmla="*/ 691559 h 691559"/>
              <a:gd name="connsiteX3" fmla="*/ 0 w 2675467"/>
              <a:gd name="connsiteY3" fmla="*/ 663499 h 691559"/>
              <a:gd name="connsiteX4" fmla="*/ 0 w 2675467"/>
              <a:gd name="connsiteY4" fmla="*/ 0 h 69155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0961 w 2675467"/>
              <a:gd name="connsiteY2" fmla="*/ 655173 h 663499"/>
              <a:gd name="connsiteX3" fmla="*/ 0 w 2675467"/>
              <a:gd name="connsiteY3" fmla="*/ 663499 h 663499"/>
              <a:gd name="connsiteX4" fmla="*/ 0 w 2675467"/>
              <a:gd name="connsiteY4" fmla="*/ 0 h 663499"/>
              <a:gd name="connsiteX0" fmla="*/ 0 w 2675467"/>
              <a:gd name="connsiteY0" fmla="*/ 0 h 663499"/>
              <a:gd name="connsiteX1" fmla="*/ 2675467 w 2675467"/>
              <a:gd name="connsiteY1" fmla="*/ 0 h 663499"/>
              <a:gd name="connsiteX2" fmla="*/ 2285593 w 2675467"/>
              <a:gd name="connsiteY2" fmla="*/ 662345 h 663499"/>
              <a:gd name="connsiteX3" fmla="*/ 0 w 2675467"/>
              <a:gd name="connsiteY3" fmla="*/ 663499 h 663499"/>
              <a:gd name="connsiteX4" fmla="*/ 0 w 2675467"/>
              <a:gd name="connsiteY4" fmla="*/ 0 h 66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5467" h="663499">
                <a:moveTo>
                  <a:pt x="0" y="0"/>
                </a:moveTo>
                <a:lnTo>
                  <a:pt x="2675467" y="0"/>
                </a:lnTo>
                <a:lnTo>
                  <a:pt x="2285593" y="662345"/>
                </a:lnTo>
                <a:lnTo>
                  <a:pt x="0" y="6634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Прочие транспортные услуги</a:t>
            </a:r>
          </a:p>
        </p:txBody>
      </p:sp>
    </p:spTree>
    <p:extLst>
      <p:ext uri="{BB962C8B-B14F-4D97-AF65-F5344CB8AC3E}">
        <p14:creationId xmlns:p14="http://schemas.microsoft.com/office/powerpoint/2010/main" val="428298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fidential</a:t>
            </a:r>
            <a:endParaRPr lang="de-DE" dirty="0"/>
          </a:p>
        </p:txBody>
      </p:sp>
      <p:sp>
        <p:nvSpPr>
          <p:cNvPr id="8" name="Germany">
            <a:extLst>
              <a:ext uri="{FF2B5EF4-FFF2-40B4-BE49-F238E27FC236}">
                <a16:creationId xmlns:a16="http://schemas.microsoft.com/office/drawing/2014/main" id="{50EE2983-29CA-AAAF-2BF1-71503A87AC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93293" y="2210398"/>
            <a:ext cx="500926" cy="521605"/>
          </a:xfrm>
          <a:custGeom>
            <a:avLst/>
            <a:gdLst>
              <a:gd name="T0" fmla="*/ 21 w 373"/>
              <a:gd name="T1" fmla="*/ 294 h 393"/>
              <a:gd name="T2" fmla="*/ 62 w 373"/>
              <a:gd name="T3" fmla="*/ 297 h 393"/>
              <a:gd name="T4" fmla="*/ 90 w 373"/>
              <a:gd name="T5" fmla="*/ 305 h 393"/>
              <a:gd name="T6" fmla="*/ 74 w 373"/>
              <a:gd name="T7" fmla="*/ 330 h 393"/>
              <a:gd name="T8" fmla="*/ 75 w 373"/>
              <a:gd name="T9" fmla="*/ 381 h 393"/>
              <a:gd name="T10" fmla="*/ 101 w 373"/>
              <a:gd name="T11" fmla="*/ 378 h 393"/>
              <a:gd name="T12" fmla="*/ 128 w 373"/>
              <a:gd name="T13" fmla="*/ 372 h 393"/>
              <a:gd name="T14" fmla="*/ 148 w 373"/>
              <a:gd name="T15" fmla="*/ 383 h 393"/>
              <a:gd name="T16" fmla="*/ 161 w 373"/>
              <a:gd name="T17" fmla="*/ 382 h 393"/>
              <a:gd name="T18" fmla="*/ 182 w 373"/>
              <a:gd name="T19" fmla="*/ 377 h 393"/>
              <a:gd name="T20" fmla="*/ 224 w 373"/>
              <a:gd name="T21" fmla="*/ 387 h 393"/>
              <a:gd name="T22" fmla="*/ 258 w 373"/>
              <a:gd name="T23" fmla="*/ 372 h 393"/>
              <a:gd name="T24" fmla="*/ 290 w 373"/>
              <a:gd name="T25" fmla="*/ 385 h 393"/>
              <a:gd name="T26" fmla="*/ 282 w 373"/>
              <a:gd name="T27" fmla="*/ 358 h 393"/>
              <a:gd name="T28" fmla="*/ 309 w 373"/>
              <a:gd name="T29" fmla="*/ 335 h 393"/>
              <a:gd name="T30" fmla="*/ 324 w 373"/>
              <a:gd name="T31" fmla="*/ 316 h 393"/>
              <a:gd name="T32" fmla="*/ 301 w 373"/>
              <a:gd name="T33" fmla="*/ 295 h 393"/>
              <a:gd name="T34" fmla="*/ 281 w 373"/>
              <a:gd name="T35" fmla="*/ 285 h 393"/>
              <a:gd name="T36" fmla="*/ 271 w 373"/>
              <a:gd name="T37" fmla="*/ 271 h 393"/>
              <a:gd name="T38" fmla="*/ 263 w 373"/>
              <a:gd name="T39" fmla="*/ 248 h 393"/>
              <a:gd name="T40" fmla="*/ 263 w 373"/>
              <a:gd name="T41" fmla="*/ 239 h 393"/>
              <a:gd name="T42" fmla="*/ 283 w 373"/>
              <a:gd name="T43" fmla="*/ 227 h 393"/>
              <a:gd name="T44" fmla="*/ 308 w 373"/>
              <a:gd name="T45" fmla="*/ 221 h 393"/>
              <a:gd name="T46" fmla="*/ 325 w 373"/>
              <a:gd name="T47" fmla="*/ 210 h 393"/>
              <a:gd name="T48" fmla="*/ 360 w 373"/>
              <a:gd name="T49" fmla="*/ 208 h 393"/>
              <a:gd name="T50" fmla="*/ 369 w 373"/>
              <a:gd name="T51" fmla="*/ 177 h 393"/>
              <a:gd name="T52" fmla="*/ 351 w 373"/>
              <a:gd name="T53" fmla="*/ 157 h 393"/>
              <a:gd name="T54" fmla="*/ 356 w 373"/>
              <a:gd name="T55" fmla="*/ 136 h 393"/>
              <a:gd name="T56" fmla="*/ 352 w 373"/>
              <a:gd name="T57" fmla="*/ 115 h 393"/>
              <a:gd name="T58" fmla="*/ 334 w 373"/>
              <a:gd name="T59" fmla="*/ 106 h 393"/>
              <a:gd name="T60" fmla="*/ 339 w 373"/>
              <a:gd name="T61" fmla="*/ 72 h 393"/>
              <a:gd name="T62" fmla="*/ 321 w 373"/>
              <a:gd name="T63" fmla="*/ 55 h 393"/>
              <a:gd name="T64" fmla="*/ 296 w 373"/>
              <a:gd name="T65" fmla="*/ 35 h 393"/>
              <a:gd name="T66" fmla="*/ 226 w 373"/>
              <a:gd name="T67" fmla="*/ 35 h 393"/>
              <a:gd name="T68" fmla="*/ 202 w 373"/>
              <a:gd name="T69" fmla="*/ 35 h 393"/>
              <a:gd name="T70" fmla="*/ 168 w 373"/>
              <a:gd name="T71" fmla="*/ 22 h 393"/>
              <a:gd name="T72" fmla="*/ 145 w 373"/>
              <a:gd name="T73" fmla="*/ 3 h 393"/>
              <a:gd name="T74" fmla="*/ 112 w 373"/>
              <a:gd name="T75" fmla="*/ 0 h 393"/>
              <a:gd name="T76" fmla="*/ 130 w 373"/>
              <a:gd name="T77" fmla="*/ 49 h 393"/>
              <a:gd name="T78" fmla="*/ 105 w 373"/>
              <a:gd name="T79" fmla="*/ 55 h 393"/>
              <a:gd name="T80" fmla="*/ 82 w 373"/>
              <a:gd name="T81" fmla="*/ 62 h 393"/>
              <a:gd name="T82" fmla="*/ 57 w 373"/>
              <a:gd name="T83" fmla="*/ 85 h 393"/>
              <a:gd name="T84" fmla="*/ 47 w 373"/>
              <a:gd name="T85" fmla="*/ 103 h 393"/>
              <a:gd name="T86" fmla="*/ 30 w 373"/>
              <a:gd name="T87" fmla="*/ 122 h 393"/>
              <a:gd name="T88" fmla="*/ 35 w 373"/>
              <a:gd name="T89" fmla="*/ 153 h 393"/>
              <a:gd name="T90" fmla="*/ 1 w 373"/>
              <a:gd name="T91" fmla="*/ 155 h 393"/>
              <a:gd name="T92" fmla="*/ 0 w 373"/>
              <a:gd name="T93" fmla="*/ 191 h 393"/>
              <a:gd name="T94" fmla="*/ 5 w 373"/>
              <a:gd name="T95" fmla="*/ 216 h 393"/>
              <a:gd name="T96" fmla="*/ 9 w 373"/>
              <a:gd name="T97" fmla="*/ 239 h 393"/>
              <a:gd name="T98" fmla="*/ 17 w 373"/>
              <a:gd name="T99" fmla="*/ 274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73" h="393">
                <a:moveTo>
                  <a:pt x="17" y="274"/>
                </a:moveTo>
                <a:cubicBezTo>
                  <a:pt x="17" y="274"/>
                  <a:pt x="19" y="278"/>
                  <a:pt x="22" y="281"/>
                </a:cubicBezTo>
                <a:cubicBezTo>
                  <a:pt x="25" y="284"/>
                  <a:pt x="21" y="294"/>
                  <a:pt x="21" y="294"/>
                </a:cubicBezTo>
                <a:cubicBezTo>
                  <a:pt x="38" y="294"/>
                  <a:pt x="38" y="294"/>
                  <a:pt x="38" y="294"/>
                </a:cubicBezTo>
                <a:cubicBezTo>
                  <a:pt x="38" y="294"/>
                  <a:pt x="36" y="299"/>
                  <a:pt x="42" y="300"/>
                </a:cubicBezTo>
                <a:cubicBezTo>
                  <a:pt x="48" y="301"/>
                  <a:pt x="62" y="297"/>
                  <a:pt x="62" y="297"/>
                </a:cubicBezTo>
                <a:cubicBezTo>
                  <a:pt x="62" y="301"/>
                  <a:pt x="62" y="301"/>
                  <a:pt x="62" y="301"/>
                </a:cubicBezTo>
                <a:cubicBezTo>
                  <a:pt x="80" y="300"/>
                  <a:pt x="80" y="300"/>
                  <a:pt x="80" y="300"/>
                </a:cubicBezTo>
                <a:cubicBezTo>
                  <a:pt x="90" y="305"/>
                  <a:pt x="90" y="305"/>
                  <a:pt x="90" y="305"/>
                </a:cubicBezTo>
                <a:cubicBezTo>
                  <a:pt x="88" y="311"/>
                  <a:pt x="88" y="311"/>
                  <a:pt x="88" y="311"/>
                </a:cubicBezTo>
                <a:cubicBezTo>
                  <a:pt x="74" y="322"/>
                  <a:pt x="74" y="322"/>
                  <a:pt x="74" y="322"/>
                </a:cubicBezTo>
                <a:cubicBezTo>
                  <a:pt x="74" y="330"/>
                  <a:pt x="74" y="330"/>
                  <a:pt x="74" y="330"/>
                </a:cubicBezTo>
                <a:cubicBezTo>
                  <a:pt x="74" y="330"/>
                  <a:pt x="64" y="349"/>
                  <a:pt x="62" y="360"/>
                </a:cubicBezTo>
                <a:cubicBezTo>
                  <a:pt x="60" y="369"/>
                  <a:pt x="63" y="377"/>
                  <a:pt x="64" y="379"/>
                </a:cubicBezTo>
                <a:cubicBezTo>
                  <a:pt x="75" y="381"/>
                  <a:pt x="75" y="381"/>
                  <a:pt x="75" y="381"/>
                </a:cubicBezTo>
                <a:cubicBezTo>
                  <a:pt x="87" y="381"/>
                  <a:pt x="87" y="381"/>
                  <a:pt x="87" y="381"/>
                </a:cubicBezTo>
                <a:cubicBezTo>
                  <a:pt x="97" y="374"/>
                  <a:pt x="97" y="374"/>
                  <a:pt x="97" y="374"/>
                </a:cubicBezTo>
                <a:cubicBezTo>
                  <a:pt x="101" y="378"/>
                  <a:pt x="101" y="378"/>
                  <a:pt x="101" y="378"/>
                </a:cubicBezTo>
                <a:cubicBezTo>
                  <a:pt x="101" y="378"/>
                  <a:pt x="96" y="366"/>
                  <a:pt x="103" y="365"/>
                </a:cubicBezTo>
                <a:cubicBezTo>
                  <a:pt x="110" y="364"/>
                  <a:pt x="119" y="372"/>
                  <a:pt x="119" y="372"/>
                </a:cubicBezTo>
                <a:cubicBezTo>
                  <a:pt x="128" y="372"/>
                  <a:pt x="128" y="372"/>
                  <a:pt x="128" y="372"/>
                </a:cubicBezTo>
                <a:cubicBezTo>
                  <a:pt x="138" y="375"/>
                  <a:pt x="138" y="375"/>
                  <a:pt x="138" y="375"/>
                </a:cubicBezTo>
                <a:cubicBezTo>
                  <a:pt x="144" y="383"/>
                  <a:pt x="144" y="383"/>
                  <a:pt x="144" y="383"/>
                </a:cubicBezTo>
                <a:cubicBezTo>
                  <a:pt x="148" y="383"/>
                  <a:pt x="148" y="383"/>
                  <a:pt x="148" y="383"/>
                </a:cubicBezTo>
                <a:cubicBezTo>
                  <a:pt x="148" y="383"/>
                  <a:pt x="149" y="384"/>
                  <a:pt x="149" y="385"/>
                </a:cubicBezTo>
                <a:cubicBezTo>
                  <a:pt x="149" y="385"/>
                  <a:pt x="149" y="385"/>
                  <a:pt x="149" y="385"/>
                </a:cubicBezTo>
                <a:cubicBezTo>
                  <a:pt x="151" y="383"/>
                  <a:pt x="155" y="380"/>
                  <a:pt x="161" y="382"/>
                </a:cubicBezTo>
                <a:cubicBezTo>
                  <a:pt x="170" y="383"/>
                  <a:pt x="171" y="393"/>
                  <a:pt x="175" y="392"/>
                </a:cubicBezTo>
                <a:cubicBezTo>
                  <a:pt x="179" y="391"/>
                  <a:pt x="182" y="386"/>
                  <a:pt x="182" y="386"/>
                </a:cubicBezTo>
                <a:cubicBezTo>
                  <a:pt x="182" y="377"/>
                  <a:pt x="182" y="377"/>
                  <a:pt x="182" y="377"/>
                </a:cubicBezTo>
                <a:cubicBezTo>
                  <a:pt x="195" y="378"/>
                  <a:pt x="195" y="378"/>
                  <a:pt x="195" y="378"/>
                </a:cubicBezTo>
                <a:cubicBezTo>
                  <a:pt x="195" y="378"/>
                  <a:pt x="205" y="389"/>
                  <a:pt x="212" y="389"/>
                </a:cubicBezTo>
                <a:cubicBezTo>
                  <a:pt x="218" y="389"/>
                  <a:pt x="224" y="387"/>
                  <a:pt x="224" y="387"/>
                </a:cubicBezTo>
                <a:cubicBezTo>
                  <a:pt x="233" y="379"/>
                  <a:pt x="233" y="379"/>
                  <a:pt x="233" y="379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267" y="373"/>
                  <a:pt x="267" y="373"/>
                  <a:pt x="267" y="373"/>
                </a:cubicBezTo>
                <a:cubicBezTo>
                  <a:pt x="280" y="378"/>
                  <a:pt x="280" y="378"/>
                  <a:pt x="280" y="378"/>
                </a:cubicBezTo>
                <a:cubicBezTo>
                  <a:pt x="280" y="378"/>
                  <a:pt x="288" y="392"/>
                  <a:pt x="290" y="385"/>
                </a:cubicBezTo>
                <a:cubicBezTo>
                  <a:pt x="291" y="379"/>
                  <a:pt x="290" y="369"/>
                  <a:pt x="290" y="369"/>
                </a:cubicBezTo>
                <a:cubicBezTo>
                  <a:pt x="290" y="360"/>
                  <a:pt x="290" y="360"/>
                  <a:pt x="290" y="360"/>
                </a:cubicBezTo>
                <a:cubicBezTo>
                  <a:pt x="282" y="358"/>
                  <a:pt x="282" y="358"/>
                  <a:pt x="282" y="358"/>
                </a:cubicBezTo>
                <a:cubicBezTo>
                  <a:pt x="282" y="358"/>
                  <a:pt x="287" y="345"/>
                  <a:pt x="291" y="344"/>
                </a:cubicBezTo>
                <a:cubicBezTo>
                  <a:pt x="296" y="343"/>
                  <a:pt x="309" y="346"/>
                  <a:pt x="309" y="346"/>
                </a:cubicBezTo>
                <a:cubicBezTo>
                  <a:pt x="309" y="335"/>
                  <a:pt x="309" y="335"/>
                  <a:pt x="309" y="335"/>
                </a:cubicBezTo>
                <a:cubicBezTo>
                  <a:pt x="305" y="328"/>
                  <a:pt x="305" y="328"/>
                  <a:pt x="305" y="328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24" y="316"/>
                  <a:pt x="324" y="316"/>
                  <a:pt x="324" y="316"/>
                </a:cubicBezTo>
                <a:cubicBezTo>
                  <a:pt x="324" y="316"/>
                  <a:pt x="323" y="309"/>
                  <a:pt x="317" y="305"/>
                </a:cubicBezTo>
                <a:cubicBezTo>
                  <a:pt x="312" y="302"/>
                  <a:pt x="307" y="304"/>
                  <a:pt x="307" y="304"/>
                </a:cubicBezTo>
                <a:cubicBezTo>
                  <a:pt x="301" y="295"/>
                  <a:pt x="301" y="295"/>
                  <a:pt x="301" y="295"/>
                </a:cubicBezTo>
                <a:cubicBezTo>
                  <a:pt x="297" y="295"/>
                  <a:pt x="297" y="295"/>
                  <a:pt x="297" y="295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7"/>
                  <a:pt x="288" y="285"/>
                  <a:pt x="281" y="285"/>
                </a:cubicBezTo>
                <a:cubicBezTo>
                  <a:pt x="273" y="284"/>
                  <a:pt x="279" y="279"/>
                  <a:pt x="279" y="279"/>
                </a:cubicBezTo>
                <a:cubicBezTo>
                  <a:pt x="273" y="277"/>
                  <a:pt x="273" y="277"/>
                  <a:pt x="273" y="277"/>
                </a:cubicBezTo>
                <a:cubicBezTo>
                  <a:pt x="271" y="271"/>
                  <a:pt x="271" y="271"/>
                  <a:pt x="271" y="271"/>
                </a:cubicBezTo>
                <a:cubicBezTo>
                  <a:pt x="271" y="271"/>
                  <a:pt x="263" y="265"/>
                  <a:pt x="262" y="263"/>
                </a:cubicBezTo>
                <a:cubicBezTo>
                  <a:pt x="261" y="261"/>
                  <a:pt x="269" y="257"/>
                  <a:pt x="269" y="257"/>
                </a:cubicBezTo>
                <a:cubicBezTo>
                  <a:pt x="263" y="248"/>
                  <a:pt x="263" y="248"/>
                  <a:pt x="263" y="248"/>
                </a:cubicBezTo>
                <a:cubicBezTo>
                  <a:pt x="257" y="247"/>
                  <a:pt x="257" y="247"/>
                  <a:pt x="257" y="247"/>
                </a:cubicBezTo>
                <a:cubicBezTo>
                  <a:pt x="257" y="247"/>
                  <a:pt x="252" y="238"/>
                  <a:pt x="255" y="235"/>
                </a:cubicBezTo>
                <a:cubicBezTo>
                  <a:pt x="259" y="233"/>
                  <a:pt x="259" y="239"/>
                  <a:pt x="263" y="239"/>
                </a:cubicBezTo>
                <a:cubicBezTo>
                  <a:pt x="267" y="238"/>
                  <a:pt x="266" y="233"/>
                  <a:pt x="266" y="233"/>
                </a:cubicBezTo>
                <a:cubicBezTo>
                  <a:pt x="273" y="233"/>
                  <a:pt x="273" y="233"/>
                  <a:pt x="273" y="233"/>
                </a:cubicBezTo>
                <a:cubicBezTo>
                  <a:pt x="273" y="233"/>
                  <a:pt x="275" y="225"/>
                  <a:pt x="283" y="227"/>
                </a:cubicBezTo>
                <a:cubicBezTo>
                  <a:pt x="292" y="229"/>
                  <a:pt x="290" y="233"/>
                  <a:pt x="290" y="233"/>
                </a:cubicBezTo>
                <a:cubicBezTo>
                  <a:pt x="297" y="224"/>
                  <a:pt x="297" y="224"/>
                  <a:pt x="297" y="224"/>
                </a:cubicBezTo>
                <a:cubicBezTo>
                  <a:pt x="308" y="221"/>
                  <a:pt x="308" y="221"/>
                  <a:pt x="308" y="221"/>
                </a:cubicBezTo>
                <a:cubicBezTo>
                  <a:pt x="310" y="217"/>
                  <a:pt x="310" y="217"/>
                  <a:pt x="310" y="217"/>
                </a:cubicBezTo>
                <a:cubicBezTo>
                  <a:pt x="310" y="217"/>
                  <a:pt x="321" y="217"/>
                  <a:pt x="324" y="216"/>
                </a:cubicBezTo>
                <a:cubicBezTo>
                  <a:pt x="327" y="215"/>
                  <a:pt x="325" y="210"/>
                  <a:pt x="325" y="210"/>
                </a:cubicBezTo>
                <a:cubicBezTo>
                  <a:pt x="325" y="210"/>
                  <a:pt x="336" y="211"/>
                  <a:pt x="339" y="208"/>
                </a:cubicBezTo>
                <a:cubicBezTo>
                  <a:pt x="341" y="205"/>
                  <a:pt x="346" y="199"/>
                  <a:pt x="348" y="198"/>
                </a:cubicBezTo>
                <a:cubicBezTo>
                  <a:pt x="350" y="197"/>
                  <a:pt x="355" y="209"/>
                  <a:pt x="360" y="208"/>
                </a:cubicBezTo>
                <a:cubicBezTo>
                  <a:pt x="365" y="207"/>
                  <a:pt x="371" y="195"/>
                  <a:pt x="372" y="191"/>
                </a:cubicBezTo>
                <a:cubicBezTo>
                  <a:pt x="373" y="188"/>
                  <a:pt x="367" y="187"/>
                  <a:pt x="367" y="187"/>
                </a:cubicBezTo>
                <a:cubicBezTo>
                  <a:pt x="367" y="187"/>
                  <a:pt x="371" y="182"/>
                  <a:pt x="369" y="177"/>
                </a:cubicBezTo>
                <a:cubicBezTo>
                  <a:pt x="368" y="171"/>
                  <a:pt x="360" y="177"/>
                  <a:pt x="360" y="177"/>
                </a:cubicBezTo>
                <a:cubicBezTo>
                  <a:pt x="361" y="165"/>
                  <a:pt x="361" y="165"/>
                  <a:pt x="361" y="165"/>
                </a:cubicBezTo>
                <a:cubicBezTo>
                  <a:pt x="361" y="165"/>
                  <a:pt x="352" y="163"/>
                  <a:pt x="351" y="157"/>
                </a:cubicBezTo>
                <a:cubicBezTo>
                  <a:pt x="351" y="152"/>
                  <a:pt x="360" y="146"/>
                  <a:pt x="360" y="146"/>
                </a:cubicBezTo>
                <a:cubicBezTo>
                  <a:pt x="360" y="146"/>
                  <a:pt x="357" y="144"/>
                  <a:pt x="355" y="143"/>
                </a:cubicBezTo>
                <a:cubicBezTo>
                  <a:pt x="353" y="143"/>
                  <a:pt x="356" y="136"/>
                  <a:pt x="356" y="136"/>
                </a:cubicBezTo>
                <a:cubicBezTo>
                  <a:pt x="356" y="136"/>
                  <a:pt x="351" y="135"/>
                  <a:pt x="350" y="132"/>
                </a:cubicBezTo>
                <a:cubicBezTo>
                  <a:pt x="349" y="129"/>
                  <a:pt x="355" y="126"/>
                  <a:pt x="355" y="126"/>
                </a:cubicBezTo>
                <a:cubicBezTo>
                  <a:pt x="355" y="126"/>
                  <a:pt x="355" y="120"/>
                  <a:pt x="352" y="115"/>
                </a:cubicBezTo>
                <a:cubicBezTo>
                  <a:pt x="349" y="111"/>
                  <a:pt x="345" y="115"/>
                  <a:pt x="345" y="115"/>
                </a:cubicBezTo>
                <a:cubicBezTo>
                  <a:pt x="341" y="109"/>
                  <a:pt x="341" y="109"/>
                  <a:pt x="341" y="109"/>
                </a:cubicBezTo>
                <a:cubicBezTo>
                  <a:pt x="341" y="109"/>
                  <a:pt x="337" y="113"/>
                  <a:pt x="334" y="106"/>
                </a:cubicBezTo>
                <a:cubicBezTo>
                  <a:pt x="331" y="99"/>
                  <a:pt x="337" y="98"/>
                  <a:pt x="343" y="93"/>
                </a:cubicBezTo>
                <a:cubicBezTo>
                  <a:pt x="349" y="89"/>
                  <a:pt x="347" y="87"/>
                  <a:pt x="345" y="79"/>
                </a:cubicBezTo>
                <a:cubicBezTo>
                  <a:pt x="342" y="70"/>
                  <a:pt x="337" y="78"/>
                  <a:pt x="339" y="72"/>
                </a:cubicBezTo>
                <a:cubicBezTo>
                  <a:pt x="340" y="69"/>
                  <a:pt x="339" y="65"/>
                  <a:pt x="338" y="62"/>
                </a:cubicBezTo>
                <a:cubicBezTo>
                  <a:pt x="334" y="60"/>
                  <a:pt x="334" y="60"/>
                  <a:pt x="334" y="60"/>
                </a:cubicBezTo>
                <a:cubicBezTo>
                  <a:pt x="321" y="55"/>
                  <a:pt x="321" y="55"/>
                  <a:pt x="321" y="55"/>
                </a:cubicBezTo>
                <a:cubicBezTo>
                  <a:pt x="321" y="55"/>
                  <a:pt x="323" y="50"/>
                  <a:pt x="318" y="44"/>
                </a:cubicBezTo>
                <a:cubicBezTo>
                  <a:pt x="313" y="38"/>
                  <a:pt x="301" y="41"/>
                  <a:pt x="301" y="41"/>
                </a:cubicBezTo>
                <a:cubicBezTo>
                  <a:pt x="296" y="35"/>
                  <a:pt x="296" y="35"/>
                  <a:pt x="296" y="35"/>
                </a:cubicBezTo>
                <a:cubicBezTo>
                  <a:pt x="296" y="35"/>
                  <a:pt x="270" y="23"/>
                  <a:pt x="265" y="26"/>
                </a:cubicBezTo>
                <a:cubicBezTo>
                  <a:pt x="260" y="29"/>
                  <a:pt x="253" y="36"/>
                  <a:pt x="253" y="36"/>
                </a:cubicBezTo>
                <a:cubicBezTo>
                  <a:pt x="226" y="35"/>
                  <a:pt x="226" y="35"/>
                  <a:pt x="226" y="35"/>
                </a:cubicBezTo>
                <a:cubicBezTo>
                  <a:pt x="226" y="47"/>
                  <a:pt x="226" y="47"/>
                  <a:pt x="226" y="47"/>
                </a:cubicBezTo>
                <a:cubicBezTo>
                  <a:pt x="200" y="46"/>
                  <a:pt x="200" y="46"/>
                  <a:pt x="200" y="46"/>
                </a:cubicBezTo>
                <a:cubicBezTo>
                  <a:pt x="200" y="46"/>
                  <a:pt x="198" y="38"/>
                  <a:pt x="202" y="35"/>
                </a:cubicBezTo>
                <a:cubicBezTo>
                  <a:pt x="206" y="32"/>
                  <a:pt x="209" y="20"/>
                  <a:pt x="209" y="20"/>
                </a:cubicBezTo>
                <a:cubicBezTo>
                  <a:pt x="196" y="27"/>
                  <a:pt x="196" y="27"/>
                  <a:pt x="196" y="27"/>
                </a:cubicBezTo>
                <a:cubicBezTo>
                  <a:pt x="168" y="22"/>
                  <a:pt x="168" y="22"/>
                  <a:pt x="168" y="22"/>
                </a:cubicBezTo>
                <a:cubicBezTo>
                  <a:pt x="168" y="22"/>
                  <a:pt x="160" y="14"/>
                  <a:pt x="156" y="4"/>
                </a:cubicBezTo>
                <a:cubicBezTo>
                  <a:pt x="154" y="5"/>
                  <a:pt x="153" y="6"/>
                  <a:pt x="153" y="6"/>
                </a:cubicBezTo>
                <a:cubicBezTo>
                  <a:pt x="153" y="6"/>
                  <a:pt x="152" y="2"/>
                  <a:pt x="145" y="3"/>
                </a:cubicBezTo>
                <a:cubicBezTo>
                  <a:pt x="137" y="3"/>
                  <a:pt x="135" y="5"/>
                  <a:pt x="135" y="5"/>
                </a:cubicBezTo>
                <a:cubicBezTo>
                  <a:pt x="135" y="5"/>
                  <a:pt x="127" y="0"/>
                  <a:pt x="123" y="0"/>
                </a:cubicBezTo>
                <a:cubicBezTo>
                  <a:pt x="119" y="0"/>
                  <a:pt x="112" y="0"/>
                  <a:pt x="112" y="0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42" y="58"/>
                  <a:pt x="142" y="58"/>
                  <a:pt x="142" y="58"/>
                </a:cubicBezTo>
                <a:cubicBezTo>
                  <a:pt x="123" y="51"/>
                  <a:pt x="123" y="51"/>
                  <a:pt x="123" y="51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105" y="55"/>
                  <a:pt x="110" y="70"/>
                  <a:pt x="104" y="72"/>
                </a:cubicBezTo>
                <a:cubicBezTo>
                  <a:pt x="98" y="74"/>
                  <a:pt x="88" y="72"/>
                  <a:pt x="88" y="72"/>
                </a:cubicBezTo>
                <a:cubicBezTo>
                  <a:pt x="82" y="62"/>
                  <a:pt x="82" y="62"/>
                  <a:pt x="82" y="62"/>
                </a:cubicBezTo>
                <a:cubicBezTo>
                  <a:pt x="82" y="62"/>
                  <a:pt x="55" y="59"/>
                  <a:pt x="54" y="64"/>
                </a:cubicBezTo>
                <a:cubicBezTo>
                  <a:pt x="53" y="69"/>
                  <a:pt x="53" y="82"/>
                  <a:pt x="53" y="82"/>
                </a:cubicBezTo>
                <a:cubicBezTo>
                  <a:pt x="57" y="85"/>
                  <a:pt x="57" y="85"/>
                  <a:pt x="57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5"/>
                  <a:pt x="59" y="95"/>
                  <a:pt x="59" y="95"/>
                </a:cubicBezTo>
                <a:cubicBezTo>
                  <a:pt x="59" y="95"/>
                  <a:pt x="48" y="99"/>
                  <a:pt x="47" y="103"/>
                </a:cubicBezTo>
                <a:cubicBezTo>
                  <a:pt x="45" y="107"/>
                  <a:pt x="49" y="115"/>
                  <a:pt x="49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29" y="119"/>
                  <a:pt x="30" y="122"/>
                </a:cubicBezTo>
                <a:cubicBezTo>
                  <a:pt x="31" y="125"/>
                  <a:pt x="45" y="130"/>
                  <a:pt x="45" y="134"/>
                </a:cubicBezTo>
                <a:cubicBezTo>
                  <a:pt x="45" y="138"/>
                  <a:pt x="37" y="142"/>
                  <a:pt x="37" y="142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29" y="152"/>
                  <a:pt x="29" y="152"/>
                  <a:pt x="29" y="152"/>
                </a:cubicBezTo>
                <a:cubicBezTo>
                  <a:pt x="29" y="152"/>
                  <a:pt x="27" y="157"/>
                  <a:pt x="25" y="160"/>
                </a:cubicBezTo>
                <a:cubicBezTo>
                  <a:pt x="23" y="163"/>
                  <a:pt x="1" y="155"/>
                  <a:pt x="1" y="155"/>
                </a:cubicBezTo>
                <a:cubicBezTo>
                  <a:pt x="7" y="170"/>
                  <a:pt x="7" y="170"/>
                  <a:pt x="7" y="170"/>
                </a:cubicBezTo>
                <a:cubicBezTo>
                  <a:pt x="7" y="170"/>
                  <a:pt x="12" y="178"/>
                  <a:pt x="11" y="181"/>
                </a:cubicBezTo>
                <a:cubicBezTo>
                  <a:pt x="11" y="185"/>
                  <a:pt x="0" y="191"/>
                  <a:pt x="0" y="191"/>
                </a:cubicBezTo>
                <a:cubicBezTo>
                  <a:pt x="0" y="191"/>
                  <a:pt x="5" y="197"/>
                  <a:pt x="4" y="199"/>
                </a:cubicBezTo>
                <a:cubicBezTo>
                  <a:pt x="3" y="201"/>
                  <a:pt x="0" y="215"/>
                  <a:pt x="0" y="215"/>
                </a:cubicBezTo>
                <a:cubicBezTo>
                  <a:pt x="5" y="216"/>
                  <a:pt x="5" y="216"/>
                  <a:pt x="5" y="216"/>
                </a:cubicBezTo>
                <a:cubicBezTo>
                  <a:pt x="5" y="216"/>
                  <a:pt x="14" y="219"/>
                  <a:pt x="15" y="225"/>
                </a:cubicBezTo>
                <a:cubicBezTo>
                  <a:pt x="15" y="231"/>
                  <a:pt x="18" y="238"/>
                  <a:pt x="18" y="238"/>
                </a:cubicBezTo>
                <a:cubicBezTo>
                  <a:pt x="9" y="239"/>
                  <a:pt x="9" y="239"/>
                  <a:pt x="9" y="239"/>
                </a:cubicBezTo>
                <a:cubicBezTo>
                  <a:pt x="9" y="239"/>
                  <a:pt x="4" y="247"/>
                  <a:pt x="7" y="253"/>
                </a:cubicBezTo>
                <a:cubicBezTo>
                  <a:pt x="11" y="259"/>
                  <a:pt x="21" y="261"/>
                  <a:pt x="22" y="265"/>
                </a:cubicBezTo>
                <a:cubicBezTo>
                  <a:pt x="23" y="270"/>
                  <a:pt x="17" y="274"/>
                  <a:pt x="17" y="274"/>
                </a:cubicBezTo>
                <a:close/>
              </a:path>
            </a:pathLst>
          </a:custGeom>
          <a:solidFill>
            <a:schemeClr val="accent1"/>
          </a:solidFill>
          <a:ln w="0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303" name="Group 82">
            <a:extLst>
              <a:ext uri="{FF2B5EF4-FFF2-40B4-BE49-F238E27FC236}">
                <a16:creationId xmlns:a16="http://schemas.microsoft.com/office/drawing/2014/main" id="{54D604AD-1AD4-A5AB-5A30-41C9856E1A8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281927" y="674281"/>
            <a:ext cx="9631970" cy="5249813"/>
            <a:chOff x="5439729" y="1126149"/>
            <a:chExt cx="4911391" cy="2758480"/>
          </a:xfrm>
          <a:solidFill>
            <a:schemeClr val="accent1"/>
          </a:solidFill>
          <a:effectLst/>
        </p:grpSpPr>
        <p:sp>
          <p:nvSpPr>
            <p:cNvPr id="33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F4809345-EF4C-9C10-0017-48CBD4917BD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50253" y="3224722"/>
              <a:ext cx="329909" cy="22529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0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696B467B-0470-CB91-7466-3C9CFBEA30A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38661"/>
              <a:ext cx="19510" cy="42575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F8CFF8A-CF98-96E6-88D1-A19BD0DED34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39367" y="2268566"/>
              <a:ext cx="532111" cy="299797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26DDF79-E71A-6ED4-A70A-23BC7829F56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07323" y="3066839"/>
              <a:ext cx="273150" cy="535730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3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7A0E8C8-CB31-F0C8-66EE-F01567AE2E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31962" y="1741706"/>
              <a:ext cx="258961" cy="370754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6D1E61AE-4F66-89EB-D01F-B7826ABD1F3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16310" y="2953309"/>
              <a:ext cx="150764" cy="143690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DBB3F27-CF12-A254-E817-6D0DC50590D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60282" y="2027310"/>
              <a:ext cx="501958" cy="282057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17FA8DE-09ED-82F2-303C-C5FDB077F2C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57777" y="2366134"/>
              <a:ext cx="454069" cy="271413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7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0166D518-4CA3-B064-3A38-9F05672B465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63157" y="2387421"/>
              <a:ext cx="597738" cy="227063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B0CF092-BED1-A267-4D18-5A052F390F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776069" y="3175051"/>
              <a:ext cx="278472" cy="533956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9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53AFA43-79F0-955C-7A00-CA1198E0164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17167" y="2429996"/>
              <a:ext cx="248319" cy="15788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0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573345B0-0390-B46A-F359-838D4268E8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55399" y="2997656"/>
              <a:ext cx="53210" cy="120628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9DEA9792-F4A2-E7A6-326B-B7C91B991A5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559493"/>
              <a:ext cx="202203" cy="186264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2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263814C-95DA-49A5-BD9C-E235BC8695B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04440" y="2185192"/>
              <a:ext cx="129479" cy="709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3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E98E62A3-4F95-1358-0E2E-F3224046A51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51657" y="1477388"/>
              <a:ext cx="312172" cy="445261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4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3F2B9597-168B-4756-60B8-AD8B61D960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242183" y="3567092"/>
              <a:ext cx="76269" cy="136594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5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BA7A96A4-3A54-3D20-9D54-66DAEEECABD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5692" y="2330655"/>
              <a:ext cx="393764" cy="276735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6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F683174-4B67-3E49-7AB0-BBDC38A728F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11963" y="2215347"/>
              <a:ext cx="94006" cy="54992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7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8AD9990-4B48-516B-38B8-A22E8E787ED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07743" y="2124877"/>
              <a:ext cx="161406" cy="65636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8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AB30FB8C-E998-6CCA-0B75-43AF358086F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49305"/>
              <a:ext cx="666913" cy="57298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9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EBC0CDE-F7E7-44A7-EC4C-CB4BC02F210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932526" y="1791377"/>
              <a:ext cx="136575" cy="53927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4E16D6E4-316A-B47D-645D-074614A588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82239" y="1126149"/>
              <a:ext cx="4068881" cy="129497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DFCD5B2-80B5-CC2C-177B-BB73BAD2806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2171001"/>
              <a:ext cx="276698" cy="164977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FA2B0939-002B-8771-338C-2535244AB8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93251" y="2963952"/>
              <a:ext cx="30153" cy="63862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A4A91E76-45FC-4E8C-AC5B-8D63EB6222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39729" y="2390969"/>
              <a:ext cx="102875" cy="18449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4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18A9879-A927-E7B9-DAE5-06B12228DA0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31475" y="1942161"/>
              <a:ext cx="280246" cy="202229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5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BBA1DB27-F03E-6A61-C938-A09BBDFF66C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39435" y="3235365"/>
              <a:ext cx="321039" cy="541052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6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EBE6745-68C7-EEFC-11B5-E3D29D708D5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85913" y="2573685"/>
              <a:ext cx="471805" cy="47364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7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BD869DA-C974-0598-E56A-A7757FF92E2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21270" y="3288583"/>
              <a:ext cx="42570" cy="283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8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AC5956D6-7EED-C8E9-A4D3-6F1A7BF95EE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42915" y="3006526"/>
              <a:ext cx="242997" cy="30334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23996096-5899-74F9-71D2-EF950E95A5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3797" y="1159853"/>
              <a:ext cx="611928" cy="67232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DE14894F-0E11-1E7A-3023-49B7A5A97F9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22850" y="1990058"/>
              <a:ext cx="122385" cy="94019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1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DF563397-0952-DFDF-6441-DBF8789A220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80104" y="2809619"/>
              <a:ext cx="264281" cy="14901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BA7108E1-7E50-DE23-1347-FFD0DAF078C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595151" y="2880576"/>
              <a:ext cx="285567" cy="674098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9973CCF7-5BE3-367B-17C1-8DA83271C4D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0953" y="2335976"/>
              <a:ext cx="51437" cy="6031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221BADF4-7049-FD95-A3DE-4DD644E7557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96068" y="2032632"/>
              <a:ext cx="943611" cy="374302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5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6256A46C-F387-5541-DD5C-116818F13EB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87988" y="2163905"/>
              <a:ext cx="97553" cy="106437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4D0957DF-EBBD-5FFE-1048-950A7188F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42117" y="2602067"/>
              <a:ext cx="14191" cy="12418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7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CF63289-94A5-A74F-6CAA-CF4C666A956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93133" y="3669981"/>
              <a:ext cx="138349" cy="196908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8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8A180BA2-2D41-950C-ACAC-FDF85C8B667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15948" y="3646920"/>
              <a:ext cx="308625" cy="237709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9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0FFC67B-9124-BF8C-DA16-7A27CF8B930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2378551"/>
              <a:ext cx="74496" cy="56766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BF37BFFA-1F16-3DF8-9891-56D11EDD8EF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7344" y="2105365"/>
              <a:ext cx="23058" cy="19514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C0874A4-DE58-D977-8081-F9172C8679D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12392" y="1885395"/>
              <a:ext cx="152538" cy="8869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2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F68DB1F2-FE99-6F2A-0897-3E0B89A4F59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98446" y="2202930"/>
              <a:ext cx="7095" cy="1064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3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B1A14203-A4CC-1176-49A0-D0D30C1AE2C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73556" y="2658834"/>
              <a:ext cx="47890" cy="709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F14AA87A-CE60-9D9B-666C-36B2168C55E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1830402"/>
              <a:ext cx="191560" cy="81601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5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B2A6A68E-043A-85E0-23CC-5E23C1DE04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48792" y="3098771"/>
              <a:ext cx="269603" cy="31221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6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6EB9F63-F026-6AE8-DA72-8637AD390C5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68604" y="2351942"/>
              <a:ext cx="301530" cy="1401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7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8FEAE9A-A341-5AAE-0E7F-AA74135DB93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146034" y="2825584"/>
              <a:ext cx="62079" cy="54992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0A315A50-BECB-B3D9-8125-D381EB00D8D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94421" y="2518693"/>
              <a:ext cx="122385" cy="19158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F6F53D3-E3EB-810D-2F7D-21F512A3172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391546" y="2360812"/>
              <a:ext cx="147218" cy="188038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CF96283-77BA-F086-C1BA-08C021517A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1922648"/>
              <a:ext cx="1131624" cy="52331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BB1E9708-BE0F-FA7B-48AC-A4EF0264E85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708504"/>
              <a:ext cx="125933" cy="150786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BC2E9A75-A422-6F16-F3B6-46757A15C5F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563593" y="2268566"/>
              <a:ext cx="393764" cy="76811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5E42FBA-8A94-1BA8-9739-33FD2EC3722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18630" y="2210026"/>
              <a:ext cx="349420" cy="374302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1DFBBF31-8B2E-134F-0401-1728F81F411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61140" y="2703183"/>
              <a:ext cx="46117" cy="143690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423C9D4-4487-92F3-9E30-BA88329E4B7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9239" y="1926196"/>
              <a:ext cx="125933" cy="133046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B1C09174-FBB4-6845-C9F8-9BA32A5E24C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92393" y="2563041"/>
              <a:ext cx="308625" cy="296249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B8DBB4D9-DAAB-F99F-259C-0216EBE6508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23647" y="2472570"/>
              <a:ext cx="647402" cy="53040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A3D6E8C9-938B-9206-E028-E21E96C3F18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843099" y="2609163"/>
              <a:ext cx="877984" cy="1060817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9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7CB5B9D9-113E-180C-7E3E-E666A51C96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93552" y="2160356"/>
              <a:ext cx="191560" cy="99341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08A77779-058A-1E3E-F5C6-C04BF173312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3035" y="2401612"/>
              <a:ext cx="239450" cy="248353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1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139D3F-651C-0862-D6A0-E9CF9723AE1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87072" y="2335976"/>
              <a:ext cx="207523" cy="94019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C3604A1F-132D-727E-2082-262463DFB99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95815" y="2066337"/>
              <a:ext cx="409726" cy="353014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66985C6-A19A-B2F1-4CD4-83D19B87AE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8048" y="1447232"/>
              <a:ext cx="283793" cy="32285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DC5B9FD-C42C-36D5-72E9-2E4D7142E46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1780733"/>
              <a:ext cx="156086" cy="69184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B15D1DAD-21B4-D62E-A521-0D58C08BB8D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66519" y="1846368"/>
              <a:ext cx="124159" cy="106437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6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56B1ADA3-6293-F93C-89EA-561AE020E3F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76489" y="2073433"/>
              <a:ext cx="189786" cy="86923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7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8014F92B-ECB6-E16C-6DBE-7CC332EF97A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686643" y="2623355"/>
              <a:ext cx="67401" cy="39028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8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8EB009CD-C56B-7732-81C5-9C0DA09FB64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22606" y="2233088"/>
              <a:ext cx="164954" cy="12417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101C0A18-A6D6-8C5E-C780-03747C0C035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903406" y="1982963"/>
              <a:ext cx="1645999" cy="127014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0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E0E61FFF-3DE6-82F1-B8A7-172E2365240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53439" y="3387924"/>
              <a:ext cx="170276" cy="150786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1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28665CDA-E1F8-BFAC-7661-7D862A1E067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8019" y="2316463"/>
              <a:ext cx="177370" cy="101116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2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56E4D9BA-6A96-652B-F305-B9E3D4CBC2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77590" y="2275662"/>
              <a:ext cx="118839" cy="106437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2E8B86F9-200F-A2DA-D44D-7B10F73AFA1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60349" y="2887674"/>
              <a:ext cx="104648" cy="60314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4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65859777-05F1-E9E2-23F3-8314DE76E6E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17528" y="2059241"/>
              <a:ext cx="101100" cy="69184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5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FEC3BCE6-9FF0-191C-C02C-3E25CE494AD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46159" y="2953309"/>
              <a:ext cx="168501" cy="19158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6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AC113F2D-DB9F-7F61-DF2F-93816CDDB12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9793" y="1896039"/>
              <a:ext cx="255413" cy="166751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2584FAD5-5313-9C76-E130-7DD84FFCE4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79061" y="2955083"/>
              <a:ext cx="12416" cy="2483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8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407EC3D1-13D1-3583-90E2-D0C61DA4513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2396290"/>
              <a:ext cx="163181" cy="13127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9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68657D0-22DE-89B1-0BDD-4096038A736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05540" y="2144390"/>
              <a:ext cx="205750" cy="90471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0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18231FD-F549-8DB7-E6A8-242583240A5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00590" y="2415803"/>
              <a:ext cx="99328" cy="95792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1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4DF73CC6-0E91-7C19-EA40-4DE81115CA4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767864" y="2371456"/>
              <a:ext cx="14191" cy="709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1FC4D94-9812-6A99-3A6E-C44DFDC810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78691" y="2371456"/>
              <a:ext cx="65626" cy="10998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3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B801-FE4A-E933-00E5-C037B74B26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45117" y="2518693"/>
              <a:ext cx="407952" cy="33172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424" name="Group 340">
              <a:extLst>
                <a:ext uri="{FF2B5EF4-FFF2-40B4-BE49-F238E27FC236}">
                  <a16:creationId xmlns:a16="http://schemas.microsoft.com/office/drawing/2014/main" id="{878AC554-3F22-4EC2-EA33-AAAB52F9D4C4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 bwMode="auto">
            <a:xfrm>
              <a:off x="6268048" y="2245510"/>
              <a:ext cx="124159" cy="152559"/>
              <a:chOff x="2184" y="1242"/>
              <a:chExt cx="257" cy="316"/>
            </a:xfrm>
            <a:grpFill/>
          </p:grpSpPr>
          <p:sp>
            <p:nvSpPr>
              <p:cNvPr id="507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7F7A426-11CC-B6EC-4B83-238D799F051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08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060259D-0126-29B1-2DCD-CCC8FDBDE0B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425" name="Gruppieren 70">
              <a:extLst>
                <a:ext uri="{FF2B5EF4-FFF2-40B4-BE49-F238E27FC236}">
                  <a16:creationId xmlns:a16="http://schemas.microsoft.com/office/drawing/2014/main" id="{4624D81F-6382-694B-0B46-020C4B44F536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913034" y="1944270"/>
              <a:ext cx="214524" cy="202747"/>
              <a:chOff x="4318001" y="1228725"/>
              <a:chExt cx="3230562" cy="3989388"/>
            </a:xfrm>
            <a:grpFill/>
            <a:effectLst/>
          </p:grpSpPr>
          <p:sp>
            <p:nvSpPr>
              <p:cNvPr id="491" name="Freeform 45">
                <a:extLst>
                  <a:ext uri="{FF2B5EF4-FFF2-40B4-BE49-F238E27FC236}">
                    <a16:creationId xmlns:a16="http://schemas.microsoft.com/office/drawing/2014/main" id="{19990ACB-E72D-D429-B3C1-BB77F4E2304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4318001" y="4873625"/>
                <a:ext cx="457200" cy="344488"/>
              </a:xfrm>
              <a:custGeom>
                <a:avLst/>
                <a:gdLst>
                  <a:gd name="T0" fmla="*/ 260 w 288"/>
                  <a:gd name="T1" fmla="*/ 164 h 217"/>
                  <a:gd name="T2" fmla="*/ 279 w 288"/>
                  <a:gd name="T3" fmla="*/ 148 h 217"/>
                  <a:gd name="T4" fmla="*/ 282 w 288"/>
                  <a:gd name="T5" fmla="*/ 137 h 217"/>
                  <a:gd name="T6" fmla="*/ 288 w 288"/>
                  <a:gd name="T7" fmla="*/ 127 h 217"/>
                  <a:gd name="T8" fmla="*/ 288 w 288"/>
                  <a:gd name="T9" fmla="*/ 116 h 217"/>
                  <a:gd name="T10" fmla="*/ 264 w 288"/>
                  <a:gd name="T11" fmla="*/ 108 h 217"/>
                  <a:gd name="T12" fmla="*/ 260 w 288"/>
                  <a:gd name="T13" fmla="*/ 95 h 217"/>
                  <a:gd name="T14" fmla="*/ 245 w 288"/>
                  <a:gd name="T15" fmla="*/ 82 h 217"/>
                  <a:gd name="T16" fmla="*/ 260 w 288"/>
                  <a:gd name="T17" fmla="*/ 67 h 217"/>
                  <a:gd name="T18" fmla="*/ 258 w 288"/>
                  <a:gd name="T19" fmla="*/ 50 h 217"/>
                  <a:gd name="T20" fmla="*/ 252 w 288"/>
                  <a:gd name="T21" fmla="*/ 24 h 217"/>
                  <a:gd name="T22" fmla="*/ 237 w 288"/>
                  <a:gd name="T23" fmla="*/ 27 h 217"/>
                  <a:gd name="T24" fmla="*/ 229 w 288"/>
                  <a:gd name="T25" fmla="*/ 19 h 217"/>
                  <a:gd name="T26" fmla="*/ 207 w 288"/>
                  <a:gd name="T27" fmla="*/ 14 h 217"/>
                  <a:gd name="T28" fmla="*/ 195 w 288"/>
                  <a:gd name="T29" fmla="*/ 0 h 217"/>
                  <a:gd name="T30" fmla="*/ 165 w 288"/>
                  <a:gd name="T31" fmla="*/ 0 h 217"/>
                  <a:gd name="T32" fmla="*/ 136 w 288"/>
                  <a:gd name="T33" fmla="*/ 16 h 217"/>
                  <a:gd name="T34" fmla="*/ 101 w 288"/>
                  <a:gd name="T35" fmla="*/ 34 h 217"/>
                  <a:gd name="T36" fmla="*/ 69 w 288"/>
                  <a:gd name="T37" fmla="*/ 50 h 217"/>
                  <a:gd name="T38" fmla="*/ 43 w 288"/>
                  <a:gd name="T39" fmla="*/ 39 h 217"/>
                  <a:gd name="T40" fmla="*/ 1 w 288"/>
                  <a:gd name="T41" fmla="*/ 39 h 217"/>
                  <a:gd name="T42" fmla="*/ 0 w 288"/>
                  <a:gd name="T43" fmla="*/ 67 h 217"/>
                  <a:gd name="T44" fmla="*/ 22 w 288"/>
                  <a:gd name="T45" fmla="*/ 67 h 217"/>
                  <a:gd name="T46" fmla="*/ 56 w 288"/>
                  <a:gd name="T47" fmla="*/ 98 h 217"/>
                  <a:gd name="T48" fmla="*/ 67 w 288"/>
                  <a:gd name="T49" fmla="*/ 128 h 217"/>
                  <a:gd name="T50" fmla="*/ 81 w 288"/>
                  <a:gd name="T51" fmla="*/ 148 h 217"/>
                  <a:gd name="T52" fmla="*/ 96 w 288"/>
                  <a:gd name="T53" fmla="*/ 193 h 217"/>
                  <a:gd name="T54" fmla="*/ 110 w 288"/>
                  <a:gd name="T55" fmla="*/ 193 h 217"/>
                  <a:gd name="T56" fmla="*/ 131 w 288"/>
                  <a:gd name="T57" fmla="*/ 201 h 217"/>
                  <a:gd name="T58" fmla="*/ 131 w 288"/>
                  <a:gd name="T59" fmla="*/ 175 h 217"/>
                  <a:gd name="T60" fmla="*/ 162 w 288"/>
                  <a:gd name="T61" fmla="*/ 175 h 217"/>
                  <a:gd name="T62" fmla="*/ 181 w 288"/>
                  <a:gd name="T63" fmla="*/ 185 h 217"/>
                  <a:gd name="T64" fmla="*/ 187 w 288"/>
                  <a:gd name="T65" fmla="*/ 212 h 217"/>
                  <a:gd name="T66" fmla="*/ 205 w 288"/>
                  <a:gd name="T67" fmla="*/ 201 h 217"/>
                  <a:gd name="T68" fmla="*/ 218 w 288"/>
                  <a:gd name="T69" fmla="*/ 217 h 217"/>
                  <a:gd name="T70" fmla="*/ 253 w 288"/>
                  <a:gd name="T71" fmla="*/ 217 h 217"/>
                  <a:gd name="T72" fmla="*/ 272 w 288"/>
                  <a:gd name="T73" fmla="*/ 194 h 217"/>
                  <a:gd name="T74" fmla="*/ 260 w 288"/>
                  <a:gd name="T75" fmla="*/ 181 h 217"/>
                  <a:gd name="T76" fmla="*/ 260 w 288"/>
                  <a:gd name="T77" fmla="*/ 16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217">
                    <a:moveTo>
                      <a:pt x="260" y="164"/>
                    </a:moveTo>
                    <a:lnTo>
                      <a:pt x="279" y="148"/>
                    </a:lnTo>
                    <a:lnTo>
                      <a:pt x="282" y="137"/>
                    </a:lnTo>
                    <a:lnTo>
                      <a:pt x="288" y="127"/>
                    </a:lnTo>
                    <a:lnTo>
                      <a:pt x="288" y="116"/>
                    </a:lnTo>
                    <a:lnTo>
                      <a:pt x="264" y="108"/>
                    </a:lnTo>
                    <a:lnTo>
                      <a:pt x="260" y="95"/>
                    </a:lnTo>
                    <a:lnTo>
                      <a:pt x="245" y="82"/>
                    </a:lnTo>
                    <a:lnTo>
                      <a:pt x="260" y="67"/>
                    </a:lnTo>
                    <a:lnTo>
                      <a:pt x="258" y="50"/>
                    </a:lnTo>
                    <a:lnTo>
                      <a:pt x="252" y="24"/>
                    </a:lnTo>
                    <a:lnTo>
                      <a:pt x="237" y="27"/>
                    </a:lnTo>
                    <a:lnTo>
                      <a:pt x="229" y="19"/>
                    </a:lnTo>
                    <a:lnTo>
                      <a:pt x="207" y="14"/>
                    </a:lnTo>
                    <a:lnTo>
                      <a:pt x="195" y="0"/>
                    </a:lnTo>
                    <a:lnTo>
                      <a:pt x="165" y="0"/>
                    </a:lnTo>
                    <a:lnTo>
                      <a:pt x="136" y="16"/>
                    </a:lnTo>
                    <a:lnTo>
                      <a:pt x="101" y="34"/>
                    </a:lnTo>
                    <a:lnTo>
                      <a:pt x="69" y="50"/>
                    </a:lnTo>
                    <a:lnTo>
                      <a:pt x="43" y="39"/>
                    </a:lnTo>
                    <a:lnTo>
                      <a:pt x="1" y="39"/>
                    </a:lnTo>
                    <a:lnTo>
                      <a:pt x="0" y="67"/>
                    </a:lnTo>
                    <a:lnTo>
                      <a:pt x="22" y="67"/>
                    </a:lnTo>
                    <a:lnTo>
                      <a:pt x="56" y="98"/>
                    </a:lnTo>
                    <a:lnTo>
                      <a:pt x="67" y="128"/>
                    </a:lnTo>
                    <a:lnTo>
                      <a:pt x="81" y="148"/>
                    </a:lnTo>
                    <a:lnTo>
                      <a:pt x="96" y="193"/>
                    </a:lnTo>
                    <a:lnTo>
                      <a:pt x="110" y="193"/>
                    </a:lnTo>
                    <a:lnTo>
                      <a:pt x="131" y="201"/>
                    </a:lnTo>
                    <a:lnTo>
                      <a:pt x="131" y="175"/>
                    </a:lnTo>
                    <a:lnTo>
                      <a:pt x="162" y="175"/>
                    </a:lnTo>
                    <a:lnTo>
                      <a:pt x="181" y="185"/>
                    </a:lnTo>
                    <a:lnTo>
                      <a:pt x="187" y="212"/>
                    </a:lnTo>
                    <a:lnTo>
                      <a:pt x="205" y="201"/>
                    </a:lnTo>
                    <a:lnTo>
                      <a:pt x="218" y="217"/>
                    </a:lnTo>
                    <a:lnTo>
                      <a:pt x="253" y="217"/>
                    </a:lnTo>
                    <a:lnTo>
                      <a:pt x="272" y="194"/>
                    </a:lnTo>
                    <a:lnTo>
                      <a:pt x="260" y="181"/>
                    </a:lnTo>
                    <a:lnTo>
                      <a:pt x="260" y="1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grpSp>
            <p:nvGrpSpPr>
              <p:cNvPr id="492" name="Group 210">
                <a:extLst>
                  <a:ext uri="{FF2B5EF4-FFF2-40B4-BE49-F238E27FC236}">
                    <a16:creationId xmlns:a16="http://schemas.microsoft.com/office/drawing/2014/main" id="{B7311270-4544-D208-5AA2-63DFBCC923C4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149851" y="1228725"/>
                <a:ext cx="1317625" cy="265113"/>
                <a:chOff x="5149851" y="1228725"/>
                <a:chExt cx="1317625" cy="265113"/>
              </a:xfrm>
              <a:grpFill/>
            </p:grpSpPr>
            <p:sp>
              <p:nvSpPr>
                <p:cNvPr id="502" name="Freeform 53">
                  <a:extLst>
                    <a:ext uri="{FF2B5EF4-FFF2-40B4-BE49-F238E27FC236}">
                      <a16:creationId xmlns:a16="http://schemas.microsoft.com/office/drawing/2014/main" id="{27E53DB8-D5D9-C5CD-CB3C-5D815623913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86376" y="1379538"/>
                  <a:ext cx="44450" cy="50800"/>
                </a:xfrm>
                <a:custGeom>
                  <a:avLst/>
                  <a:gdLst>
                    <a:gd name="T0" fmla="*/ 1 w 28"/>
                    <a:gd name="T1" fmla="*/ 26 h 32"/>
                    <a:gd name="T2" fmla="*/ 8 w 28"/>
                    <a:gd name="T3" fmla="*/ 32 h 32"/>
                    <a:gd name="T4" fmla="*/ 28 w 28"/>
                    <a:gd name="T5" fmla="*/ 24 h 32"/>
                    <a:gd name="T6" fmla="*/ 28 w 28"/>
                    <a:gd name="T7" fmla="*/ 0 h 32"/>
                    <a:gd name="T8" fmla="*/ 8 w 28"/>
                    <a:gd name="T9" fmla="*/ 5 h 32"/>
                    <a:gd name="T10" fmla="*/ 0 w 28"/>
                    <a:gd name="T11" fmla="*/ 13 h 32"/>
                    <a:gd name="T12" fmla="*/ 1 w 28"/>
                    <a:gd name="T13" fmla="*/ 2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2">
                      <a:moveTo>
                        <a:pt x="1" y="26"/>
                      </a:moveTo>
                      <a:lnTo>
                        <a:pt x="8" y="32"/>
                      </a:lnTo>
                      <a:lnTo>
                        <a:pt x="28" y="24"/>
                      </a:lnTo>
                      <a:lnTo>
                        <a:pt x="28" y="0"/>
                      </a:lnTo>
                      <a:lnTo>
                        <a:pt x="8" y="5"/>
                      </a:lnTo>
                      <a:lnTo>
                        <a:pt x="0" y="13"/>
                      </a:lnTo>
                      <a:lnTo>
                        <a:pt x="1" y="2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3" name="Freeform 54">
                  <a:extLst>
                    <a:ext uri="{FF2B5EF4-FFF2-40B4-BE49-F238E27FC236}">
                      <a16:creationId xmlns:a16="http://schemas.microsoft.com/office/drawing/2014/main" id="{8DE541C0-85F8-535B-6D15-D6B99316994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59388" y="1311275"/>
                  <a:ext cx="44450" cy="14288"/>
                </a:xfrm>
                <a:custGeom>
                  <a:avLst/>
                  <a:gdLst>
                    <a:gd name="T0" fmla="*/ 10 w 28"/>
                    <a:gd name="T1" fmla="*/ 0 h 9"/>
                    <a:gd name="T2" fmla="*/ 0 w 28"/>
                    <a:gd name="T3" fmla="*/ 9 h 9"/>
                    <a:gd name="T4" fmla="*/ 13 w 28"/>
                    <a:gd name="T5" fmla="*/ 9 h 9"/>
                    <a:gd name="T6" fmla="*/ 28 w 28"/>
                    <a:gd name="T7" fmla="*/ 0 h 9"/>
                    <a:gd name="T8" fmla="*/ 10 w 28"/>
                    <a:gd name="T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9">
                      <a:moveTo>
                        <a:pt x="10" y="0"/>
                      </a:moveTo>
                      <a:lnTo>
                        <a:pt x="0" y="9"/>
                      </a:lnTo>
                      <a:lnTo>
                        <a:pt x="13" y="9"/>
                      </a:lnTo>
                      <a:lnTo>
                        <a:pt x="28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4" name="Freeform 55">
                  <a:extLst>
                    <a:ext uri="{FF2B5EF4-FFF2-40B4-BE49-F238E27FC236}">
                      <a16:creationId xmlns:a16="http://schemas.microsoft.com/office/drawing/2014/main" id="{54A6F6D4-BC3D-5C0E-326E-6E38BED82B5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149851" y="1270000"/>
                  <a:ext cx="49213" cy="68263"/>
                </a:xfrm>
                <a:custGeom>
                  <a:avLst/>
                  <a:gdLst>
                    <a:gd name="T0" fmla="*/ 21 w 31"/>
                    <a:gd name="T1" fmla="*/ 13 h 43"/>
                    <a:gd name="T2" fmla="*/ 17 w 31"/>
                    <a:gd name="T3" fmla="*/ 0 h 43"/>
                    <a:gd name="T4" fmla="*/ 0 w 31"/>
                    <a:gd name="T5" fmla="*/ 19 h 43"/>
                    <a:gd name="T6" fmla="*/ 10 w 31"/>
                    <a:gd name="T7" fmla="*/ 27 h 43"/>
                    <a:gd name="T8" fmla="*/ 21 w 31"/>
                    <a:gd name="T9" fmla="*/ 43 h 43"/>
                    <a:gd name="T10" fmla="*/ 31 w 31"/>
                    <a:gd name="T11" fmla="*/ 43 h 43"/>
                    <a:gd name="T12" fmla="*/ 25 w 31"/>
                    <a:gd name="T13" fmla="*/ 26 h 43"/>
                    <a:gd name="T14" fmla="*/ 21 w 31"/>
                    <a:gd name="T15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43">
                      <a:moveTo>
                        <a:pt x="21" y="13"/>
                      </a:moveTo>
                      <a:lnTo>
                        <a:pt x="17" y="0"/>
                      </a:lnTo>
                      <a:lnTo>
                        <a:pt x="0" y="19"/>
                      </a:lnTo>
                      <a:lnTo>
                        <a:pt x="10" y="27"/>
                      </a:lnTo>
                      <a:lnTo>
                        <a:pt x="21" y="43"/>
                      </a:lnTo>
                      <a:lnTo>
                        <a:pt x="31" y="43"/>
                      </a:lnTo>
                      <a:lnTo>
                        <a:pt x="25" y="26"/>
                      </a:ln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5" name="Freeform 56">
                  <a:extLst>
                    <a:ext uri="{FF2B5EF4-FFF2-40B4-BE49-F238E27FC236}">
                      <a16:creationId xmlns:a16="http://schemas.microsoft.com/office/drawing/2014/main" id="{21740CDB-29A3-E6D6-4AC2-4777846EE8B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03826" y="1228725"/>
                  <a:ext cx="82550" cy="58738"/>
                </a:xfrm>
                <a:custGeom>
                  <a:avLst/>
                  <a:gdLst>
                    <a:gd name="T0" fmla="*/ 52 w 52"/>
                    <a:gd name="T1" fmla="*/ 8 h 37"/>
                    <a:gd name="T2" fmla="*/ 39 w 52"/>
                    <a:gd name="T3" fmla="*/ 0 h 37"/>
                    <a:gd name="T4" fmla="*/ 10 w 52"/>
                    <a:gd name="T5" fmla="*/ 0 h 37"/>
                    <a:gd name="T6" fmla="*/ 0 w 52"/>
                    <a:gd name="T7" fmla="*/ 10 h 37"/>
                    <a:gd name="T8" fmla="*/ 0 w 52"/>
                    <a:gd name="T9" fmla="*/ 21 h 37"/>
                    <a:gd name="T10" fmla="*/ 16 w 52"/>
                    <a:gd name="T11" fmla="*/ 37 h 37"/>
                    <a:gd name="T12" fmla="*/ 48 w 52"/>
                    <a:gd name="T13" fmla="*/ 34 h 37"/>
                    <a:gd name="T14" fmla="*/ 52 w 52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37">
                      <a:moveTo>
                        <a:pt x="52" y="8"/>
                      </a:moveTo>
                      <a:lnTo>
                        <a:pt x="39" y="0"/>
                      </a:lnTo>
                      <a:lnTo>
                        <a:pt x="10" y="0"/>
                      </a:lnTo>
                      <a:lnTo>
                        <a:pt x="0" y="10"/>
                      </a:lnTo>
                      <a:lnTo>
                        <a:pt x="0" y="21"/>
                      </a:lnTo>
                      <a:lnTo>
                        <a:pt x="16" y="37"/>
                      </a:lnTo>
                      <a:lnTo>
                        <a:pt x="48" y="34"/>
                      </a:lnTo>
                      <a:lnTo>
                        <a:pt x="52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6" name="Freeform 57">
                  <a:extLst>
                    <a:ext uri="{FF2B5EF4-FFF2-40B4-BE49-F238E27FC236}">
                      <a16:creationId xmlns:a16="http://schemas.microsoft.com/office/drawing/2014/main" id="{F02AA98A-4AB6-56CD-ADD7-302B851AD47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6340476" y="1395413"/>
                  <a:ext cx="127000" cy="98425"/>
                </a:xfrm>
                <a:custGeom>
                  <a:avLst/>
                  <a:gdLst>
                    <a:gd name="T0" fmla="*/ 74 w 80"/>
                    <a:gd name="T1" fmla="*/ 42 h 62"/>
                    <a:gd name="T2" fmla="*/ 64 w 80"/>
                    <a:gd name="T3" fmla="*/ 16 h 62"/>
                    <a:gd name="T4" fmla="*/ 34 w 80"/>
                    <a:gd name="T5" fmla="*/ 3 h 62"/>
                    <a:gd name="T6" fmla="*/ 11 w 80"/>
                    <a:gd name="T7" fmla="*/ 0 h 62"/>
                    <a:gd name="T8" fmla="*/ 0 w 80"/>
                    <a:gd name="T9" fmla="*/ 17 h 62"/>
                    <a:gd name="T10" fmla="*/ 0 w 80"/>
                    <a:gd name="T11" fmla="*/ 42 h 62"/>
                    <a:gd name="T12" fmla="*/ 19 w 80"/>
                    <a:gd name="T13" fmla="*/ 42 h 62"/>
                    <a:gd name="T14" fmla="*/ 23 w 80"/>
                    <a:gd name="T15" fmla="*/ 53 h 62"/>
                    <a:gd name="T16" fmla="*/ 32 w 80"/>
                    <a:gd name="T17" fmla="*/ 62 h 62"/>
                    <a:gd name="T18" fmla="*/ 47 w 80"/>
                    <a:gd name="T19" fmla="*/ 59 h 62"/>
                    <a:gd name="T20" fmla="*/ 58 w 80"/>
                    <a:gd name="T21" fmla="*/ 56 h 62"/>
                    <a:gd name="T22" fmla="*/ 80 w 80"/>
                    <a:gd name="T23" fmla="*/ 62 h 62"/>
                    <a:gd name="T24" fmla="*/ 74 w 80"/>
                    <a:gd name="T25" fmla="*/ 4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0" h="62">
                      <a:moveTo>
                        <a:pt x="74" y="42"/>
                      </a:moveTo>
                      <a:lnTo>
                        <a:pt x="64" y="16"/>
                      </a:lnTo>
                      <a:lnTo>
                        <a:pt x="34" y="3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42"/>
                      </a:lnTo>
                      <a:lnTo>
                        <a:pt x="19" y="42"/>
                      </a:lnTo>
                      <a:lnTo>
                        <a:pt x="23" y="53"/>
                      </a:lnTo>
                      <a:lnTo>
                        <a:pt x="32" y="62"/>
                      </a:lnTo>
                      <a:lnTo>
                        <a:pt x="47" y="59"/>
                      </a:lnTo>
                      <a:lnTo>
                        <a:pt x="58" y="56"/>
                      </a:lnTo>
                      <a:lnTo>
                        <a:pt x="80" y="62"/>
                      </a:lnTo>
                      <a:lnTo>
                        <a:pt x="74" y="42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grpSp>
            <p:nvGrpSpPr>
              <p:cNvPr id="493" name="Group 212">
                <a:extLst>
                  <a:ext uri="{FF2B5EF4-FFF2-40B4-BE49-F238E27FC236}">
                    <a16:creationId xmlns:a16="http://schemas.microsoft.com/office/drawing/2014/main" id="{19E8F64C-D3A6-89E2-9901-0DB52B84C8A4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4446588" y="1955800"/>
                <a:ext cx="504826" cy="157163"/>
                <a:chOff x="4446588" y="1955800"/>
                <a:chExt cx="504826" cy="157163"/>
              </a:xfrm>
              <a:grpFill/>
            </p:grpSpPr>
            <p:sp>
              <p:nvSpPr>
                <p:cNvPr id="496" name="Freeform 60">
                  <a:extLst>
                    <a:ext uri="{FF2B5EF4-FFF2-40B4-BE49-F238E27FC236}">
                      <a16:creationId xmlns:a16="http://schemas.microsoft.com/office/drawing/2014/main" id="{943C457E-D92D-1825-E9C8-F089EF0AC53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446588" y="2085975"/>
                  <a:ext cx="53975" cy="26988"/>
                </a:xfrm>
                <a:custGeom>
                  <a:avLst/>
                  <a:gdLst>
                    <a:gd name="T0" fmla="*/ 28 w 34"/>
                    <a:gd name="T1" fmla="*/ 17 h 17"/>
                    <a:gd name="T2" fmla="*/ 23 w 34"/>
                    <a:gd name="T3" fmla="*/ 8 h 17"/>
                    <a:gd name="T4" fmla="*/ 34 w 34"/>
                    <a:gd name="T5" fmla="*/ 0 h 17"/>
                    <a:gd name="T6" fmla="*/ 0 w 34"/>
                    <a:gd name="T7" fmla="*/ 0 h 17"/>
                    <a:gd name="T8" fmla="*/ 0 w 34"/>
                    <a:gd name="T9" fmla="*/ 13 h 17"/>
                    <a:gd name="T10" fmla="*/ 12 w 34"/>
                    <a:gd name="T11" fmla="*/ 17 h 17"/>
                    <a:gd name="T12" fmla="*/ 28 w 34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7">
                      <a:moveTo>
                        <a:pt x="28" y="17"/>
                      </a:moveTo>
                      <a:lnTo>
                        <a:pt x="23" y="8"/>
                      </a:lnTo>
                      <a:lnTo>
                        <a:pt x="34" y="0"/>
                      </a:ln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7"/>
                      </a:lnTo>
                      <a:lnTo>
                        <a:pt x="28" y="17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497" name="Freeform 61">
                  <a:extLst>
                    <a:ext uri="{FF2B5EF4-FFF2-40B4-BE49-F238E27FC236}">
                      <a16:creationId xmlns:a16="http://schemas.microsoft.com/office/drawing/2014/main" id="{4375DAD8-C119-A06F-CAD0-7C75DA27043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537076" y="2027238"/>
                  <a:ext cx="85725" cy="42863"/>
                </a:xfrm>
                <a:custGeom>
                  <a:avLst/>
                  <a:gdLst>
                    <a:gd name="T0" fmla="*/ 12 w 54"/>
                    <a:gd name="T1" fmla="*/ 13 h 27"/>
                    <a:gd name="T2" fmla="*/ 24 w 54"/>
                    <a:gd name="T3" fmla="*/ 6 h 27"/>
                    <a:gd name="T4" fmla="*/ 54 w 54"/>
                    <a:gd name="T5" fmla="*/ 0 h 27"/>
                    <a:gd name="T6" fmla="*/ 24 w 54"/>
                    <a:gd name="T7" fmla="*/ 0 h 27"/>
                    <a:gd name="T8" fmla="*/ 0 w 54"/>
                    <a:gd name="T9" fmla="*/ 8 h 27"/>
                    <a:gd name="T10" fmla="*/ 0 w 54"/>
                    <a:gd name="T11" fmla="*/ 18 h 27"/>
                    <a:gd name="T12" fmla="*/ 8 w 54"/>
                    <a:gd name="T13" fmla="*/ 27 h 27"/>
                    <a:gd name="T14" fmla="*/ 12 w 54"/>
                    <a:gd name="T15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27">
                      <a:moveTo>
                        <a:pt x="12" y="13"/>
                      </a:moveTo>
                      <a:lnTo>
                        <a:pt x="24" y="6"/>
                      </a:lnTo>
                      <a:lnTo>
                        <a:pt x="54" y="0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498" name="Freeform 62">
                  <a:extLst>
                    <a:ext uri="{FF2B5EF4-FFF2-40B4-BE49-F238E27FC236}">
                      <a16:creationId xmlns:a16="http://schemas.microsoft.com/office/drawing/2014/main" id="{C694F408-68FB-9790-D2A3-9E0240D5B3BA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659313" y="1989138"/>
                  <a:ext cx="80963" cy="26988"/>
                </a:xfrm>
                <a:custGeom>
                  <a:avLst/>
                  <a:gdLst>
                    <a:gd name="T0" fmla="*/ 51 w 51"/>
                    <a:gd name="T1" fmla="*/ 8 h 17"/>
                    <a:gd name="T2" fmla="*/ 29 w 51"/>
                    <a:gd name="T3" fmla="*/ 0 h 17"/>
                    <a:gd name="T4" fmla="*/ 4 w 51"/>
                    <a:gd name="T5" fmla="*/ 3 h 17"/>
                    <a:gd name="T6" fmla="*/ 0 w 51"/>
                    <a:gd name="T7" fmla="*/ 17 h 17"/>
                    <a:gd name="T8" fmla="*/ 27 w 51"/>
                    <a:gd name="T9" fmla="*/ 14 h 17"/>
                    <a:gd name="T10" fmla="*/ 51 w 51"/>
                    <a:gd name="T11" fmla="*/ 8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17">
                      <a:moveTo>
                        <a:pt x="51" y="8"/>
                      </a:moveTo>
                      <a:lnTo>
                        <a:pt x="29" y="0"/>
                      </a:lnTo>
                      <a:lnTo>
                        <a:pt x="4" y="3"/>
                      </a:lnTo>
                      <a:lnTo>
                        <a:pt x="0" y="17"/>
                      </a:lnTo>
                      <a:lnTo>
                        <a:pt x="27" y="14"/>
                      </a:lnTo>
                      <a:lnTo>
                        <a:pt x="51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499" name="Freeform 63">
                  <a:extLst>
                    <a:ext uri="{FF2B5EF4-FFF2-40B4-BE49-F238E27FC236}">
                      <a16:creationId xmlns:a16="http://schemas.microsoft.com/office/drawing/2014/main" id="{779E1F74-2A3C-4247-A034-9E9E7A88A7D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883151" y="1955800"/>
                  <a:ext cx="68263" cy="22225"/>
                </a:xfrm>
                <a:custGeom>
                  <a:avLst/>
                  <a:gdLst>
                    <a:gd name="T0" fmla="*/ 43 w 43"/>
                    <a:gd name="T1" fmla="*/ 0 h 14"/>
                    <a:gd name="T2" fmla="*/ 6 w 43"/>
                    <a:gd name="T3" fmla="*/ 0 h 14"/>
                    <a:gd name="T4" fmla="*/ 0 w 43"/>
                    <a:gd name="T5" fmla="*/ 14 h 14"/>
                    <a:gd name="T6" fmla="*/ 21 w 43"/>
                    <a:gd name="T7" fmla="*/ 11 h 14"/>
                    <a:gd name="T8" fmla="*/ 43 w 43"/>
                    <a:gd name="T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14">
                      <a:moveTo>
                        <a:pt x="43" y="0"/>
                      </a:moveTo>
                      <a:lnTo>
                        <a:pt x="6" y="0"/>
                      </a:lnTo>
                      <a:lnTo>
                        <a:pt x="0" y="14"/>
                      </a:lnTo>
                      <a:lnTo>
                        <a:pt x="21" y="11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0" name="Freeform 64">
                  <a:extLst>
                    <a:ext uri="{FF2B5EF4-FFF2-40B4-BE49-F238E27FC236}">
                      <a16:creationId xmlns:a16="http://schemas.microsoft.com/office/drawing/2014/main" id="{BFC1570C-D01D-95F7-39E1-0713D300B3A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60913" y="1989138"/>
                  <a:ext cx="17463" cy="9525"/>
                </a:xfrm>
                <a:custGeom>
                  <a:avLst/>
                  <a:gdLst>
                    <a:gd name="T0" fmla="*/ 11 w 11"/>
                    <a:gd name="T1" fmla="*/ 0 h 6"/>
                    <a:gd name="T2" fmla="*/ 0 w 11"/>
                    <a:gd name="T3" fmla="*/ 0 h 6"/>
                    <a:gd name="T4" fmla="*/ 0 w 11"/>
                    <a:gd name="T5" fmla="*/ 6 h 6"/>
                    <a:gd name="T6" fmla="*/ 11 w 11"/>
                    <a:gd name="T7" fmla="*/ 5 h 6"/>
                    <a:gd name="T8" fmla="*/ 11 w 1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6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1" y="5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501" name="Freeform 65">
                  <a:extLst>
                    <a:ext uri="{FF2B5EF4-FFF2-40B4-BE49-F238E27FC236}">
                      <a16:creationId xmlns:a16="http://schemas.microsoft.com/office/drawing/2014/main" id="{0C3D236D-3B3D-B02F-0E16-730DEAA5B44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95838" y="1978025"/>
                  <a:ext cx="36513" cy="25400"/>
                </a:xfrm>
                <a:custGeom>
                  <a:avLst/>
                  <a:gdLst>
                    <a:gd name="T0" fmla="*/ 13 w 23"/>
                    <a:gd name="T1" fmla="*/ 13 h 16"/>
                    <a:gd name="T2" fmla="*/ 23 w 23"/>
                    <a:gd name="T3" fmla="*/ 4 h 16"/>
                    <a:gd name="T4" fmla="*/ 0 w 23"/>
                    <a:gd name="T5" fmla="*/ 0 h 16"/>
                    <a:gd name="T6" fmla="*/ 4 w 23"/>
                    <a:gd name="T7" fmla="*/ 16 h 16"/>
                    <a:gd name="T8" fmla="*/ 13 w 23"/>
                    <a:gd name="T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6">
                      <a:moveTo>
                        <a:pt x="13" y="13"/>
                      </a:moveTo>
                      <a:lnTo>
                        <a:pt x="23" y="4"/>
                      </a:lnTo>
                      <a:lnTo>
                        <a:pt x="0" y="0"/>
                      </a:lnTo>
                      <a:lnTo>
                        <a:pt x="4" y="16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sp>
            <p:nvSpPr>
              <p:cNvPr id="494" name="Freeform 68">
                <a:extLst>
                  <a:ext uri="{FF2B5EF4-FFF2-40B4-BE49-F238E27FC236}">
                    <a16:creationId xmlns:a16="http://schemas.microsoft.com/office/drawing/2014/main" id="{D3EF1DFD-E141-0BC0-90C4-20B97FF9068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7235830" y="1357322"/>
                <a:ext cx="34923" cy="73024"/>
              </a:xfrm>
              <a:custGeom>
                <a:avLst/>
                <a:gdLst>
                  <a:gd name="T0" fmla="*/ 16 w 22"/>
                  <a:gd name="T1" fmla="*/ 6 h 46"/>
                  <a:gd name="T2" fmla="*/ 22 w 22"/>
                  <a:gd name="T3" fmla="*/ 0 h 46"/>
                  <a:gd name="T4" fmla="*/ 6 w 22"/>
                  <a:gd name="T5" fmla="*/ 0 h 46"/>
                  <a:gd name="T6" fmla="*/ 0 w 22"/>
                  <a:gd name="T7" fmla="*/ 35 h 46"/>
                  <a:gd name="T8" fmla="*/ 0 w 22"/>
                  <a:gd name="T9" fmla="*/ 46 h 46"/>
                  <a:gd name="T10" fmla="*/ 6 w 22"/>
                  <a:gd name="T11" fmla="*/ 24 h 46"/>
                  <a:gd name="T12" fmla="*/ 16 w 22"/>
                  <a:gd name="T1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46">
                    <a:moveTo>
                      <a:pt x="16" y="6"/>
                    </a:moveTo>
                    <a:lnTo>
                      <a:pt x="22" y="0"/>
                    </a:lnTo>
                    <a:lnTo>
                      <a:pt x="6" y="0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6" y="2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495" name="Freeform 71">
                <a:extLst>
                  <a:ext uri="{FF2B5EF4-FFF2-40B4-BE49-F238E27FC236}">
                    <a16:creationId xmlns:a16="http://schemas.microsoft.com/office/drawing/2014/main" id="{A63A749A-7760-FD80-B3B4-891D14D34CE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7253288" y="2759075"/>
                <a:ext cx="295275" cy="239713"/>
              </a:xfrm>
              <a:custGeom>
                <a:avLst/>
                <a:gdLst>
                  <a:gd name="T0" fmla="*/ 170 w 186"/>
                  <a:gd name="T1" fmla="*/ 93 h 151"/>
                  <a:gd name="T2" fmla="*/ 148 w 186"/>
                  <a:gd name="T3" fmla="*/ 96 h 151"/>
                  <a:gd name="T4" fmla="*/ 148 w 186"/>
                  <a:gd name="T5" fmla="*/ 81 h 151"/>
                  <a:gd name="T6" fmla="*/ 156 w 186"/>
                  <a:gd name="T7" fmla="*/ 64 h 151"/>
                  <a:gd name="T8" fmla="*/ 148 w 186"/>
                  <a:gd name="T9" fmla="*/ 54 h 151"/>
                  <a:gd name="T10" fmla="*/ 125 w 186"/>
                  <a:gd name="T11" fmla="*/ 38 h 151"/>
                  <a:gd name="T12" fmla="*/ 112 w 186"/>
                  <a:gd name="T13" fmla="*/ 29 h 151"/>
                  <a:gd name="T14" fmla="*/ 125 w 186"/>
                  <a:gd name="T15" fmla="*/ 14 h 151"/>
                  <a:gd name="T16" fmla="*/ 117 w 186"/>
                  <a:gd name="T17" fmla="*/ 12 h 151"/>
                  <a:gd name="T18" fmla="*/ 106 w 186"/>
                  <a:gd name="T19" fmla="*/ 0 h 151"/>
                  <a:gd name="T20" fmla="*/ 99 w 186"/>
                  <a:gd name="T21" fmla="*/ 12 h 151"/>
                  <a:gd name="T22" fmla="*/ 83 w 186"/>
                  <a:gd name="T23" fmla="*/ 17 h 151"/>
                  <a:gd name="T24" fmla="*/ 67 w 186"/>
                  <a:gd name="T25" fmla="*/ 24 h 151"/>
                  <a:gd name="T26" fmla="*/ 64 w 186"/>
                  <a:gd name="T27" fmla="*/ 12 h 151"/>
                  <a:gd name="T28" fmla="*/ 56 w 186"/>
                  <a:gd name="T29" fmla="*/ 8 h 151"/>
                  <a:gd name="T30" fmla="*/ 53 w 186"/>
                  <a:gd name="T31" fmla="*/ 19 h 151"/>
                  <a:gd name="T32" fmla="*/ 38 w 186"/>
                  <a:gd name="T33" fmla="*/ 19 h 151"/>
                  <a:gd name="T34" fmla="*/ 35 w 186"/>
                  <a:gd name="T35" fmla="*/ 38 h 151"/>
                  <a:gd name="T36" fmla="*/ 17 w 186"/>
                  <a:gd name="T37" fmla="*/ 33 h 151"/>
                  <a:gd name="T38" fmla="*/ 13 w 186"/>
                  <a:gd name="T39" fmla="*/ 54 h 151"/>
                  <a:gd name="T40" fmla="*/ 8 w 186"/>
                  <a:gd name="T41" fmla="*/ 69 h 151"/>
                  <a:gd name="T42" fmla="*/ 21 w 186"/>
                  <a:gd name="T43" fmla="*/ 73 h 151"/>
                  <a:gd name="T44" fmla="*/ 11 w 186"/>
                  <a:gd name="T45" fmla="*/ 90 h 151"/>
                  <a:gd name="T46" fmla="*/ 8 w 186"/>
                  <a:gd name="T47" fmla="*/ 107 h 151"/>
                  <a:gd name="T48" fmla="*/ 0 w 186"/>
                  <a:gd name="T49" fmla="*/ 115 h 151"/>
                  <a:gd name="T50" fmla="*/ 11 w 186"/>
                  <a:gd name="T51" fmla="*/ 126 h 151"/>
                  <a:gd name="T52" fmla="*/ 34 w 186"/>
                  <a:gd name="T53" fmla="*/ 115 h 151"/>
                  <a:gd name="T54" fmla="*/ 46 w 186"/>
                  <a:gd name="T55" fmla="*/ 122 h 151"/>
                  <a:gd name="T56" fmla="*/ 54 w 186"/>
                  <a:gd name="T57" fmla="*/ 115 h 151"/>
                  <a:gd name="T58" fmla="*/ 74 w 186"/>
                  <a:gd name="T59" fmla="*/ 123 h 151"/>
                  <a:gd name="T60" fmla="*/ 88 w 186"/>
                  <a:gd name="T61" fmla="*/ 133 h 151"/>
                  <a:gd name="T62" fmla="*/ 95 w 186"/>
                  <a:gd name="T63" fmla="*/ 126 h 151"/>
                  <a:gd name="T64" fmla="*/ 95 w 186"/>
                  <a:gd name="T65" fmla="*/ 115 h 151"/>
                  <a:gd name="T66" fmla="*/ 107 w 186"/>
                  <a:gd name="T67" fmla="*/ 115 h 151"/>
                  <a:gd name="T68" fmla="*/ 109 w 186"/>
                  <a:gd name="T69" fmla="*/ 125 h 151"/>
                  <a:gd name="T70" fmla="*/ 122 w 186"/>
                  <a:gd name="T71" fmla="*/ 125 h 151"/>
                  <a:gd name="T72" fmla="*/ 138 w 186"/>
                  <a:gd name="T73" fmla="*/ 131 h 151"/>
                  <a:gd name="T74" fmla="*/ 149 w 186"/>
                  <a:gd name="T75" fmla="*/ 131 h 151"/>
                  <a:gd name="T76" fmla="*/ 156 w 186"/>
                  <a:gd name="T77" fmla="*/ 151 h 151"/>
                  <a:gd name="T78" fmla="*/ 170 w 186"/>
                  <a:gd name="T79" fmla="*/ 131 h 151"/>
                  <a:gd name="T80" fmla="*/ 178 w 186"/>
                  <a:gd name="T81" fmla="*/ 118 h 151"/>
                  <a:gd name="T82" fmla="*/ 186 w 186"/>
                  <a:gd name="T83" fmla="*/ 104 h 151"/>
                  <a:gd name="T84" fmla="*/ 176 w 186"/>
                  <a:gd name="T85" fmla="*/ 102 h 151"/>
                  <a:gd name="T86" fmla="*/ 170 w 186"/>
                  <a:gd name="T87" fmla="*/ 9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6" h="151">
                    <a:moveTo>
                      <a:pt x="170" y="93"/>
                    </a:moveTo>
                    <a:lnTo>
                      <a:pt x="148" y="96"/>
                    </a:lnTo>
                    <a:lnTo>
                      <a:pt x="148" y="81"/>
                    </a:lnTo>
                    <a:lnTo>
                      <a:pt x="156" y="64"/>
                    </a:lnTo>
                    <a:lnTo>
                      <a:pt x="148" y="54"/>
                    </a:lnTo>
                    <a:lnTo>
                      <a:pt x="125" y="38"/>
                    </a:lnTo>
                    <a:lnTo>
                      <a:pt x="112" y="29"/>
                    </a:lnTo>
                    <a:lnTo>
                      <a:pt x="125" y="14"/>
                    </a:lnTo>
                    <a:lnTo>
                      <a:pt x="117" y="12"/>
                    </a:lnTo>
                    <a:lnTo>
                      <a:pt x="106" y="0"/>
                    </a:lnTo>
                    <a:lnTo>
                      <a:pt x="99" y="12"/>
                    </a:lnTo>
                    <a:lnTo>
                      <a:pt x="83" y="17"/>
                    </a:lnTo>
                    <a:lnTo>
                      <a:pt x="67" y="24"/>
                    </a:lnTo>
                    <a:lnTo>
                      <a:pt x="64" y="12"/>
                    </a:lnTo>
                    <a:lnTo>
                      <a:pt x="56" y="8"/>
                    </a:lnTo>
                    <a:lnTo>
                      <a:pt x="53" y="19"/>
                    </a:lnTo>
                    <a:lnTo>
                      <a:pt x="38" y="19"/>
                    </a:lnTo>
                    <a:lnTo>
                      <a:pt x="35" y="38"/>
                    </a:lnTo>
                    <a:lnTo>
                      <a:pt x="17" y="33"/>
                    </a:lnTo>
                    <a:lnTo>
                      <a:pt x="13" y="54"/>
                    </a:lnTo>
                    <a:lnTo>
                      <a:pt x="8" y="69"/>
                    </a:lnTo>
                    <a:lnTo>
                      <a:pt x="21" y="73"/>
                    </a:lnTo>
                    <a:lnTo>
                      <a:pt x="11" y="90"/>
                    </a:lnTo>
                    <a:lnTo>
                      <a:pt x="8" y="107"/>
                    </a:lnTo>
                    <a:lnTo>
                      <a:pt x="0" y="115"/>
                    </a:lnTo>
                    <a:lnTo>
                      <a:pt x="11" y="126"/>
                    </a:lnTo>
                    <a:lnTo>
                      <a:pt x="34" y="115"/>
                    </a:lnTo>
                    <a:lnTo>
                      <a:pt x="46" y="122"/>
                    </a:lnTo>
                    <a:lnTo>
                      <a:pt x="54" y="115"/>
                    </a:lnTo>
                    <a:lnTo>
                      <a:pt x="74" y="123"/>
                    </a:lnTo>
                    <a:lnTo>
                      <a:pt x="88" y="133"/>
                    </a:lnTo>
                    <a:lnTo>
                      <a:pt x="95" y="126"/>
                    </a:lnTo>
                    <a:lnTo>
                      <a:pt x="95" y="115"/>
                    </a:lnTo>
                    <a:lnTo>
                      <a:pt x="107" y="115"/>
                    </a:lnTo>
                    <a:lnTo>
                      <a:pt x="109" y="125"/>
                    </a:lnTo>
                    <a:lnTo>
                      <a:pt x="122" y="125"/>
                    </a:lnTo>
                    <a:lnTo>
                      <a:pt x="138" y="131"/>
                    </a:lnTo>
                    <a:lnTo>
                      <a:pt x="149" y="131"/>
                    </a:lnTo>
                    <a:lnTo>
                      <a:pt x="156" y="151"/>
                    </a:lnTo>
                    <a:lnTo>
                      <a:pt x="170" y="131"/>
                    </a:lnTo>
                    <a:lnTo>
                      <a:pt x="178" y="118"/>
                    </a:lnTo>
                    <a:lnTo>
                      <a:pt x="186" y="104"/>
                    </a:lnTo>
                    <a:lnTo>
                      <a:pt x="176" y="102"/>
                    </a:lnTo>
                    <a:lnTo>
                      <a:pt x="170" y="93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grpSp>
          <p:nvGrpSpPr>
            <p:cNvPr id="426" name="Group 334">
              <a:extLst>
                <a:ext uri="{FF2B5EF4-FFF2-40B4-BE49-F238E27FC236}">
                  <a16:creationId xmlns:a16="http://schemas.microsoft.com/office/drawing/2014/main" id="{FFFB5143-1622-159B-6B94-CCBB5DDAEC3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439729" y="1126149"/>
              <a:ext cx="4911391" cy="1733141"/>
              <a:chOff x="5439729" y="1126149"/>
              <a:chExt cx="4911391" cy="1733141"/>
            </a:xfrm>
            <a:grpFill/>
          </p:grpSpPr>
          <p:sp>
            <p:nvSpPr>
              <p:cNvPr id="427" name="United Kingdo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9513C8F-1F99-4A2A-F59A-E4508E78599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31962" y="1741706"/>
                <a:ext cx="258961" cy="370754"/>
              </a:xfrm>
              <a:custGeom>
                <a:avLst/>
                <a:gdLst>
                  <a:gd name="T0" fmla="*/ 2147483647 w 576"/>
                  <a:gd name="T1" fmla="*/ 2147483647 h 822"/>
                  <a:gd name="T2" fmla="*/ 2147483647 w 576"/>
                  <a:gd name="T3" fmla="*/ 2147483647 h 822"/>
                  <a:gd name="T4" fmla="*/ 2147483647 w 576"/>
                  <a:gd name="T5" fmla="*/ 2147483647 h 822"/>
                  <a:gd name="T6" fmla="*/ 2147483647 w 576"/>
                  <a:gd name="T7" fmla="*/ 2147483647 h 822"/>
                  <a:gd name="T8" fmla="*/ 2147483647 w 576"/>
                  <a:gd name="T9" fmla="*/ 2147483647 h 822"/>
                  <a:gd name="T10" fmla="*/ 2147483647 w 576"/>
                  <a:gd name="T11" fmla="*/ 2147483647 h 822"/>
                  <a:gd name="T12" fmla="*/ 2147483647 w 576"/>
                  <a:gd name="T13" fmla="*/ 2147483647 h 822"/>
                  <a:gd name="T14" fmla="*/ 2147483647 w 576"/>
                  <a:gd name="T15" fmla="*/ 0 h 822"/>
                  <a:gd name="T16" fmla="*/ 2147483647 w 576"/>
                  <a:gd name="T17" fmla="*/ 0 h 822"/>
                  <a:gd name="T18" fmla="*/ 2147483647 w 576"/>
                  <a:gd name="T19" fmla="*/ 2147483647 h 822"/>
                  <a:gd name="T20" fmla="*/ 2147483647 w 576"/>
                  <a:gd name="T21" fmla="*/ 2147483647 h 822"/>
                  <a:gd name="T22" fmla="*/ 2147483647 w 576"/>
                  <a:gd name="T23" fmla="*/ 2147483647 h 822"/>
                  <a:gd name="T24" fmla="*/ 2147483647 w 576"/>
                  <a:gd name="T25" fmla="*/ 2147483647 h 822"/>
                  <a:gd name="T26" fmla="*/ 2147483647 w 576"/>
                  <a:gd name="T27" fmla="*/ 2147483647 h 822"/>
                  <a:gd name="T28" fmla="*/ 2147483647 w 576"/>
                  <a:gd name="T29" fmla="*/ 2147483647 h 822"/>
                  <a:gd name="T30" fmla="*/ 2147483647 w 576"/>
                  <a:gd name="T31" fmla="*/ 2147483647 h 822"/>
                  <a:gd name="T32" fmla="*/ 2147483647 w 576"/>
                  <a:gd name="T33" fmla="*/ 2147483647 h 822"/>
                  <a:gd name="T34" fmla="*/ 2147483647 w 576"/>
                  <a:gd name="T35" fmla="*/ 2147483647 h 822"/>
                  <a:gd name="T36" fmla="*/ 2147483647 w 576"/>
                  <a:gd name="T37" fmla="*/ 2147483647 h 822"/>
                  <a:gd name="T38" fmla="*/ 2147483647 w 576"/>
                  <a:gd name="T39" fmla="*/ 2147483647 h 822"/>
                  <a:gd name="T40" fmla="*/ 2147483647 w 576"/>
                  <a:gd name="T41" fmla="*/ 2147483647 h 822"/>
                  <a:gd name="T42" fmla="*/ 2147483647 w 576"/>
                  <a:gd name="T43" fmla="*/ 2147483647 h 822"/>
                  <a:gd name="T44" fmla="*/ 2147483647 w 576"/>
                  <a:gd name="T45" fmla="*/ 2147483647 h 822"/>
                  <a:gd name="T46" fmla="*/ 2147483647 w 576"/>
                  <a:gd name="T47" fmla="*/ 2147483647 h 822"/>
                  <a:gd name="T48" fmla="*/ 2147483647 w 576"/>
                  <a:gd name="T49" fmla="*/ 2147483647 h 822"/>
                  <a:gd name="T50" fmla="*/ 2147483647 w 576"/>
                  <a:gd name="T51" fmla="*/ 2147483647 h 822"/>
                  <a:gd name="T52" fmla="*/ 2147483647 w 576"/>
                  <a:gd name="T53" fmla="*/ 2147483647 h 822"/>
                  <a:gd name="T54" fmla="*/ 2147483647 w 576"/>
                  <a:gd name="T55" fmla="*/ 2147483647 h 822"/>
                  <a:gd name="T56" fmla="*/ 2147483647 w 576"/>
                  <a:gd name="T57" fmla="*/ 2147483647 h 822"/>
                  <a:gd name="T58" fmla="*/ 2147483647 w 576"/>
                  <a:gd name="T59" fmla="*/ 2147483647 h 822"/>
                  <a:gd name="T60" fmla="*/ 2147483647 w 576"/>
                  <a:gd name="T61" fmla="*/ 2147483647 h 822"/>
                  <a:gd name="T62" fmla="*/ 2147483647 w 576"/>
                  <a:gd name="T63" fmla="*/ 2147483647 h 822"/>
                  <a:gd name="T64" fmla="*/ 2147483647 w 576"/>
                  <a:gd name="T65" fmla="*/ 2147483647 h 822"/>
                  <a:gd name="T66" fmla="*/ 2147483647 w 576"/>
                  <a:gd name="T67" fmla="*/ 2147483647 h 822"/>
                  <a:gd name="T68" fmla="*/ 2147483647 w 576"/>
                  <a:gd name="T69" fmla="*/ 2147483647 h 822"/>
                  <a:gd name="T70" fmla="*/ 2147483647 w 576"/>
                  <a:gd name="T71" fmla="*/ 2147483647 h 822"/>
                  <a:gd name="T72" fmla="*/ 2147483647 w 576"/>
                  <a:gd name="T73" fmla="*/ 2147483647 h 822"/>
                  <a:gd name="T74" fmla="*/ 2147483647 w 576"/>
                  <a:gd name="T75" fmla="*/ 2147483647 h 822"/>
                  <a:gd name="T76" fmla="*/ 2147483647 w 576"/>
                  <a:gd name="T77" fmla="*/ 2147483647 h 822"/>
                  <a:gd name="T78" fmla="*/ 2147483647 w 576"/>
                  <a:gd name="T79" fmla="*/ 2147483647 h 822"/>
                  <a:gd name="T80" fmla="*/ 2147483647 w 576"/>
                  <a:gd name="T81" fmla="*/ 2147483647 h 822"/>
                  <a:gd name="T82" fmla="*/ 2147483647 w 576"/>
                  <a:gd name="T83" fmla="*/ 2147483647 h 822"/>
                  <a:gd name="T84" fmla="*/ 2147483647 w 576"/>
                  <a:gd name="T85" fmla="*/ 2147483647 h 822"/>
                  <a:gd name="T86" fmla="*/ 2147483647 w 576"/>
                  <a:gd name="T87" fmla="*/ 2147483647 h 822"/>
                  <a:gd name="T88" fmla="*/ 2147483647 w 576"/>
                  <a:gd name="T89" fmla="*/ 2147483647 h 822"/>
                  <a:gd name="T90" fmla="*/ 2147483647 w 576"/>
                  <a:gd name="T91" fmla="*/ 2147483647 h 822"/>
                  <a:gd name="T92" fmla="*/ 2147483647 w 576"/>
                  <a:gd name="T93" fmla="*/ 2147483647 h 822"/>
                  <a:gd name="T94" fmla="*/ 2147483647 w 576"/>
                  <a:gd name="T95" fmla="*/ 2147483647 h 822"/>
                  <a:gd name="T96" fmla="*/ 2147483647 w 576"/>
                  <a:gd name="T97" fmla="*/ 2147483647 h 822"/>
                  <a:gd name="T98" fmla="*/ 2147483647 w 576"/>
                  <a:gd name="T99" fmla="*/ 2147483647 h 822"/>
                  <a:gd name="T100" fmla="*/ 2147483647 w 576"/>
                  <a:gd name="T101" fmla="*/ 2147483647 h 822"/>
                  <a:gd name="T102" fmla="*/ 2147483647 w 576"/>
                  <a:gd name="T103" fmla="*/ 2147483647 h 822"/>
                  <a:gd name="T104" fmla="*/ 2147483647 w 576"/>
                  <a:gd name="T105" fmla="*/ 2147483647 h 822"/>
                  <a:gd name="T106" fmla="*/ 2147483647 w 576"/>
                  <a:gd name="T107" fmla="*/ 2147483647 h 822"/>
                  <a:gd name="T108" fmla="*/ 2147483647 w 576"/>
                  <a:gd name="T109" fmla="*/ 2147483647 h 822"/>
                  <a:gd name="T110" fmla="*/ 2147483647 w 576"/>
                  <a:gd name="T111" fmla="*/ 2147483647 h 822"/>
                  <a:gd name="T112" fmla="*/ 2147483647 w 576"/>
                  <a:gd name="T113" fmla="*/ 2147483647 h 822"/>
                  <a:gd name="T114" fmla="*/ 2147483647 w 576"/>
                  <a:gd name="T115" fmla="*/ 2147483647 h 822"/>
                  <a:gd name="T116" fmla="*/ 2147483647 w 576"/>
                  <a:gd name="T117" fmla="*/ 2147483647 h 822"/>
                  <a:gd name="T118" fmla="*/ 2147483647 w 576"/>
                  <a:gd name="T119" fmla="*/ 2147483647 h 822"/>
                  <a:gd name="T120" fmla="*/ 2147483647 w 576"/>
                  <a:gd name="T121" fmla="*/ 2147483647 h 822"/>
                  <a:gd name="T122" fmla="*/ 2147483647 w 576"/>
                  <a:gd name="T123" fmla="*/ 2147483647 h 8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6"/>
                  <a:gd name="T187" fmla="*/ 0 h 822"/>
                  <a:gd name="T188" fmla="*/ 576 w 576"/>
                  <a:gd name="T189" fmla="*/ 822 h 8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6" h="822">
                    <a:moveTo>
                      <a:pt x="162" y="378"/>
                    </a:moveTo>
                    <a:lnTo>
                      <a:pt x="156" y="378"/>
                    </a:lnTo>
                    <a:lnTo>
                      <a:pt x="150" y="384"/>
                    </a:lnTo>
                    <a:lnTo>
                      <a:pt x="150" y="396"/>
                    </a:lnTo>
                    <a:lnTo>
                      <a:pt x="144" y="414"/>
                    </a:lnTo>
                    <a:lnTo>
                      <a:pt x="156" y="402"/>
                    </a:lnTo>
                    <a:lnTo>
                      <a:pt x="162" y="390"/>
                    </a:lnTo>
                    <a:lnTo>
                      <a:pt x="162" y="378"/>
                    </a:lnTo>
                    <a:close/>
                    <a:moveTo>
                      <a:pt x="132" y="312"/>
                    </a:moveTo>
                    <a:lnTo>
                      <a:pt x="126" y="312"/>
                    </a:lnTo>
                    <a:lnTo>
                      <a:pt x="126" y="336"/>
                    </a:lnTo>
                    <a:lnTo>
                      <a:pt x="132" y="336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44" y="318"/>
                    </a:lnTo>
                    <a:lnTo>
                      <a:pt x="138" y="312"/>
                    </a:lnTo>
                    <a:lnTo>
                      <a:pt x="132" y="312"/>
                    </a:lnTo>
                    <a:close/>
                    <a:moveTo>
                      <a:pt x="114" y="390"/>
                    </a:moveTo>
                    <a:lnTo>
                      <a:pt x="126" y="390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72"/>
                    </a:lnTo>
                    <a:lnTo>
                      <a:pt x="108" y="384"/>
                    </a:lnTo>
                    <a:lnTo>
                      <a:pt x="108" y="390"/>
                    </a:lnTo>
                    <a:lnTo>
                      <a:pt x="114" y="390"/>
                    </a:lnTo>
                    <a:close/>
                    <a:moveTo>
                      <a:pt x="330" y="120"/>
                    </a:moveTo>
                    <a:lnTo>
                      <a:pt x="324" y="120"/>
                    </a:lnTo>
                    <a:lnTo>
                      <a:pt x="318" y="126"/>
                    </a:lnTo>
                    <a:lnTo>
                      <a:pt x="318" y="138"/>
                    </a:lnTo>
                    <a:lnTo>
                      <a:pt x="330" y="138"/>
                    </a:lnTo>
                    <a:lnTo>
                      <a:pt x="336" y="126"/>
                    </a:lnTo>
                    <a:lnTo>
                      <a:pt x="330" y="120"/>
                    </a:lnTo>
                    <a:close/>
                    <a:moveTo>
                      <a:pt x="138" y="258"/>
                    </a:moveTo>
                    <a:lnTo>
                      <a:pt x="138" y="234"/>
                    </a:lnTo>
                    <a:lnTo>
                      <a:pt x="126" y="234"/>
                    </a:lnTo>
                    <a:lnTo>
                      <a:pt x="120" y="240"/>
                    </a:lnTo>
                    <a:lnTo>
                      <a:pt x="120" y="246"/>
                    </a:lnTo>
                    <a:lnTo>
                      <a:pt x="126" y="252"/>
                    </a:lnTo>
                    <a:lnTo>
                      <a:pt x="108" y="252"/>
                    </a:lnTo>
                    <a:lnTo>
                      <a:pt x="108" y="258"/>
                    </a:lnTo>
                    <a:lnTo>
                      <a:pt x="114" y="264"/>
                    </a:lnTo>
                    <a:lnTo>
                      <a:pt x="120" y="264"/>
                    </a:lnTo>
                    <a:lnTo>
                      <a:pt x="126" y="270"/>
                    </a:lnTo>
                    <a:lnTo>
                      <a:pt x="150" y="270"/>
                    </a:lnTo>
                    <a:lnTo>
                      <a:pt x="138" y="258"/>
                    </a:lnTo>
                    <a:close/>
                    <a:moveTo>
                      <a:pt x="474" y="0"/>
                    </a:moveTo>
                    <a:lnTo>
                      <a:pt x="468" y="0"/>
                    </a:lnTo>
                    <a:lnTo>
                      <a:pt x="456" y="12"/>
                    </a:lnTo>
                    <a:lnTo>
                      <a:pt x="474" y="12"/>
                    </a:lnTo>
                    <a:lnTo>
                      <a:pt x="474" y="6"/>
                    </a:lnTo>
                    <a:lnTo>
                      <a:pt x="480" y="0"/>
                    </a:lnTo>
                    <a:lnTo>
                      <a:pt x="474" y="0"/>
                    </a:lnTo>
                    <a:close/>
                    <a:moveTo>
                      <a:pt x="432" y="48"/>
                    </a:moveTo>
                    <a:lnTo>
                      <a:pt x="432" y="66"/>
                    </a:lnTo>
                    <a:lnTo>
                      <a:pt x="438" y="66"/>
                    </a:lnTo>
                    <a:lnTo>
                      <a:pt x="444" y="60"/>
                    </a:lnTo>
                    <a:lnTo>
                      <a:pt x="450" y="48"/>
                    </a:lnTo>
                    <a:lnTo>
                      <a:pt x="450" y="24"/>
                    </a:lnTo>
                    <a:lnTo>
                      <a:pt x="438" y="12"/>
                    </a:lnTo>
                    <a:lnTo>
                      <a:pt x="432" y="24"/>
                    </a:lnTo>
                    <a:lnTo>
                      <a:pt x="426" y="30"/>
                    </a:lnTo>
                    <a:lnTo>
                      <a:pt x="420" y="30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2" y="48"/>
                    </a:lnTo>
                    <a:close/>
                    <a:moveTo>
                      <a:pt x="342" y="138"/>
                    </a:moveTo>
                    <a:lnTo>
                      <a:pt x="342" y="150"/>
                    </a:lnTo>
                    <a:lnTo>
                      <a:pt x="354" y="138"/>
                    </a:lnTo>
                    <a:lnTo>
                      <a:pt x="342" y="138"/>
                    </a:lnTo>
                    <a:close/>
                    <a:moveTo>
                      <a:pt x="192" y="402"/>
                    </a:moveTo>
                    <a:lnTo>
                      <a:pt x="192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74" y="390"/>
                    </a:lnTo>
                    <a:lnTo>
                      <a:pt x="174" y="396"/>
                    </a:lnTo>
                    <a:lnTo>
                      <a:pt x="180" y="402"/>
                    </a:lnTo>
                    <a:lnTo>
                      <a:pt x="192" y="402"/>
                    </a:lnTo>
                    <a:close/>
                    <a:moveTo>
                      <a:pt x="504" y="588"/>
                    </a:moveTo>
                    <a:lnTo>
                      <a:pt x="498" y="594"/>
                    </a:lnTo>
                    <a:lnTo>
                      <a:pt x="498" y="600"/>
                    </a:lnTo>
                    <a:lnTo>
                      <a:pt x="480" y="600"/>
                    </a:lnTo>
                    <a:lnTo>
                      <a:pt x="480" y="588"/>
                    </a:lnTo>
                    <a:lnTo>
                      <a:pt x="486" y="576"/>
                    </a:lnTo>
                    <a:lnTo>
                      <a:pt x="498" y="564"/>
                    </a:lnTo>
                    <a:lnTo>
                      <a:pt x="492" y="558"/>
                    </a:lnTo>
                    <a:lnTo>
                      <a:pt x="456" y="540"/>
                    </a:lnTo>
                    <a:lnTo>
                      <a:pt x="450" y="540"/>
                    </a:lnTo>
                    <a:lnTo>
                      <a:pt x="444" y="534"/>
                    </a:lnTo>
                    <a:lnTo>
                      <a:pt x="450" y="534"/>
                    </a:lnTo>
                    <a:lnTo>
                      <a:pt x="456" y="528"/>
                    </a:lnTo>
                    <a:lnTo>
                      <a:pt x="480" y="528"/>
                    </a:lnTo>
                    <a:lnTo>
                      <a:pt x="468" y="516"/>
                    </a:lnTo>
                    <a:lnTo>
                      <a:pt x="468" y="510"/>
                    </a:lnTo>
                    <a:lnTo>
                      <a:pt x="456" y="498"/>
                    </a:lnTo>
                    <a:lnTo>
                      <a:pt x="450" y="486"/>
                    </a:lnTo>
                    <a:lnTo>
                      <a:pt x="432" y="468"/>
                    </a:lnTo>
                    <a:lnTo>
                      <a:pt x="420" y="468"/>
                    </a:lnTo>
                    <a:lnTo>
                      <a:pt x="414" y="456"/>
                    </a:lnTo>
                    <a:lnTo>
                      <a:pt x="402" y="450"/>
                    </a:lnTo>
                    <a:lnTo>
                      <a:pt x="390" y="438"/>
                    </a:lnTo>
                    <a:lnTo>
                      <a:pt x="390" y="414"/>
                    </a:lnTo>
                    <a:lnTo>
                      <a:pt x="396" y="402"/>
                    </a:lnTo>
                    <a:lnTo>
                      <a:pt x="396" y="390"/>
                    </a:lnTo>
                    <a:lnTo>
                      <a:pt x="384" y="390"/>
                    </a:lnTo>
                    <a:lnTo>
                      <a:pt x="378" y="384"/>
                    </a:lnTo>
                    <a:lnTo>
                      <a:pt x="372" y="372"/>
                    </a:lnTo>
                    <a:lnTo>
                      <a:pt x="360" y="360"/>
                    </a:lnTo>
                    <a:lnTo>
                      <a:pt x="342" y="354"/>
                    </a:lnTo>
                    <a:lnTo>
                      <a:pt x="324" y="354"/>
                    </a:lnTo>
                    <a:lnTo>
                      <a:pt x="306" y="360"/>
                    </a:lnTo>
                    <a:lnTo>
                      <a:pt x="294" y="366"/>
                    </a:lnTo>
                    <a:lnTo>
                      <a:pt x="288" y="366"/>
                    </a:lnTo>
                    <a:lnTo>
                      <a:pt x="270" y="348"/>
                    </a:lnTo>
                    <a:lnTo>
                      <a:pt x="282" y="348"/>
                    </a:lnTo>
                    <a:lnTo>
                      <a:pt x="294" y="354"/>
                    </a:lnTo>
                    <a:lnTo>
                      <a:pt x="306" y="354"/>
                    </a:lnTo>
                    <a:lnTo>
                      <a:pt x="330" y="342"/>
                    </a:lnTo>
                    <a:lnTo>
                      <a:pt x="336" y="336"/>
                    </a:lnTo>
                    <a:lnTo>
                      <a:pt x="330" y="336"/>
                    </a:lnTo>
                    <a:lnTo>
                      <a:pt x="324" y="330"/>
                    </a:lnTo>
                    <a:lnTo>
                      <a:pt x="306" y="330"/>
                    </a:lnTo>
                    <a:lnTo>
                      <a:pt x="330" y="324"/>
                    </a:lnTo>
                    <a:lnTo>
                      <a:pt x="336" y="318"/>
                    </a:lnTo>
                    <a:lnTo>
                      <a:pt x="348" y="312"/>
                    </a:lnTo>
                    <a:lnTo>
                      <a:pt x="360" y="300"/>
                    </a:lnTo>
                    <a:lnTo>
                      <a:pt x="360" y="288"/>
                    </a:lnTo>
                    <a:lnTo>
                      <a:pt x="366" y="276"/>
                    </a:lnTo>
                    <a:lnTo>
                      <a:pt x="372" y="270"/>
                    </a:lnTo>
                    <a:lnTo>
                      <a:pt x="378" y="258"/>
                    </a:lnTo>
                    <a:lnTo>
                      <a:pt x="384" y="252"/>
                    </a:lnTo>
                    <a:lnTo>
                      <a:pt x="396" y="246"/>
                    </a:lnTo>
                    <a:lnTo>
                      <a:pt x="402" y="246"/>
                    </a:lnTo>
                    <a:lnTo>
                      <a:pt x="402" y="240"/>
                    </a:lnTo>
                    <a:lnTo>
                      <a:pt x="396" y="234"/>
                    </a:lnTo>
                    <a:lnTo>
                      <a:pt x="318" y="234"/>
                    </a:lnTo>
                    <a:lnTo>
                      <a:pt x="318" y="228"/>
                    </a:lnTo>
                    <a:lnTo>
                      <a:pt x="288" y="228"/>
                    </a:lnTo>
                    <a:lnTo>
                      <a:pt x="276" y="234"/>
                    </a:lnTo>
                    <a:lnTo>
                      <a:pt x="264" y="234"/>
                    </a:lnTo>
                    <a:lnTo>
                      <a:pt x="258" y="240"/>
                    </a:lnTo>
                    <a:lnTo>
                      <a:pt x="252" y="240"/>
                    </a:lnTo>
                    <a:lnTo>
                      <a:pt x="264" y="228"/>
                    </a:lnTo>
                    <a:lnTo>
                      <a:pt x="252" y="216"/>
                    </a:lnTo>
                    <a:lnTo>
                      <a:pt x="270" y="210"/>
                    </a:lnTo>
                    <a:lnTo>
                      <a:pt x="300" y="192"/>
                    </a:lnTo>
                    <a:lnTo>
                      <a:pt x="312" y="186"/>
                    </a:lnTo>
                    <a:lnTo>
                      <a:pt x="324" y="162"/>
                    </a:lnTo>
                    <a:lnTo>
                      <a:pt x="318" y="156"/>
                    </a:lnTo>
                    <a:lnTo>
                      <a:pt x="288" y="156"/>
                    </a:lnTo>
                    <a:lnTo>
                      <a:pt x="276" y="162"/>
                    </a:lnTo>
                    <a:lnTo>
                      <a:pt x="258" y="168"/>
                    </a:lnTo>
                    <a:lnTo>
                      <a:pt x="240" y="168"/>
                    </a:lnTo>
                    <a:lnTo>
                      <a:pt x="228" y="162"/>
                    </a:lnTo>
                    <a:lnTo>
                      <a:pt x="216" y="162"/>
                    </a:lnTo>
                    <a:lnTo>
                      <a:pt x="210" y="168"/>
                    </a:lnTo>
                    <a:lnTo>
                      <a:pt x="210" y="174"/>
                    </a:lnTo>
                    <a:lnTo>
                      <a:pt x="216" y="180"/>
                    </a:lnTo>
                    <a:lnTo>
                      <a:pt x="204" y="180"/>
                    </a:lnTo>
                    <a:lnTo>
                      <a:pt x="192" y="192"/>
                    </a:lnTo>
                    <a:lnTo>
                      <a:pt x="192" y="210"/>
                    </a:lnTo>
                    <a:lnTo>
                      <a:pt x="198" y="216"/>
                    </a:lnTo>
                    <a:lnTo>
                      <a:pt x="156" y="222"/>
                    </a:lnTo>
                    <a:lnTo>
                      <a:pt x="156" y="234"/>
                    </a:lnTo>
                    <a:lnTo>
                      <a:pt x="168" y="240"/>
                    </a:lnTo>
                    <a:lnTo>
                      <a:pt x="180" y="264"/>
                    </a:lnTo>
                    <a:lnTo>
                      <a:pt x="162" y="282"/>
                    </a:lnTo>
                    <a:lnTo>
                      <a:pt x="162" y="294"/>
                    </a:lnTo>
                    <a:lnTo>
                      <a:pt x="144" y="300"/>
                    </a:lnTo>
                    <a:lnTo>
                      <a:pt x="156" y="312"/>
                    </a:lnTo>
                    <a:lnTo>
                      <a:pt x="168" y="312"/>
                    </a:lnTo>
                    <a:lnTo>
                      <a:pt x="180" y="306"/>
                    </a:lnTo>
                    <a:lnTo>
                      <a:pt x="186" y="300"/>
                    </a:lnTo>
                    <a:lnTo>
                      <a:pt x="186" y="318"/>
                    </a:lnTo>
                    <a:lnTo>
                      <a:pt x="180" y="318"/>
                    </a:lnTo>
                    <a:lnTo>
                      <a:pt x="168" y="330"/>
                    </a:lnTo>
                    <a:lnTo>
                      <a:pt x="156" y="336"/>
                    </a:lnTo>
                    <a:lnTo>
                      <a:pt x="156" y="360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98" y="366"/>
                    </a:lnTo>
                    <a:lnTo>
                      <a:pt x="210" y="360"/>
                    </a:lnTo>
                    <a:lnTo>
                      <a:pt x="216" y="354"/>
                    </a:lnTo>
                    <a:lnTo>
                      <a:pt x="198" y="372"/>
                    </a:lnTo>
                    <a:lnTo>
                      <a:pt x="210" y="402"/>
                    </a:lnTo>
                    <a:lnTo>
                      <a:pt x="204" y="408"/>
                    </a:lnTo>
                    <a:lnTo>
                      <a:pt x="198" y="420"/>
                    </a:lnTo>
                    <a:lnTo>
                      <a:pt x="186" y="426"/>
                    </a:ln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204" y="456"/>
                    </a:lnTo>
                    <a:lnTo>
                      <a:pt x="216" y="450"/>
                    </a:lnTo>
                    <a:lnTo>
                      <a:pt x="240" y="450"/>
                    </a:lnTo>
                    <a:lnTo>
                      <a:pt x="252" y="444"/>
                    </a:lnTo>
                    <a:lnTo>
                      <a:pt x="258" y="438"/>
                    </a:lnTo>
                    <a:lnTo>
                      <a:pt x="270" y="432"/>
                    </a:lnTo>
                    <a:lnTo>
                      <a:pt x="300" y="438"/>
                    </a:lnTo>
                    <a:lnTo>
                      <a:pt x="288" y="444"/>
                    </a:lnTo>
                    <a:lnTo>
                      <a:pt x="264" y="468"/>
                    </a:lnTo>
                    <a:lnTo>
                      <a:pt x="264" y="474"/>
                    </a:lnTo>
                    <a:lnTo>
                      <a:pt x="282" y="492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6" y="498"/>
                    </a:lnTo>
                    <a:lnTo>
                      <a:pt x="312" y="516"/>
                    </a:lnTo>
                    <a:lnTo>
                      <a:pt x="294" y="534"/>
                    </a:lnTo>
                    <a:lnTo>
                      <a:pt x="294" y="564"/>
                    </a:lnTo>
                    <a:lnTo>
                      <a:pt x="222" y="564"/>
                    </a:lnTo>
                    <a:lnTo>
                      <a:pt x="216" y="558"/>
                    </a:lnTo>
                    <a:lnTo>
                      <a:pt x="198" y="558"/>
                    </a:lnTo>
                    <a:lnTo>
                      <a:pt x="192" y="564"/>
                    </a:lnTo>
                    <a:lnTo>
                      <a:pt x="210" y="582"/>
                    </a:lnTo>
                    <a:lnTo>
                      <a:pt x="186" y="600"/>
                    </a:lnTo>
                    <a:lnTo>
                      <a:pt x="228" y="594"/>
                    </a:lnTo>
                    <a:lnTo>
                      <a:pt x="228" y="618"/>
                    </a:lnTo>
                    <a:lnTo>
                      <a:pt x="216" y="642"/>
                    </a:lnTo>
                    <a:lnTo>
                      <a:pt x="210" y="648"/>
                    </a:lnTo>
                    <a:lnTo>
                      <a:pt x="198" y="654"/>
                    </a:lnTo>
                    <a:lnTo>
                      <a:pt x="180" y="660"/>
                    </a:lnTo>
                    <a:lnTo>
                      <a:pt x="168" y="666"/>
                    </a:lnTo>
                    <a:lnTo>
                      <a:pt x="162" y="666"/>
                    </a:lnTo>
                    <a:lnTo>
                      <a:pt x="162" y="690"/>
                    </a:lnTo>
                    <a:lnTo>
                      <a:pt x="168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92" y="684"/>
                    </a:lnTo>
                    <a:lnTo>
                      <a:pt x="198" y="678"/>
                    </a:lnTo>
                    <a:lnTo>
                      <a:pt x="204" y="684"/>
                    </a:lnTo>
                    <a:lnTo>
                      <a:pt x="204" y="690"/>
                    </a:lnTo>
                    <a:lnTo>
                      <a:pt x="210" y="696"/>
                    </a:lnTo>
                    <a:lnTo>
                      <a:pt x="234" y="696"/>
                    </a:lnTo>
                    <a:lnTo>
                      <a:pt x="240" y="702"/>
                    </a:lnTo>
                    <a:lnTo>
                      <a:pt x="252" y="708"/>
                    </a:lnTo>
                    <a:lnTo>
                      <a:pt x="258" y="708"/>
                    </a:lnTo>
                    <a:lnTo>
                      <a:pt x="276" y="702"/>
                    </a:lnTo>
                    <a:lnTo>
                      <a:pt x="288" y="696"/>
                    </a:lnTo>
                    <a:lnTo>
                      <a:pt x="294" y="690"/>
                    </a:lnTo>
                    <a:lnTo>
                      <a:pt x="318" y="690"/>
                    </a:lnTo>
                    <a:lnTo>
                      <a:pt x="312" y="696"/>
                    </a:lnTo>
                    <a:lnTo>
                      <a:pt x="300" y="702"/>
                    </a:lnTo>
                    <a:lnTo>
                      <a:pt x="294" y="714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10" y="726"/>
                    </a:lnTo>
                    <a:lnTo>
                      <a:pt x="210" y="738"/>
                    </a:lnTo>
                    <a:lnTo>
                      <a:pt x="198" y="738"/>
                    </a:lnTo>
                    <a:lnTo>
                      <a:pt x="186" y="744"/>
                    </a:lnTo>
                    <a:lnTo>
                      <a:pt x="180" y="750"/>
                    </a:lnTo>
                    <a:lnTo>
                      <a:pt x="180" y="768"/>
                    </a:lnTo>
                    <a:lnTo>
                      <a:pt x="174" y="774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86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14" y="810"/>
                    </a:lnTo>
                    <a:lnTo>
                      <a:pt x="108" y="810"/>
                    </a:lnTo>
                    <a:lnTo>
                      <a:pt x="108" y="816"/>
                    </a:lnTo>
                    <a:lnTo>
                      <a:pt x="114" y="816"/>
                    </a:lnTo>
                    <a:lnTo>
                      <a:pt x="120" y="822"/>
                    </a:lnTo>
                    <a:lnTo>
                      <a:pt x="150" y="822"/>
                    </a:lnTo>
                    <a:lnTo>
                      <a:pt x="156" y="810"/>
                    </a:lnTo>
                    <a:lnTo>
                      <a:pt x="174" y="792"/>
                    </a:lnTo>
                    <a:lnTo>
                      <a:pt x="210" y="792"/>
                    </a:lnTo>
                    <a:lnTo>
                      <a:pt x="216" y="798"/>
                    </a:lnTo>
                    <a:lnTo>
                      <a:pt x="228" y="804"/>
                    </a:lnTo>
                    <a:lnTo>
                      <a:pt x="240" y="804"/>
                    </a:lnTo>
                    <a:lnTo>
                      <a:pt x="246" y="792"/>
                    </a:lnTo>
                    <a:lnTo>
                      <a:pt x="252" y="786"/>
                    </a:lnTo>
                    <a:lnTo>
                      <a:pt x="258" y="774"/>
                    </a:lnTo>
                    <a:lnTo>
                      <a:pt x="270" y="762"/>
                    </a:lnTo>
                    <a:lnTo>
                      <a:pt x="288" y="762"/>
                    </a:lnTo>
                    <a:lnTo>
                      <a:pt x="300" y="774"/>
                    </a:lnTo>
                    <a:lnTo>
                      <a:pt x="330" y="774"/>
                    </a:lnTo>
                    <a:lnTo>
                      <a:pt x="354" y="762"/>
                    </a:lnTo>
                    <a:lnTo>
                      <a:pt x="360" y="762"/>
                    </a:lnTo>
                    <a:lnTo>
                      <a:pt x="366" y="768"/>
                    </a:lnTo>
                    <a:lnTo>
                      <a:pt x="378" y="768"/>
                    </a:lnTo>
                    <a:lnTo>
                      <a:pt x="390" y="774"/>
                    </a:lnTo>
                    <a:lnTo>
                      <a:pt x="396" y="774"/>
                    </a:lnTo>
                    <a:lnTo>
                      <a:pt x="396" y="768"/>
                    </a:lnTo>
                    <a:lnTo>
                      <a:pt x="390" y="762"/>
                    </a:lnTo>
                    <a:lnTo>
                      <a:pt x="390" y="750"/>
                    </a:lnTo>
                    <a:lnTo>
                      <a:pt x="396" y="750"/>
                    </a:lnTo>
                    <a:lnTo>
                      <a:pt x="408" y="756"/>
                    </a:lnTo>
                    <a:lnTo>
                      <a:pt x="414" y="762"/>
                    </a:lnTo>
                    <a:lnTo>
                      <a:pt x="426" y="756"/>
                    </a:lnTo>
                    <a:lnTo>
                      <a:pt x="498" y="756"/>
                    </a:lnTo>
                    <a:lnTo>
                      <a:pt x="522" y="750"/>
                    </a:lnTo>
                    <a:lnTo>
                      <a:pt x="534" y="744"/>
                    </a:lnTo>
                    <a:lnTo>
                      <a:pt x="540" y="732"/>
                    </a:lnTo>
                    <a:lnTo>
                      <a:pt x="546" y="726"/>
                    </a:lnTo>
                    <a:lnTo>
                      <a:pt x="552" y="714"/>
                    </a:lnTo>
                    <a:lnTo>
                      <a:pt x="498" y="708"/>
                    </a:lnTo>
                    <a:lnTo>
                      <a:pt x="522" y="702"/>
                    </a:lnTo>
                    <a:lnTo>
                      <a:pt x="516" y="684"/>
                    </a:lnTo>
                    <a:lnTo>
                      <a:pt x="528" y="672"/>
                    </a:lnTo>
                    <a:lnTo>
                      <a:pt x="540" y="666"/>
                    </a:lnTo>
                    <a:lnTo>
                      <a:pt x="546" y="666"/>
                    </a:lnTo>
                    <a:lnTo>
                      <a:pt x="558" y="660"/>
                    </a:lnTo>
                    <a:lnTo>
                      <a:pt x="564" y="654"/>
                    </a:lnTo>
                    <a:lnTo>
                      <a:pt x="576" y="618"/>
                    </a:lnTo>
                    <a:lnTo>
                      <a:pt x="570" y="606"/>
                    </a:lnTo>
                    <a:lnTo>
                      <a:pt x="564" y="600"/>
                    </a:lnTo>
                    <a:lnTo>
                      <a:pt x="552" y="594"/>
                    </a:lnTo>
                    <a:lnTo>
                      <a:pt x="540" y="594"/>
                    </a:lnTo>
                    <a:lnTo>
                      <a:pt x="528" y="588"/>
                    </a:lnTo>
                    <a:lnTo>
                      <a:pt x="504" y="588"/>
                    </a:lnTo>
                    <a:close/>
                    <a:moveTo>
                      <a:pt x="222" y="486"/>
                    </a:moveTo>
                    <a:lnTo>
                      <a:pt x="216" y="480"/>
                    </a:lnTo>
                    <a:lnTo>
                      <a:pt x="204" y="480"/>
                    </a:lnTo>
                    <a:lnTo>
                      <a:pt x="204" y="486"/>
                    </a:lnTo>
                    <a:lnTo>
                      <a:pt x="198" y="498"/>
                    </a:lnTo>
                    <a:lnTo>
                      <a:pt x="192" y="504"/>
                    </a:lnTo>
                    <a:lnTo>
                      <a:pt x="210" y="504"/>
                    </a:lnTo>
                    <a:lnTo>
                      <a:pt x="222" y="492"/>
                    </a:lnTo>
                    <a:lnTo>
                      <a:pt x="222" y="486"/>
                    </a:lnTo>
                    <a:close/>
                    <a:moveTo>
                      <a:pt x="126" y="504"/>
                    </a:moveTo>
                    <a:lnTo>
                      <a:pt x="132" y="498"/>
                    </a:lnTo>
                    <a:lnTo>
                      <a:pt x="132" y="492"/>
                    </a:lnTo>
                    <a:lnTo>
                      <a:pt x="144" y="492"/>
                    </a:lnTo>
                    <a:lnTo>
                      <a:pt x="150" y="480"/>
                    </a:lnTo>
                    <a:lnTo>
                      <a:pt x="156" y="474"/>
                    </a:lnTo>
                    <a:lnTo>
                      <a:pt x="156" y="462"/>
                    </a:lnTo>
                    <a:lnTo>
                      <a:pt x="138" y="444"/>
                    </a:lnTo>
                    <a:lnTo>
                      <a:pt x="138" y="432"/>
                    </a:lnTo>
                    <a:lnTo>
                      <a:pt x="132" y="438"/>
                    </a:lnTo>
                    <a:lnTo>
                      <a:pt x="126" y="426"/>
                    </a:lnTo>
                    <a:lnTo>
                      <a:pt x="120" y="420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30" y="450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18" y="468"/>
                    </a:lnTo>
                    <a:lnTo>
                      <a:pt x="12" y="468"/>
                    </a:lnTo>
                    <a:lnTo>
                      <a:pt x="0" y="480"/>
                    </a:lnTo>
                    <a:lnTo>
                      <a:pt x="6" y="486"/>
                    </a:lnTo>
                    <a:lnTo>
                      <a:pt x="30" y="498"/>
                    </a:lnTo>
                    <a:lnTo>
                      <a:pt x="42" y="498"/>
                    </a:lnTo>
                    <a:lnTo>
                      <a:pt x="66" y="474"/>
                    </a:lnTo>
                    <a:lnTo>
                      <a:pt x="84" y="498"/>
                    </a:lnTo>
                    <a:lnTo>
                      <a:pt x="120" y="504"/>
                    </a:lnTo>
                    <a:lnTo>
                      <a:pt x="126" y="504"/>
                    </a:lnTo>
                    <a:close/>
                    <a:moveTo>
                      <a:pt x="78" y="228"/>
                    </a:moveTo>
                    <a:lnTo>
                      <a:pt x="72" y="228"/>
                    </a:lnTo>
                    <a:lnTo>
                      <a:pt x="66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84" y="228"/>
                    </a:lnTo>
                    <a:lnTo>
                      <a:pt x="78" y="228"/>
                    </a:lnTo>
                    <a:close/>
                    <a:moveTo>
                      <a:pt x="108" y="210"/>
                    </a:moveTo>
                    <a:lnTo>
                      <a:pt x="126" y="210"/>
                    </a:lnTo>
                    <a:lnTo>
                      <a:pt x="132" y="204"/>
                    </a:lnTo>
                    <a:lnTo>
                      <a:pt x="132" y="198"/>
                    </a:lnTo>
                    <a:lnTo>
                      <a:pt x="138" y="186"/>
                    </a:lnTo>
                    <a:lnTo>
                      <a:pt x="150" y="174"/>
                    </a:lnTo>
                    <a:lnTo>
                      <a:pt x="150" y="168"/>
                    </a:lnTo>
                    <a:lnTo>
                      <a:pt x="138" y="174"/>
                    </a:lnTo>
                    <a:lnTo>
                      <a:pt x="132" y="174"/>
                    </a:lnTo>
                    <a:lnTo>
                      <a:pt x="114" y="192"/>
                    </a:lnTo>
                    <a:lnTo>
                      <a:pt x="108" y="186"/>
                    </a:lnTo>
                    <a:lnTo>
                      <a:pt x="96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6" y="216"/>
                    </a:lnTo>
                    <a:lnTo>
                      <a:pt x="96" y="228"/>
                    </a:lnTo>
                    <a:lnTo>
                      <a:pt x="108" y="210"/>
                    </a:lnTo>
                    <a:close/>
                    <a:moveTo>
                      <a:pt x="72" y="252"/>
                    </a:moveTo>
                    <a:lnTo>
                      <a:pt x="60" y="282"/>
                    </a:lnTo>
                    <a:lnTo>
                      <a:pt x="78" y="258"/>
                    </a:lnTo>
                    <a:lnTo>
                      <a:pt x="72" y="25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28" name="Ukrai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5540A01-9CB0-78EF-B686-915E40D99F5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60282" y="2027310"/>
                <a:ext cx="501958" cy="282057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29" name="Turke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6817735-82D6-6AFA-22BB-DE81E433006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63157" y="2387421"/>
                <a:ext cx="597738" cy="227063"/>
              </a:xfrm>
              <a:custGeom>
                <a:avLst/>
                <a:gdLst>
                  <a:gd name="T0" fmla="*/ 2147483647 w 1332"/>
                  <a:gd name="T1" fmla="*/ 2147483647 h 510"/>
                  <a:gd name="T2" fmla="*/ 2147483647 w 1332"/>
                  <a:gd name="T3" fmla="*/ 2147483647 h 510"/>
                  <a:gd name="T4" fmla="*/ 2147483647 w 1332"/>
                  <a:gd name="T5" fmla="*/ 2147483647 h 510"/>
                  <a:gd name="T6" fmla="*/ 2147483647 w 1332"/>
                  <a:gd name="T7" fmla="*/ 2147483647 h 510"/>
                  <a:gd name="T8" fmla="*/ 2147483647 w 1332"/>
                  <a:gd name="T9" fmla="*/ 2147483647 h 510"/>
                  <a:gd name="T10" fmla="*/ 2147483647 w 1332"/>
                  <a:gd name="T11" fmla="*/ 2147483647 h 510"/>
                  <a:gd name="T12" fmla="*/ 2147483647 w 1332"/>
                  <a:gd name="T13" fmla="*/ 2147483647 h 510"/>
                  <a:gd name="T14" fmla="*/ 2147483647 w 1332"/>
                  <a:gd name="T15" fmla="*/ 2147483647 h 510"/>
                  <a:gd name="T16" fmla="*/ 2147483647 w 1332"/>
                  <a:gd name="T17" fmla="*/ 2147483647 h 510"/>
                  <a:gd name="T18" fmla="*/ 2147483647 w 1332"/>
                  <a:gd name="T19" fmla="*/ 2147483647 h 510"/>
                  <a:gd name="T20" fmla="*/ 2147483647 w 1332"/>
                  <a:gd name="T21" fmla="*/ 2147483647 h 510"/>
                  <a:gd name="T22" fmla="*/ 2147483647 w 1332"/>
                  <a:gd name="T23" fmla="*/ 2147483647 h 510"/>
                  <a:gd name="T24" fmla="*/ 2147483647 w 1332"/>
                  <a:gd name="T25" fmla="*/ 2147483647 h 510"/>
                  <a:gd name="T26" fmla="*/ 2147483647 w 1332"/>
                  <a:gd name="T27" fmla="*/ 2147483647 h 510"/>
                  <a:gd name="T28" fmla="*/ 2147483647 w 1332"/>
                  <a:gd name="T29" fmla="*/ 2147483647 h 510"/>
                  <a:gd name="T30" fmla="*/ 2147483647 w 1332"/>
                  <a:gd name="T31" fmla="*/ 2147483647 h 510"/>
                  <a:gd name="T32" fmla="*/ 2147483647 w 1332"/>
                  <a:gd name="T33" fmla="*/ 2147483647 h 510"/>
                  <a:gd name="T34" fmla="*/ 2147483647 w 1332"/>
                  <a:gd name="T35" fmla="*/ 2147483647 h 510"/>
                  <a:gd name="T36" fmla="*/ 2147483647 w 1332"/>
                  <a:gd name="T37" fmla="*/ 2147483647 h 510"/>
                  <a:gd name="T38" fmla="*/ 2147483647 w 1332"/>
                  <a:gd name="T39" fmla="*/ 2147483647 h 510"/>
                  <a:gd name="T40" fmla="*/ 2147483647 w 1332"/>
                  <a:gd name="T41" fmla="*/ 2147483647 h 510"/>
                  <a:gd name="T42" fmla="*/ 2147483647 w 1332"/>
                  <a:gd name="T43" fmla="*/ 2147483647 h 510"/>
                  <a:gd name="T44" fmla="*/ 2147483647 w 1332"/>
                  <a:gd name="T45" fmla="*/ 2147483647 h 510"/>
                  <a:gd name="T46" fmla="*/ 2147483647 w 1332"/>
                  <a:gd name="T47" fmla="*/ 2147483647 h 510"/>
                  <a:gd name="T48" fmla="*/ 2147483647 w 1332"/>
                  <a:gd name="T49" fmla="*/ 2147483647 h 510"/>
                  <a:gd name="T50" fmla="*/ 2147483647 w 1332"/>
                  <a:gd name="T51" fmla="*/ 2147483647 h 510"/>
                  <a:gd name="T52" fmla="*/ 2147483647 w 1332"/>
                  <a:gd name="T53" fmla="*/ 2147483647 h 510"/>
                  <a:gd name="T54" fmla="*/ 2147483647 w 1332"/>
                  <a:gd name="T55" fmla="*/ 2147483647 h 510"/>
                  <a:gd name="T56" fmla="*/ 2147483647 w 1332"/>
                  <a:gd name="T57" fmla="*/ 2147483647 h 510"/>
                  <a:gd name="T58" fmla="*/ 2147483647 w 1332"/>
                  <a:gd name="T59" fmla="*/ 2147483647 h 510"/>
                  <a:gd name="T60" fmla="*/ 2147483647 w 1332"/>
                  <a:gd name="T61" fmla="*/ 2147483647 h 510"/>
                  <a:gd name="T62" fmla="*/ 2147483647 w 1332"/>
                  <a:gd name="T63" fmla="*/ 2147483647 h 510"/>
                  <a:gd name="T64" fmla="*/ 2147483647 w 1332"/>
                  <a:gd name="T65" fmla="*/ 2147483647 h 510"/>
                  <a:gd name="T66" fmla="*/ 2147483647 w 1332"/>
                  <a:gd name="T67" fmla="*/ 2147483647 h 510"/>
                  <a:gd name="T68" fmla="*/ 2147483647 w 1332"/>
                  <a:gd name="T69" fmla="*/ 2147483647 h 510"/>
                  <a:gd name="T70" fmla="*/ 2147483647 w 1332"/>
                  <a:gd name="T71" fmla="*/ 2147483647 h 510"/>
                  <a:gd name="T72" fmla="*/ 2147483647 w 1332"/>
                  <a:gd name="T73" fmla="*/ 2147483647 h 510"/>
                  <a:gd name="T74" fmla="*/ 2147483647 w 1332"/>
                  <a:gd name="T75" fmla="*/ 2147483647 h 510"/>
                  <a:gd name="T76" fmla="*/ 2147483647 w 1332"/>
                  <a:gd name="T77" fmla="*/ 2147483647 h 510"/>
                  <a:gd name="T78" fmla="*/ 2147483647 w 1332"/>
                  <a:gd name="T79" fmla="*/ 2147483647 h 510"/>
                  <a:gd name="T80" fmla="*/ 2147483647 w 1332"/>
                  <a:gd name="T81" fmla="*/ 2147483647 h 510"/>
                  <a:gd name="T82" fmla="*/ 2147483647 w 1332"/>
                  <a:gd name="T83" fmla="*/ 2147483647 h 510"/>
                  <a:gd name="T84" fmla="*/ 2147483647 w 1332"/>
                  <a:gd name="T85" fmla="*/ 2147483647 h 510"/>
                  <a:gd name="T86" fmla="*/ 2147483647 w 1332"/>
                  <a:gd name="T87" fmla="*/ 2147483647 h 510"/>
                  <a:gd name="T88" fmla="*/ 2147483647 w 1332"/>
                  <a:gd name="T89" fmla="*/ 2147483647 h 510"/>
                  <a:gd name="T90" fmla="*/ 2147483647 w 1332"/>
                  <a:gd name="T91" fmla="*/ 2147483647 h 510"/>
                  <a:gd name="T92" fmla="*/ 2147483647 w 1332"/>
                  <a:gd name="T93" fmla="*/ 2147483647 h 510"/>
                  <a:gd name="T94" fmla="*/ 2147483647 w 1332"/>
                  <a:gd name="T95" fmla="*/ 2147483647 h 510"/>
                  <a:gd name="T96" fmla="*/ 2147483647 w 1332"/>
                  <a:gd name="T97" fmla="*/ 2147483647 h 510"/>
                  <a:gd name="T98" fmla="*/ 2147483647 w 1332"/>
                  <a:gd name="T99" fmla="*/ 2147483647 h 510"/>
                  <a:gd name="T100" fmla="*/ 2147483647 w 1332"/>
                  <a:gd name="T101" fmla="*/ 2147483647 h 510"/>
                  <a:gd name="T102" fmla="*/ 2147483647 w 1332"/>
                  <a:gd name="T103" fmla="*/ 2147483647 h 510"/>
                  <a:gd name="T104" fmla="*/ 2147483647 w 1332"/>
                  <a:gd name="T105" fmla="*/ 2147483647 h 510"/>
                  <a:gd name="T106" fmla="*/ 2147483647 w 1332"/>
                  <a:gd name="T107" fmla="*/ 2147483647 h 510"/>
                  <a:gd name="T108" fmla="*/ 2147483647 w 1332"/>
                  <a:gd name="T109" fmla="*/ 2147483647 h 510"/>
                  <a:gd name="T110" fmla="*/ 2147483647 w 1332"/>
                  <a:gd name="T111" fmla="*/ 2147483647 h 510"/>
                  <a:gd name="T112" fmla="*/ 2147483647 w 1332"/>
                  <a:gd name="T113" fmla="*/ 2147483647 h 510"/>
                  <a:gd name="T114" fmla="*/ 2147483647 w 1332"/>
                  <a:gd name="T115" fmla="*/ 2147483647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32"/>
                  <a:gd name="T175" fmla="*/ 0 h 510"/>
                  <a:gd name="T176" fmla="*/ 1332 w 1332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32" h="510">
                    <a:moveTo>
                      <a:pt x="6" y="192"/>
                    </a:moveTo>
                    <a:lnTo>
                      <a:pt x="24" y="186"/>
                    </a:lnTo>
                    <a:lnTo>
                      <a:pt x="30" y="174"/>
                    </a:lnTo>
                    <a:lnTo>
                      <a:pt x="0" y="174"/>
                    </a:lnTo>
                    <a:lnTo>
                      <a:pt x="6" y="192"/>
                    </a:lnTo>
                    <a:close/>
                    <a:moveTo>
                      <a:pt x="42" y="162"/>
                    </a:move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42" y="162"/>
                    </a:lnTo>
                    <a:close/>
                    <a:moveTo>
                      <a:pt x="96" y="138"/>
                    </a:moveTo>
                    <a:lnTo>
                      <a:pt x="66" y="138"/>
                    </a:lnTo>
                    <a:lnTo>
                      <a:pt x="66" y="174"/>
                    </a:lnTo>
                    <a:lnTo>
                      <a:pt x="78" y="150"/>
                    </a:lnTo>
                    <a:lnTo>
                      <a:pt x="96" y="138"/>
                    </a:lnTo>
                    <a:close/>
                    <a:moveTo>
                      <a:pt x="1332" y="402"/>
                    </a:moveTo>
                    <a:lnTo>
                      <a:pt x="1332" y="390"/>
                    </a:lnTo>
                    <a:lnTo>
                      <a:pt x="1308" y="384"/>
                    </a:lnTo>
                    <a:lnTo>
                      <a:pt x="1308" y="354"/>
                    </a:lnTo>
                    <a:lnTo>
                      <a:pt x="1272" y="336"/>
                    </a:lnTo>
                    <a:lnTo>
                      <a:pt x="1278" y="330"/>
                    </a:lnTo>
                    <a:lnTo>
                      <a:pt x="1284" y="318"/>
                    </a:lnTo>
                    <a:lnTo>
                      <a:pt x="1284" y="312"/>
                    </a:lnTo>
                    <a:lnTo>
                      <a:pt x="1290" y="306"/>
                    </a:lnTo>
                    <a:lnTo>
                      <a:pt x="1284" y="306"/>
                    </a:lnTo>
                    <a:lnTo>
                      <a:pt x="1278" y="300"/>
                    </a:lnTo>
                    <a:lnTo>
                      <a:pt x="1278" y="288"/>
                    </a:lnTo>
                    <a:lnTo>
                      <a:pt x="1266" y="276"/>
                    </a:lnTo>
                    <a:lnTo>
                      <a:pt x="1266" y="246"/>
                    </a:lnTo>
                    <a:lnTo>
                      <a:pt x="1248" y="222"/>
                    </a:lnTo>
                    <a:lnTo>
                      <a:pt x="1272" y="222"/>
                    </a:lnTo>
                    <a:lnTo>
                      <a:pt x="1272" y="216"/>
                    </a:lnTo>
                    <a:lnTo>
                      <a:pt x="1278" y="210"/>
                    </a:lnTo>
                    <a:lnTo>
                      <a:pt x="1272" y="198"/>
                    </a:lnTo>
                    <a:lnTo>
                      <a:pt x="1272" y="186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60" y="174"/>
                    </a:lnTo>
                    <a:lnTo>
                      <a:pt x="1248" y="180"/>
                    </a:lnTo>
                    <a:lnTo>
                      <a:pt x="1236" y="180"/>
                    </a:lnTo>
                    <a:lnTo>
                      <a:pt x="1224" y="174"/>
                    </a:lnTo>
                    <a:lnTo>
                      <a:pt x="1218" y="168"/>
                    </a:lnTo>
                    <a:lnTo>
                      <a:pt x="1212" y="156"/>
                    </a:lnTo>
                    <a:lnTo>
                      <a:pt x="1212" y="144"/>
                    </a:lnTo>
                    <a:lnTo>
                      <a:pt x="1200" y="108"/>
                    </a:lnTo>
                    <a:lnTo>
                      <a:pt x="1194" y="96"/>
                    </a:lnTo>
                    <a:lnTo>
                      <a:pt x="1194" y="84"/>
                    </a:lnTo>
                    <a:lnTo>
                      <a:pt x="1188" y="78"/>
                    </a:lnTo>
                    <a:lnTo>
                      <a:pt x="1164" y="78"/>
                    </a:lnTo>
                    <a:lnTo>
                      <a:pt x="1164" y="72"/>
                    </a:lnTo>
                    <a:lnTo>
                      <a:pt x="1158" y="60"/>
                    </a:lnTo>
                    <a:lnTo>
                      <a:pt x="1152" y="54"/>
                    </a:lnTo>
                    <a:lnTo>
                      <a:pt x="1140" y="48"/>
                    </a:lnTo>
                    <a:lnTo>
                      <a:pt x="1128" y="48"/>
                    </a:lnTo>
                    <a:lnTo>
                      <a:pt x="1116" y="54"/>
                    </a:lnTo>
                    <a:lnTo>
                      <a:pt x="1110" y="60"/>
                    </a:lnTo>
                    <a:lnTo>
                      <a:pt x="1074" y="54"/>
                    </a:lnTo>
                    <a:lnTo>
                      <a:pt x="1062" y="66"/>
                    </a:lnTo>
                    <a:lnTo>
                      <a:pt x="1026" y="90"/>
                    </a:lnTo>
                    <a:lnTo>
                      <a:pt x="1014" y="96"/>
                    </a:lnTo>
                    <a:lnTo>
                      <a:pt x="930" y="96"/>
                    </a:lnTo>
                    <a:lnTo>
                      <a:pt x="876" y="108"/>
                    </a:lnTo>
                    <a:lnTo>
                      <a:pt x="810" y="84"/>
                    </a:lnTo>
                    <a:lnTo>
                      <a:pt x="786" y="96"/>
                    </a:lnTo>
                    <a:lnTo>
                      <a:pt x="786" y="90"/>
                    </a:lnTo>
                    <a:lnTo>
                      <a:pt x="780" y="84"/>
                    </a:lnTo>
                    <a:lnTo>
                      <a:pt x="774" y="72"/>
                    </a:lnTo>
                    <a:lnTo>
                      <a:pt x="768" y="66"/>
                    </a:lnTo>
                    <a:lnTo>
                      <a:pt x="756" y="66"/>
                    </a:lnTo>
                    <a:lnTo>
                      <a:pt x="744" y="72"/>
                    </a:lnTo>
                    <a:lnTo>
                      <a:pt x="738" y="78"/>
                    </a:lnTo>
                    <a:lnTo>
                      <a:pt x="708" y="60"/>
                    </a:lnTo>
                    <a:lnTo>
                      <a:pt x="708" y="36"/>
                    </a:lnTo>
                    <a:lnTo>
                      <a:pt x="660" y="48"/>
                    </a:lnTo>
                    <a:lnTo>
                      <a:pt x="636" y="30"/>
                    </a:lnTo>
                    <a:lnTo>
                      <a:pt x="630" y="12"/>
                    </a:lnTo>
                    <a:lnTo>
                      <a:pt x="624" y="12"/>
                    </a:lnTo>
                    <a:lnTo>
                      <a:pt x="618" y="18"/>
                    </a:lnTo>
                    <a:lnTo>
                      <a:pt x="600" y="18"/>
                    </a:lnTo>
                    <a:lnTo>
                      <a:pt x="588" y="24"/>
                    </a:lnTo>
                    <a:lnTo>
                      <a:pt x="558" y="24"/>
                    </a:lnTo>
                    <a:lnTo>
                      <a:pt x="534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56" y="36"/>
                    </a:lnTo>
                    <a:lnTo>
                      <a:pt x="444" y="42"/>
                    </a:lnTo>
                    <a:lnTo>
                      <a:pt x="438" y="48"/>
                    </a:lnTo>
                    <a:lnTo>
                      <a:pt x="426" y="54"/>
                    </a:lnTo>
                    <a:lnTo>
                      <a:pt x="414" y="66"/>
                    </a:lnTo>
                    <a:lnTo>
                      <a:pt x="408" y="66"/>
                    </a:lnTo>
                    <a:lnTo>
                      <a:pt x="396" y="90"/>
                    </a:lnTo>
                    <a:lnTo>
                      <a:pt x="378" y="90"/>
                    </a:lnTo>
                    <a:lnTo>
                      <a:pt x="354" y="84"/>
                    </a:lnTo>
                    <a:lnTo>
                      <a:pt x="294" y="84"/>
                    </a:lnTo>
                    <a:lnTo>
                      <a:pt x="282" y="78"/>
                    </a:lnTo>
                    <a:lnTo>
                      <a:pt x="264" y="78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34" y="66"/>
                    </a:lnTo>
                    <a:lnTo>
                      <a:pt x="198" y="66"/>
                    </a:lnTo>
                    <a:lnTo>
                      <a:pt x="186" y="54"/>
                    </a:lnTo>
                    <a:lnTo>
                      <a:pt x="180" y="36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56" y="18"/>
                    </a:lnTo>
                    <a:lnTo>
                      <a:pt x="144" y="18"/>
                    </a:lnTo>
                    <a:lnTo>
                      <a:pt x="132" y="0"/>
                    </a:lnTo>
                    <a:lnTo>
                      <a:pt x="120" y="18"/>
                    </a:lnTo>
                    <a:lnTo>
                      <a:pt x="90" y="12"/>
                    </a:lnTo>
                    <a:lnTo>
                      <a:pt x="72" y="36"/>
                    </a:lnTo>
                    <a:lnTo>
                      <a:pt x="78" y="42"/>
                    </a:lnTo>
                    <a:lnTo>
                      <a:pt x="90" y="42"/>
                    </a:lnTo>
                    <a:lnTo>
                      <a:pt x="90" y="48"/>
                    </a:lnTo>
                    <a:lnTo>
                      <a:pt x="96" y="54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66" y="120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90" y="126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8" y="120"/>
                    </a:lnTo>
                    <a:lnTo>
                      <a:pt x="162" y="96"/>
                    </a:lnTo>
                    <a:lnTo>
                      <a:pt x="168" y="96"/>
                    </a:lnTo>
                    <a:lnTo>
                      <a:pt x="174" y="90"/>
                    </a:lnTo>
                    <a:lnTo>
                      <a:pt x="186" y="90"/>
                    </a:lnTo>
                    <a:lnTo>
                      <a:pt x="204" y="84"/>
                    </a:lnTo>
                    <a:lnTo>
                      <a:pt x="216" y="84"/>
                    </a:lnTo>
                    <a:lnTo>
                      <a:pt x="252" y="102"/>
                    </a:lnTo>
                    <a:lnTo>
                      <a:pt x="270" y="108"/>
                    </a:lnTo>
                    <a:lnTo>
                      <a:pt x="282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270" y="114"/>
                    </a:lnTo>
                    <a:lnTo>
                      <a:pt x="258" y="120"/>
                    </a:lnTo>
                    <a:lnTo>
                      <a:pt x="246" y="120"/>
                    </a:lnTo>
                    <a:lnTo>
                      <a:pt x="246" y="132"/>
                    </a:lnTo>
                    <a:lnTo>
                      <a:pt x="240" y="138"/>
                    </a:lnTo>
                    <a:lnTo>
                      <a:pt x="186" y="144"/>
                    </a:lnTo>
                    <a:lnTo>
                      <a:pt x="138" y="138"/>
                    </a:lnTo>
                    <a:lnTo>
                      <a:pt x="120" y="138"/>
                    </a:lnTo>
                    <a:lnTo>
                      <a:pt x="96" y="150"/>
                    </a:lnTo>
                    <a:lnTo>
                      <a:pt x="84" y="162"/>
                    </a:lnTo>
                    <a:lnTo>
                      <a:pt x="84" y="174"/>
                    </a:lnTo>
                    <a:lnTo>
                      <a:pt x="78" y="192"/>
                    </a:lnTo>
                    <a:lnTo>
                      <a:pt x="78" y="204"/>
                    </a:lnTo>
                    <a:lnTo>
                      <a:pt x="72" y="210"/>
                    </a:lnTo>
                    <a:lnTo>
                      <a:pt x="72" y="216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20" y="246"/>
                    </a:lnTo>
                    <a:lnTo>
                      <a:pt x="126" y="258"/>
                    </a:lnTo>
                    <a:lnTo>
                      <a:pt x="132" y="264"/>
                    </a:lnTo>
                    <a:lnTo>
                      <a:pt x="126" y="282"/>
                    </a:lnTo>
                    <a:lnTo>
                      <a:pt x="138" y="300"/>
                    </a:lnTo>
                    <a:lnTo>
                      <a:pt x="126" y="318"/>
                    </a:lnTo>
                    <a:lnTo>
                      <a:pt x="162" y="354"/>
                    </a:lnTo>
                    <a:lnTo>
                      <a:pt x="156" y="390"/>
                    </a:lnTo>
                    <a:lnTo>
                      <a:pt x="210" y="414"/>
                    </a:lnTo>
                    <a:lnTo>
                      <a:pt x="216" y="444"/>
                    </a:lnTo>
                    <a:lnTo>
                      <a:pt x="216" y="438"/>
                    </a:lnTo>
                    <a:lnTo>
                      <a:pt x="222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64" y="450"/>
                    </a:lnTo>
                    <a:lnTo>
                      <a:pt x="270" y="462"/>
                    </a:lnTo>
                    <a:lnTo>
                      <a:pt x="282" y="468"/>
                    </a:lnTo>
                    <a:lnTo>
                      <a:pt x="294" y="468"/>
                    </a:lnTo>
                    <a:lnTo>
                      <a:pt x="312" y="474"/>
                    </a:lnTo>
                    <a:lnTo>
                      <a:pt x="372" y="474"/>
                    </a:lnTo>
                    <a:lnTo>
                      <a:pt x="372" y="450"/>
                    </a:lnTo>
                    <a:lnTo>
                      <a:pt x="378" y="438"/>
                    </a:lnTo>
                    <a:lnTo>
                      <a:pt x="390" y="426"/>
                    </a:lnTo>
                    <a:lnTo>
                      <a:pt x="408" y="426"/>
                    </a:lnTo>
                    <a:lnTo>
                      <a:pt x="432" y="432"/>
                    </a:lnTo>
                    <a:lnTo>
                      <a:pt x="468" y="444"/>
                    </a:lnTo>
                    <a:lnTo>
                      <a:pt x="474" y="450"/>
                    </a:lnTo>
                    <a:lnTo>
                      <a:pt x="480" y="450"/>
                    </a:lnTo>
                    <a:lnTo>
                      <a:pt x="480" y="456"/>
                    </a:lnTo>
                    <a:lnTo>
                      <a:pt x="486" y="468"/>
                    </a:lnTo>
                    <a:lnTo>
                      <a:pt x="486" y="474"/>
                    </a:lnTo>
                    <a:lnTo>
                      <a:pt x="492" y="480"/>
                    </a:lnTo>
                    <a:lnTo>
                      <a:pt x="504" y="486"/>
                    </a:lnTo>
                    <a:lnTo>
                      <a:pt x="564" y="486"/>
                    </a:lnTo>
                    <a:lnTo>
                      <a:pt x="576" y="480"/>
                    </a:lnTo>
                    <a:lnTo>
                      <a:pt x="594" y="474"/>
                    </a:lnTo>
                    <a:lnTo>
                      <a:pt x="606" y="462"/>
                    </a:lnTo>
                    <a:lnTo>
                      <a:pt x="618" y="456"/>
                    </a:lnTo>
                    <a:lnTo>
                      <a:pt x="630" y="444"/>
                    </a:lnTo>
                    <a:lnTo>
                      <a:pt x="648" y="438"/>
                    </a:lnTo>
                    <a:lnTo>
                      <a:pt x="660" y="432"/>
                    </a:lnTo>
                    <a:lnTo>
                      <a:pt x="672" y="432"/>
                    </a:lnTo>
                    <a:lnTo>
                      <a:pt x="684" y="438"/>
                    </a:lnTo>
                    <a:lnTo>
                      <a:pt x="690" y="444"/>
                    </a:lnTo>
                    <a:lnTo>
                      <a:pt x="696" y="444"/>
                    </a:lnTo>
                    <a:lnTo>
                      <a:pt x="702" y="450"/>
                    </a:lnTo>
                    <a:lnTo>
                      <a:pt x="714" y="450"/>
                    </a:lnTo>
                    <a:lnTo>
                      <a:pt x="726" y="444"/>
                    </a:lnTo>
                    <a:lnTo>
                      <a:pt x="732" y="432"/>
                    </a:lnTo>
                    <a:lnTo>
                      <a:pt x="744" y="420"/>
                    </a:lnTo>
                    <a:lnTo>
                      <a:pt x="756" y="432"/>
                    </a:lnTo>
                    <a:lnTo>
                      <a:pt x="756" y="444"/>
                    </a:lnTo>
                    <a:lnTo>
                      <a:pt x="750" y="450"/>
                    </a:lnTo>
                    <a:lnTo>
                      <a:pt x="744" y="462"/>
                    </a:lnTo>
                    <a:lnTo>
                      <a:pt x="744" y="468"/>
                    </a:lnTo>
                    <a:lnTo>
                      <a:pt x="738" y="474"/>
                    </a:lnTo>
                    <a:lnTo>
                      <a:pt x="738" y="486"/>
                    </a:lnTo>
                    <a:lnTo>
                      <a:pt x="744" y="492"/>
                    </a:lnTo>
                    <a:lnTo>
                      <a:pt x="744" y="498"/>
                    </a:lnTo>
                    <a:lnTo>
                      <a:pt x="756" y="510"/>
                    </a:lnTo>
                    <a:lnTo>
                      <a:pt x="768" y="510"/>
                    </a:lnTo>
                    <a:lnTo>
                      <a:pt x="768" y="504"/>
                    </a:lnTo>
                    <a:lnTo>
                      <a:pt x="774" y="498"/>
                    </a:lnTo>
                    <a:lnTo>
                      <a:pt x="774" y="480"/>
                    </a:lnTo>
                    <a:lnTo>
                      <a:pt x="780" y="486"/>
                    </a:lnTo>
                    <a:lnTo>
                      <a:pt x="792" y="486"/>
                    </a:lnTo>
                    <a:lnTo>
                      <a:pt x="792" y="462"/>
                    </a:lnTo>
                    <a:lnTo>
                      <a:pt x="786" y="462"/>
                    </a:lnTo>
                    <a:lnTo>
                      <a:pt x="786" y="432"/>
                    </a:lnTo>
                    <a:lnTo>
                      <a:pt x="810" y="432"/>
                    </a:lnTo>
                    <a:lnTo>
                      <a:pt x="804" y="438"/>
                    </a:lnTo>
                    <a:lnTo>
                      <a:pt x="804" y="444"/>
                    </a:lnTo>
                    <a:lnTo>
                      <a:pt x="840" y="444"/>
                    </a:lnTo>
                    <a:lnTo>
                      <a:pt x="858" y="438"/>
                    </a:lnTo>
                    <a:lnTo>
                      <a:pt x="864" y="432"/>
                    </a:lnTo>
                    <a:lnTo>
                      <a:pt x="870" y="432"/>
                    </a:lnTo>
                    <a:lnTo>
                      <a:pt x="888" y="414"/>
                    </a:lnTo>
                    <a:lnTo>
                      <a:pt x="894" y="414"/>
                    </a:lnTo>
                    <a:lnTo>
                      <a:pt x="900" y="420"/>
                    </a:lnTo>
                    <a:lnTo>
                      <a:pt x="912" y="426"/>
                    </a:lnTo>
                    <a:lnTo>
                      <a:pt x="924" y="438"/>
                    </a:lnTo>
                    <a:lnTo>
                      <a:pt x="942" y="438"/>
                    </a:lnTo>
                    <a:lnTo>
                      <a:pt x="954" y="444"/>
                    </a:lnTo>
                    <a:lnTo>
                      <a:pt x="966" y="444"/>
                    </a:lnTo>
                    <a:lnTo>
                      <a:pt x="978" y="438"/>
                    </a:lnTo>
                    <a:lnTo>
                      <a:pt x="996" y="438"/>
                    </a:lnTo>
                    <a:lnTo>
                      <a:pt x="1002" y="432"/>
                    </a:lnTo>
                    <a:lnTo>
                      <a:pt x="1014" y="426"/>
                    </a:lnTo>
                    <a:lnTo>
                      <a:pt x="1026" y="414"/>
                    </a:lnTo>
                    <a:lnTo>
                      <a:pt x="1038" y="408"/>
                    </a:lnTo>
                    <a:lnTo>
                      <a:pt x="1086" y="408"/>
                    </a:lnTo>
                    <a:lnTo>
                      <a:pt x="1092" y="414"/>
                    </a:lnTo>
                    <a:lnTo>
                      <a:pt x="1110" y="414"/>
                    </a:lnTo>
                    <a:lnTo>
                      <a:pt x="1122" y="402"/>
                    </a:lnTo>
                    <a:lnTo>
                      <a:pt x="1146" y="402"/>
                    </a:lnTo>
                    <a:lnTo>
                      <a:pt x="1152" y="390"/>
                    </a:lnTo>
                    <a:lnTo>
                      <a:pt x="1152" y="384"/>
                    </a:lnTo>
                    <a:lnTo>
                      <a:pt x="1158" y="384"/>
                    </a:lnTo>
                    <a:lnTo>
                      <a:pt x="1158" y="408"/>
                    </a:lnTo>
                    <a:lnTo>
                      <a:pt x="1164" y="414"/>
                    </a:lnTo>
                    <a:lnTo>
                      <a:pt x="1170" y="414"/>
                    </a:lnTo>
                    <a:lnTo>
                      <a:pt x="1182" y="408"/>
                    </a:lnTo>
                    <a:lnTo>
                      <a:pt x="1188" y="402"/>
                    </a:lnTo>
                    <a:lnTo>
                      <a:pt x="1188" y="390"/>
                    </a:lnTo>
                    <a:lnTo>
                      <a:pt x="1230" y="390"/>
                    </a:lnTo>
                    <a:lnTo>
                      <a:pt x="1242" y="402"/>
                    </a:lnTo>
                    <a:lnTo>
                      <a:pt x="1254" y="402"/>
                    </a:lnTo>
                    <a:lnTo>
                      <a:pt x="1260" y="396"/>
                    </a:lnTo>
                    <a:lnTo>
                      <a:pt x="1260" y="390"/>
                    </a:lnTo>
                    <a:lnTo>
                      <a:pt x="1284" y="390"/>
                    </a:lnTo>
                    <a:lnTo>
                      <a:pt x="1290" y="396"/>
                    </a:lnTo>
                    <a:lnTo>
                      <a:pt x="1290" y="414"/>
                    </a:lnTo>
                    <a:lnTo>
                      <a:pt x="1332" y="402"/>
                    </a:lnTo>
                    <a:close/>
                    <a:moveTo>
                      <a:pt x="102" y="282"/>
                    </a:moveTo>
                    <a:lnTo>
                      <a:pt x="96" y="282"/>
                    </a:lnTo>
                    <a:lnTo>
                      <a:pt x="96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14" y="324"/>
                    </a:lnTo>
                    <a:lnTo>
                      <a:pt x="114" y="318"/>
                    </a:lnTo>
                    <a:lnTo>
                      <a:pt x="120" y="312"/>
                    </a:lnTo>
                    <a:lnTo>
                      <a:pt x="120" y="300"/>
                    </a:lnTo>
                    <a:lnTo>
                      <a:pt x="102" y="28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0" name="Sy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2B01F29-C53B-2C33-6BB5-4CA24F54E90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87745" y="2559493"/>
                <a:ext cx="202203" cy="186264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1" name="Switzer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9878393-8769-9E8F-07E8-545A37DE6D5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04440" y="2185192"/>
                <a:ext cx="129479" cy="70957"/>
              </a:xfrm>
              <a:custGeom>
                <a:avLst/>
                <a:gdLst>
                  <a:gd name="T0" fmla="*/ 2147483647 w 288"/>
                  <a:gd name="T1" fmla="*/ 2147483647 h 162"/>
                  <a:gd name="T2" fmla="*/ 2147483647 w 288"/>
                  <a:gd name="T3" fmla="*/ 2147483647 h 162"/>
                  <a:gd name="T4" fmla="*/ 2147483647 w 288"/>
                  <a:gd name="T5" fmla="*/ 2147483647 h 162"/>
                  <a:gd name="T6" fmla="*/ 2147483647 w 288"/>
                  <a:gd name="T7" fmla="*/ 2147483647 h 162"/>
                  <a:gd name="T8" fmla="*/ 2147483647 w 288"/>
                  <a:gd name="T9" fmla="*/ 2147483647 h 162"/>
                  <a:gd name="T10" fmla="*/ 2147483647 w 288"/>
                  <a:gd name="T11" fmla="*/ 2147483647 h 162"/>
                  <a:gd name="T12" fmla="*/ 2147483647 w 288"/>
                  <a:gd name="T13" fmla="*/ 2147483647 h 162"/>
                  <a:gd name="T14" fmla="*/ 0 w 288"/>
                  <a:gd name="T15" fmla="*/ 2147483647 h 162"/>
                  <a:gd name="T16" fmla="*/ 2147483647 w 288"/>
                  <a:gd name="T17" fmla="*/ 2147483647 h 162"/>
                  <a:gd name="T18" fmla="*/ 2147483647 w 288"/>
                  <a:gd name="T19" fmla="*/ 2147483647 h 162"/>
                  <a:gd name="T20" fmla="*/ 2147483647 w 288"/>
                  <a:gd name="T21" fmla="*/ 2147483647 h 162"/>
                  <a:gd name="T22" fmla="*/ 2147483647 w 288"/>
                  <a:gd name="T23" fmla="*/ 2147483647 h 162"/>
                  <a:gd name="T24" fmla="*/ 2147483647 w 288"/>
                  <a:gd name="T25" fmla="*/ 2147483647 h 162"/>
                  <a:gd name="T26" fmla="*/ 2147483647 w 288"/>
                  <a:gd name="T27" fmla="*/ 2147483647 h 162"/>
                  <a:gd name="T28" fmla="*/ 2147483647 w 288"/>
                  <a:gd name="T29" fmla="*/ 2147483647 h 162"/>
                  <a:gd name="T30" fmla="*/ 2147483647 w 288"/>
                  <a:gd name="T31" fmla="*/ 2147483647 h 162"/>
                  <a:gd name="T32" fmla="*/ 2147483647 w 288"/>
                  <a:gd name="T33" fmla="*/ 2147483647 h 162"/>
                  <a:gd name="T34" fmla="*/ 2147483647 w 288"/>
                  <a:gd name="T35" fmla="*/ 2147483647 h 162"/>
                  <a:gd name="T36" fmla="*/ 2147483647 w 288"/>
                  <a:gd name="T37" fmla="*/ 2147483647 h 162"/>
                  <a:gd name="T38" fmla="*/ 2147483647 w 288"/>
                  <a:gd name="T39" fmla="*/ 2147483647 h 162"/>
                  <a:gd name="T40" fmla="*/ 2147483647 w 288"/>
                  <a:gd name="T41" fmla="*/ 2147483647 h 162"/>
                  <a:gd name="T42" fmla="*/ 2147483647 w 288"/>
                  <a:gd name="T43" fmla="*/ 2147483647 h 162"/>
                  <a:gd name="T44" fmla="*/ 2147483647 w 288"/>
                  <a:gd name="T45" fmla="*/ 2147483647 h 162"/>
                  <a:gd name="T46" fmla="*/ 2147483647 w 288"/>
                  <a:gd name="T47" fmla="*/ 2147483647 h 162"/>
                  <a:gd name="T48" fmla="*/ 2147483647 w 288"/>
                  <a:gd name="T49" fmla="*/ 2147483647 h 162"/>
                  <a:gd name="T50" fmla="*/ 2147483647 w 288"/>
                  <a:gd name="T51" fmla="*/ 2147483647 h 162"/>
                  <a:gd name="T52" fmla="*/ 2147483647 w 288"/>
                  <a:gd name="T53" fmla="*/ 2147483647 h 162"/>
                  <a:gd name="T54" fmla="*/ 2147483647 w 288"/>
                  <a:gd name="T55" fmla="*/ 2147483647 h 162"/>
                  <a:gd name="T56" fmla="*/ 2147483647 w 288"/>
                  <a:gd name="T57" fmla="*/ 2147483647 h 162"/>
                  <a:gd name="T58" fmla="*/ 2147483647 w 288"/>
                  <a:gd name="T59" fmla="*/ 2147483647 h 162"/>
                  <a:gd name="T60" fmla="*/ 2147483647 w 288"/>
                  <a:gd name="T61" fmla="*/ 2147483647 h 162"/>
                  <a:gd name="T62" fmla="*/ 2147483647 w 288"/>
                  <a:gd name="T63" fmla="*/ 2147483647 h 162"/>
                  <a:gd name="T64" fmla="*/ 2147483647 w 288"/>
                  <a:gd name="T65" fmla="*/ 2147483647 h 162"/>
                  <a:gd name="T66" fmla="*/ 2147483647 w 288"/>
                  <a:gd name="T67" fmla="*/ 0 h 162"/>
                  <a:gd name="T68" fmla="*/ 2147483647 w 288"/>
                  <a:gd name="T69" fmla="*/ 2147483647 h 162"/>
                  <a:gd name="T70" fmla="*/ 2147483647 w 288"/>
                  <a:gd name="T71" fmla="*/ 2147483647 h 162"/>
                  <a:gd name="T72" fmla="*/ 2147483647 w 288"/>
                  <a:gd name="T73" fmla="*/ 2147483647 h 16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162"/>
                  <a:gd name="T113" fmla="*/ 288 w 288"/>
                  <a:gd name="T114" fmla="*/ 162 h 16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162">
                    <a:moveTo>
                      <a:pt x="132" y="24"/>
                    </a:moveTo>
                    <a:lnTo>
                      <a:pt x="96" y="24"/>
                    </a:lnTo>
                    <a:lnTo>
                      <a:pt x="90" y="42"/>
                    </a:lnTo>
                    <a:lnTo>
                      <a:pt x="72" y="30"/>
                    </a:lnTo>
                    <a:lnTo>
                      <a:pt x="66" y="42"/>
                    </a:lnTo>
                    <a:lnTo>
                      <a:pt x="60" y="48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30" y="66"/>
                    </a:lnTo>
                    <a:lnTo>
                      <a:pt x="30" y="78"/>
                    </a:lnTo>
                    <a:lnTo>
                      <a:pt x="18" y="90"/>
                    </a:lnTo>
                    <a:lnTo>
                      <a:pt x="12" y="102"/>
                    </a:lnTo>
                    <a:lnTo>
                      <a:pt x="0" y="108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30" y="108"/>
                    </a:lnTo>
                    <a:lnTo>
                      <a:pt x="48" y="108"/>
                    </a:lnTo>
                    <a:lnTo>
                      <a:pt x="54" y="114"/>
                    </a:lnTo>
                    <a:lnTo>
                      <a:pt x="48" y="138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6"/>
                    </a:lnTo>
                    <a:lnTo>
                      <a:pt x="114" y="156"/>
                    </a:lnTo>
                    <a:lnTo>
                      <a:pt x="132" y="138"/>
                    </a:lnTo>
                    <a:lnTo>
                      <a:pt x="132" y="120"/>
                    </a:lnTo>
                    <a:lnTo>
                      <a:pt x="138" y="114"/>
                    </a:lnTo>
                    <a:lnTo>
                      <a:pt x="150" y="114"/>
                    </a:lnTo>
                    <a:lnTo>
                      <a:pt x="156" y="120"/>
                    </a:lnTo>
                    <a:lnTo>
                      <a:pt x="156" y="126"/>
                    </a:lnTo>
                    <a:lnTo>
                      <a:pt x="162" y="132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92" y="162"/>
                    </a:lnTo>
                    <a:lnTo>
                      <a:pt x="192" y="144"/>
                    </a:lnTo>
                    <a:lnTo>
                      <a:pt x="204" y="132"/>
                    </a:lnTo>
                    <a:lnTo>
                      <a:pt x="210" y="108"/>
                    </a:lnTo>
                    <a:lnTo>
                      <a:pt x="222" y="126"/>
                    </a:lnTo>
                    <a:lnTo>
                      <a:pt x="240" y="120"/>
                    </a:lnTo>
                    <a:lnTo>
                      <a:pt x="258" y="132"/>
                    </a:lnTo>
                    <a:lnTo>
                      <a:pt x="264" y="120"/>
                    </a:lnTo>
                    <a:lnTo>
                      <a:pt x="252" y="108"/>
                    </a:lnTo>
                    <a:lnTo>
                      <a:pt x="252" y="102"/>
                    </a:lnTo>
                    <a:lnTo>
                      <a:pt x="276" y="102"/>
                    </a:lnTo>
                    <a:lnTo>
                      <a:pt x="282" y="84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6" y="66"/>
                    </a:lnTo>
                    <a:lnTo>
                      <a:pt x="270" y="66"/>
                    </a:lnTo>
                    <a:lnTo>
                      <a:pt x="252" y="84"/>
                    </a:lnTo>
                    <a:lnTo>
                      <a:pt x="246" y="84"/>
                    </a:lnTo>
                    <a:lnTo>
                      <a:pt x="246" y="66"/>
                    </a:lnTo>
                    <a:lnTo>
                      <a:pt x="210" y="66"/>
                    </a:lnTo>
                    <a:lnTo>
                      <a:pt x="210" y="60"/>
                    </a:lnTo>
                    <a:lnTo>
                      <a:pt x="216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28" y="30"/>
                    </a:lnTo>
                    <a:lnTo>
                      <a:pt x="216" y="30"/>
                    </a:lnTo>
                    <a:lnTo>
                      <a:pt x="210" y="18"/>
                    </a:lnTo>
                    <a:lnTo>
                      <a:pt x="192" y="12"/>
                    </a:lnTo>
                    <a:lnTo>
                      <a:pt x="180" y="12"/>
                    </a:lnTo>
                    <a:lnTo>
                      <a:pt x="174" y="6"/>
                    </a:lnTo>
                    <a:lnTo>
                      <a:pt x="162" y="0"/>
                    </a:lnTo>
                    <a:lnTo>
                      <a:pt x="156" y="0"/>
                    </a:lnTo>
                    <a:lnTo>
                      <a:pt x="150" y="6"/>
                    </a:lnTo>
                    <a:lnTo>
                      <a:pt x="150" y="18"/>
                    </a:lnTo>
                    <a:lnTo>
                      <a:pt x="156" y="24"/>
                    </a:lnTo>
                    <a:lnTo>
                      <a:pt x="150" y="18"/>
                    </a:lnTo>
                    <a:lnTo>
                      <a:pt x="132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2" name="Swed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A065C9-5608-9E57-74AB-0738C536152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51657" y="1477388"/>
                <a:ext cx="312172" cy="445261"/>
              </a:xfrm>
              <a:custGeom>
                <a:avLst/>
                <a:gdLst>
                  <a:gd name="T0" fmla="*/ 2147483647 w 690"/>
                  <a:gd name="T1" fmla="*/ 2147483647 h 990"/>
                  <a:gd name="T2" fmla="*/ 2147483647 w 690"/>
                  <a:gd name="T3" fmla="*/ 2147483647 h 990"/>
                  <a:gd name="T4" fmla="*/ 2147483647 w 690"/>
                  <a:gd name="T5" fmla="*/ 2147483647 h 990"/>
                  <a:gd name="T6" fmla="*/ 2147483647 w 690"/>
                  <a:gd name="T7" fmla="*/ 2147483647 h 990"/>
                  <a:gd name="T8" fmla="*/ 2147483647 w 690"/>
                  <a:gd name="T9" fmla="*/ 2147483647 h 990"/>
                  <a:gd name="T10" fmla="*/ 2147483647 w 690"/>
                  <a:gd name="T11" fmla="*/ 2147483647 h 990"/>
                  <a:gd name="T12" fmla="*/ 2147483647 w 690"/>
                  <a:gd name="T13" fmla="*/ 2147483647 h 990"/>
                  <a:gd name="T14" fmla="*/ 2147483647 w 690"/>
                  <a:gd name="T15" fmla="*/ 2147483647 h 990"/>
                  <a:gd name="T16" fmla="*/ 2147483647 w 690"/>
                  <a:gd name="T17" fmla="*/ 2147483647 h 990"/>
                  <a:gd name="T18" fmla="*/ 2147483647 w 690"/>
                  <a:gd name="T19" fmla="*/ 2147483647 h 990"/>
                  <a:gd name="T20" fmla="*/ 2147483647 w 690"/>
                  <a:gd name="T21" fmla="*/ 2147483647 h 990"/>
                  <a:gd name="T22" fmla="*/ 2147483647 w 690"/>
                  <a:gd name="T23" fmla="*/ 2147483647 h 990"/>
                  <a:gd name="T24" fmla="*/ 2147483647 w 690"/>
                  <a:gd name="T25" fmla="*/ 2147483647 h 990"/>
                  <a:gd name="T26" fmla="*/ 2147483647 w 690"/>
                  <a:gd name="T27" fmla="*/ 2147483647 h 990"/>
                  <a:gd name="T28" fmla="*/ 2147483647 w 690"/>
                  <a:gd name="T29" fmla="*/ 2147483647 h 990"/>
                  <a:gd name="T30" fmla="*/ 2147483647 w 690"/>
                  <a:gd name="T31" fmla="*/ 2147483647 h 990"/>
                  <a:gd name="T32" fmla="*/ 2147483647 w 690"/>
                  <a:gd name="T33" fmla="*/ 2147483647 h 990"/>
                  <a:gd name="T34" fmla="*/ 2147483647 w 690"/>
                  <a:gd name="T35" fmla="*/ 2147483647 h 990"/>
                  <a:gd name="T36" fmla="*/ 2147483647 w 690"/>
                  <a:gd name="T37" fmla="*/ 2147483647 h 990"/>
                  <a:gd name="T38" fmla="*/ 2147483647 w 690"/>
                  <a:gd name="T39" fmla="*/ 2147483647 h 990"/>
                  <a:gd name="T40" fmla="*/ 2147483647 w 690"/>
                  <a:gd name="T41" fmla="*/ 2147483647 h 990"/>
                  <a:gd name="T42" fmla="*/ 2147483647 w 690"/>
                  <a:gd name="T43" fmla="*/ 2147483647 h 990"/>
                  <a:gd name="T44" fmla="*/ 2147483647 w 690"/>
                  <a:gd name="T45" fmla="*/ 2147483647 h 990"/>
                  <a:gd name="T46" fmla="*/ 0 w 690"/>
                  <a:gd name="T47" fmla="*/ 2147483647 h 990"/>
                  <a:gd name="T48" fmla="*/ 2147483647 w 690"/>
                  <a:gd name="T49" fmla="*/ 2147483647 h 990"/>
                  <a:gd name="T50" fmla="*/ 2147483647 w 690"/>
                  <a:gd name="T51" fmla="*/ 2147483647 h 990"/>
                  <a:gd name="T52" fmla="*/ 2147483647 w 690"/>
                  <a:gd name="T53" fmla="*/ 2147483647 h 990"/>
                  <a:gd name="T54" fmla="*/ 2147483647 w 690"/>
                  <a:gd name="T55" fmla="*/ 2147483647 h 990"/>
                  <a:gd name="T56" fmla="*/ 2147483647 w 690"/>
                  <a:gd name="T57" fmla="*/ 2147483647 h 990"/>
                  <a:gd name="T58" fmla="*/ 2147483647 w 690"/>
                  <a:gd name="T59" fmla="*/ 2147483647 h 990"/>
                  <a:gd name="T60" fmla="*/ 2147483647 w 690"/>
                  <a:gd name="T61" fmla="*/ 2147483647 h 990"/>
                  <a:gd name="T62" fmla="*/ 2147483647 w 690"/>
                  <a:gd name="T63" fmla="*/ 2147483647 h 990"/>
                  <a:gd name="T64" fmla="*/ 2147483647 w 690"/>
                  <a:gd name="T65" fmla="*/ 2147483647 h 990"/>
                  <a:gd name="T66" fmla="*/ 2147483647 w 690"/>
                  <a:gd name="T67" fmla="*/ 2147483647 h 990"/>
                  <a:gd name="T68" fmla="*/ 2147483647 w 690"/>
                  <a:gd name="T69" fmla="*/ 2147483647 h 990"/>
                  <a:gd name="T70" fmla="*/ 2147483647 w 690"/>
                  <a:gd name="T71" fmla="*/ 2147483647 h 990"/>
                  <a:gd name="T72" fmla="*/ 2147483647 w 690"/>
                  <a:gd name="T73" fmla="*/ 2147483647 h 990"/>
                  <a:gd name="T74" fmla="*/ 2147483647 w 690"/>
                  <a:gd name="T75" fmla="*/ 2147483647 h 990"/>
                  <a:gd name="T76" fmla="*/ 2147483647 w 690"/>
                  <a:gd name="T77" fmla="*/ 2147483647 h 990"/>
                  <a:gd name="T78" fmla="*/ 2147483647 w 690"/>
                  <a:gd name="T79" fmla="*/ 2147483647 h 990"/>
                  <a:gd name="T80" fmla="*/ 2147483647 w 690"/>
                  <a:gd name="T81" fmla="*/ 2147483647 h 990"/>
                  <a:gd name="T82" fmla="*/ 2147483647 w 690"/>
                  <a:gd name="T83" fmla="*/ 2147483647 h 990"/>
                  <a:gd name="T84" fmla="*/ 2147483647 w 690"/>
                  <a:gd name="T85" fmla="*/ 2147483647 h 990"/>
                  <a:gd name="T86" fmla="*/ 2147483647 w 690"/>
                  <a:gd name="T87" fmla="*/ 2147483647 h 990"/>
                  <a:gd name="T88" fmla="*/ 2147483647 w 690"/>
                  <a:gd name="T89" fmla="*/ 2147483647 h 990"/>
                  <a:gd name="T90" fmla="*/ 2147483647 w 690"/>
                  <a:gd name="T91" fmla="*/ 2147483647 h 990"/>
                  <a:gd name="T92" fmla="*/ 2147483647 w 690"/>
                  <a:gd name="T93" fmla="*/ 2147483647 h 990"/>
                  <a:gd name="T94" fmla="*/ 2147483647 w 690"/>
                  <a:gd name="T95" fmla="*/ 2147483647 h 990"/>
                  <a:gd name="T96" fmla="*/ 2147483647 w 690"/>
                  <a:gd name="T97" fmla="*/ 2147483647 h 990"/>
                  <a:gd name="T98" fmla="*/ 2147483647 w 690"/>
                  <a:gd name="T99" fmla="*/ 2147483647 h 990"/>
                  <a:gd name="T100" fmla="*/ 2147483647 w 690"/>
                  <a:gd name="T101" fmla="*/ 2147483647 h 9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0"/>
                  <a:gd name="T154" fmla="*/ 0 h 990"/>
                  <a:gd name="T155" fmla="*/ 690 w 690"/>
                  <a:gd name="T156" fmla="*/ 990 h 9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0" h="990">
                    <a:moveTo>
                      <a:pt x="678" y="204"/>
                    </a:moveTo>
                    <a:lnTo>
                      <a:pt x="672" y="198"/>
                    </a:lnTo>
                    <a:lnTo>
                      <a:pt x="660" y="192"/>
                    </a:lnTo>
                    <a:lnTo>
                      <a:pt x="648" y="180"/>
                    </a:lnTo>
                    <a:lnTo>
                      <a:pt x="648" y="174"/>
                    </a:lnTo>
                    <a:lnTo>
                      <a:pt x="654" y="162"/>
                    </a:lnTo>
                    <a:lnTo>
                      <a:pt x="660" y="156"/>
                    </a:lnTo>
                    <a:lnTo>
                      <a:pt x="666" y="144"/>
                    </a:lnTo>
                    <a:lnTo>
                      <a:pt x="642" y="132"/>
                    </a:lnTo>
                    <a:lnTo>
                      <a:pt x="648" y="108"/>
                    </a:lnTo>
                    <a:lnTo>
                      <a:pt x="636" y="102"/>
                    </a:lnTo>
                    <a:lnTo>
                      <a:pt x="636" y="96"/>
                    </a:lnTo>
                    <a:lnTo>
                      <a:pt x="642" y="90"/>
                    </a:lnTo>
                    <a:lnTo>
                      <a:pt x="642" y="66"/>
                    </a:lnTo>
                    <a:lnTo>
                      <a:pt x="636" y="66"/>
                    </a:lnTo>
                    <a:lnTo>
                      <a:pt x="630" y="60"/>
                    </a:lnTo>
                    <a:lnTo>
                      <a:pt x="618" y="60"/>
                    </a:lnTo>
                    <a:lnTo>
                      <a:pt x="588" y="42"/>
                    </a:lnTo>
                    <a:lnTo>
                      <a:pt x="552" y="42"/>
                    </a:lnTo>
                    <a:lnTo>
                      <a:pt x="540" y="30"/>
                    </a:lnTo>
                    <a:lnTo>
                      <a:pt x="534" y="30"/>
                    </a:lnTo>
                    <a:lnTo>
                      <a:pt x="528" y="24"/>
                    </a:lnTo>
                    <a:lnTo>
                      <a:pt x="516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56" y="0"/>
                    </a:lnTo>
                    <a:lnTo>
                      <a:pt x="456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42"/>
                    </a:lnTo>
                    <a:lnTo>
                      <a:pt x="462" y="42"/>
                    </a:lnTo>
                    <a:lnTo>
                      <a:pt x="456" y="48"/>
                    </a:lnTo>
                    <a:lnTo>
                      <a:pt x="444" y="48"/>
                    </a:lnTo>
                    <a:lnTo>
                      <a:pt x="438" y="42"/>
                    </a:lnTo>
                    <a:lnTo>
                      <a:pt x="414" y="42"/>
                    </a:lnTo>
                    <a:lnTo>
                      <a:pt x="390" y="36"/>
                    </a:lnTo>
                    <a:lnTo>
                      <a:pt x="366" y="42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48" y="36"/>
                    </a:lnTo>
                    <a:lnTo>
                      <a:pt x="348" y="66"/>
                    </a:lnTo>
                    <a:lnTo>
                      <a:pt x="342" y="72"/>
                    </a:lnTo>
                    <a:lnTo>
                      <a:pt x="324" y="72"/>
                    </a:lnTo>
                    <a:lnTo>
                      <a:pt x="282" y="78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246" y="102"/>
                    </a:lnTo>
                    <a:lnTo>
                      <a:pt x="246" y="114"/>
                    </a:lnTo>
                    <a:lnTo>
                      <a:pt x="258" y="120"/>
                    </a:lnTo>
                    <a:lnTo>
                      <a:pt x="264" y="126"/>
                    </a:lnTo>
                    <a:lnTo>
                      <a:pt x="258" y="144"/>
                    </a:lnTo>
                    <a:lnTo>
                      <a:pt x="252" y="144"/>
                    </a:lnTo>
                    <a:lnTo>
                      <a:pt x="240" y="150"/>
                    </a:lnTo>
                    <a:lnTo>
                      <a:pt x="234" y="156"/>
                    </a:lnTo>
                    <a:lnTo>
                      <a:pt x="234" y="162"/>
                    </a:lnTo>
                    <a:lnTo>
                      <a:pt x="228" y="168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16" y="180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0" y="198"/>
                    </a:lnTo>
                    <a:lnTo>
                      <a:pt x="204" y="198"/>
                    </a:lnTo>
                    <a:lnTo>
                      <a:pt x="192" y="204"/>
                    </a:lnTo>
                    <a:lnTo>
                      <a:pt x="174" y="192"/>
                    </a:lnTo>
                    <a:lnTo>
                      <a:pt x="174" y="228"/>
                    </a:lnTo>
                    <a:lnTo>
                      <a:pt x="168" y="270"/>
                    </a:lnTo>
                    <a:lnTo>
                      <a:pt x="138" y="300"/>
                    </a:lnTo>
                    <a:lnTo>
                      <a:pt x="132" y="300"/>
                    </a:lnTo>
                    <a:lnTo>
                      <a:pt x="120" y="306"/>
                    </a:lnTo>
                    <a:lnTo>
                      <a:pt x="132" y="312"/>
                    </a:lnTo>
                    <a:lnTo>
                      <a:pt x="150" y="330"/>
                    </a:lnTo>
                    <a:lnTo>
                      <a:pt x="150" y="336"/>
                    </a:lnTo>
                    <a:lnTo>
                      <a:pt x="144" y="342"/>
                    </a:lnTo>
                    <a:lnTo>
                      <a:pt x="102" y="342"/>
                    </a:lnTo>
                    <a:lnTo>
                      <a:pt x="90" y="348"/>
                    </a:lnTo>
                    <a:lnTo>
                      <a:pt x="84" y="354"/>
                    </a:lnTo>
                    <a:lnTo>
                      <a:pt x="72" y="360"/>
                    </a:lnTo>
                    <a:lnTo>
                      <a:pt x="30" y="402"/>
                    </a:lnTo>
                    <a:lnTo>
                      <a:pt x="36" y="408"/>
                    </a:lnTo>
                    <a:lnTo>
                      <a:pt x="42" y="408"/>
                    </a:lnTo>
                    <a:lnTo>
                      <a:pt x="48" y="414"/>
                    </a:lnTo>
                    <a:lnTo>
                      <a:pt x="48" y="420"/>
                    </a:lnTo>
                    <a:lnTo>
                      <a:pt x="42" y="426"/>
                    </a:lnTo>
                    <a:lnTo>
                      <a:pt x="36" y="426"/>
                    </a:lnTo>
                    <a:lnTo>
                      <a:pt x="30" y="432"/>
                    </a:lnTo>
                    <a:lnTo>
                      <a:pt x="30" y="444"/>
                    </a:lnTo>
                    <a:lnTo>
                      <a:pt x="54" y="468"/>
                    </a:lnTo>
                    <a:lnTo>
                      <a:pt x="54" y="480"/>
                    </a:lnTo>
                    <a:lnTo>
                      <a:pt x="48" y="492"/>
                    </a:lnTo>
                    <a:lnTo>
                      <a:pt x="48" y="510"/>
                    </a:lnTo>
                    <a:lnTo>
                      <a:pt x="60" y="522"/>
                    </a:lnTo>
                    <a:lnTo>
                      <a:pt x="66" y="522"/>
                    </a:lnTo>
                    <a:lnTo>
                      <a:pt x="84" y="540"/>
                    </a:lnTo>
                    <a:lnTo>
                      <a:pt x="84" y="552"/>
                    </a:lnTo>
                    <a:lnTo>
                      <a:pt x="72" y="564"/>
                    </a:lnTo>
                    <a:lnTo>
                      <a:pt x="48" y="570"/>
                    </a:lnTo>
                    <a:lnTo>
                      <a:pt x="54" y="576"/>
                    </a:lnTo>
                    <a:lnTo>
                      <a:pt x="60" y="588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66" y="606"/>
                    </a:lnTo>
                    <a:lnTo>
                      <a:pt x="72" y="618"/>
                    </a:lnTo>
                    <a:lnTo>
                      <a:pt x="66" y="618"/>
                    </a:lnTo>
                    <a:lnTo>
                      <a:pt x="66" y="642"/>
                    </a:lnTo>
                    <a:lnTo>
                      <a:pt x="60" y="648"/>
                    </a:lnTo>
                    <a:lnTo>
                      <a:pt x="24" y="648"/>
                    </a:lnTo>
                    <a:lnTo>
                      <a:pt x="30" y="660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18" y="672"/>
                    </a:lnTo>
                    <a:lnTo>
                      <a:pt x="18" y="678"/>
                    </a:lnTo>
                    <a:lnTo>
                      <a:pt x="30" y="690"/>
                    </a:lnTo>
                    <a:lnTo>
                      <a:pt x="30" y="708"/>
                    </a:lnTo>
                    <a:lnTo>
                      <a:pt x="24" y="714"/>
                    </a:lnTo>
                    <a:lnTo>
                      <a:pt x="18" y="726"/>
                    </a:lnTo>
                    <a:lnTo>
                      <a:pt x="0" y="708"/>
                    </a:lnTo>
                    <a:lnTo>
                      <a:pt x="0" y="768"/>
                    </a:lnTo>
                    <a:lnTo>
                      <a:pt x="6" y="762"/>
                    </a:lnTo>
                    <a:lnTo>
                      <a:pt x="24" y="762"/>
                    </a:lnTo>
                    <a:lnTo>
                      <a:pt x="36" y="774"/>
                    </a:lnTo>
                    <a:lnTo>
                      <a:pt x="36" y="780"/>
                    </a:lnTo>
                    <a:lnTo>
                      <a:pt x="30" y="780"/>
                    </a:lnTo>
                    <a:lnTo>
                      <a:pt x="30" y="774"/>
                    </a:lnTo>
                    <a:lnTo>
                      <a:pt x="24" y="774"/>
                    </a:lnTo>
                    <a:lnTo>
                      <a:pt x="24" y="834"/>
                    </a:lnTo>
                    <a:lnTo>
                      <a:pt x="30" y="840"/>
                    </a:lnTo>
                    <a:lnTo>
                      <a:pt x="36" y="840"/>
                    </a:lnTo>
                    <a:lnTo>
                      <a:pt x="48" y="846"/>
                    </a:lnTo>
                    <a:lnTo>
                      <a:pt x="54" y="858"/>
                    </a:lnTo>
                    <a:lnTo>
                      <a:pt x="60" y="864"/>
                    </a:lnTo>
                    <a:lnTo>
                      <a:pt x="66" y="876"/>
                    </a:lnTo>
                    <a:lnTo>
                      <a:pt x="90" y="900"/>
                    </a:lnTo>
                    <a:lnTo>
                      <a:pt x="96" y="900"/>
                    </a:lnTo>
                    <a:lnTo>
                      <a:pt x="96" y="912"/>
                    </a:lnTo>
                    <a:lnTo>
                      <a:pt x="78" y="912"/>
                    </a:lnTo>
                    <a:lnTo>
                      <a:pt x="78" y="942"/>
                    </a:lnTo>
                    <a:lnTo>
                      <a:pt x="90" y="954"/>
                    </a:lnTo>
                    <a:lnTo>
                      <a:pt x="102" y="960"/>
                    </a:lnTo>
                    <a:lnTo>
                      <a:pt x="96" y="966"/>
                    </a:lnTo>
                    <a:lnTo>
                      <a:pt x="96" y="984"/>
                    </a:lnTo>
                    <a:lnTo>
                      <a:pt x="102" y="984"/>
                    </a:lnTo>
                    <a:lnTo>
                      <a:pt x="108" y="990"/>
                    </a:lnTo>
                    <a:lnTo>
                      <a:pt x="174" y="990"/>
                    </a:lnTo>
                    <a:lnTo>
                      <a:pt x="180" y="984"/>
                    </a:lnTo>
                    <a:lnTo>
                      <a:pt x="180" y="948"/>
                    </a:lnTo>
                    <a:lnTo>
                      <a:pt x="198" y="942"/>
                    </a:lnTo>
                    <a:lnTo>
                      <a:pt x="198" y="924"/>
                    </a:lnTo>
                    <a:lnTo>
                      <a:pt x="264" y="930"/>
                    </a:lnTo>
                    <a:lnTo>
                      <a:pt x="276" y="936"/>
                    </a:lnTo>
                    <a:lnTo>
                      <a:pt x="300" y="876"/>
                    </a:lnTo>
                    <a:lnTo>
                      <a:pt x="300" y="864"/>
                    </a:lnTo>
                    <a:lnTo>
                      <a:pt x="306" y="852"/>
                    </a:lnTo>
                    <a:lnTo>
                      <a:pt x="306" y="816"/>
                    </a:lnTo>
                    <a:lnTo>
                      <a:pt x="300" y="810"/>
                    </a:lnTo>
                    <a:lnTo>
                      <a:pt x="294" y="798"/>
                    </a:lnTo>
                    <a:lnTo>
                      <a:pt x="312" y="798"/>
                    </a:lnTo>
                    <a:lnTo>
                      <a:pt x="324" y="786"/>
                    </a:lnTo>
                    <a:lnTo>
                      <a:pt x="324" y="780"/>
                    </a:lnTo>
                    <a:lnTo>
                      <a:pt x="306" y="762"/>
                    </a:lnTo>
                    <a:lnTo>
                      <a:pt x="294" y="762"/>
                    </a:lnTo>
                    <a:lnTo>
                      <a:pt x="312" y="756"/>
                    </a:lnTo>
                    <a:lnTo>
                      <a:pt x="300" y="750"/>
                    </a:lnTo>
                    <a:lnTo>
                      <a:pt x="324" y="750"/>
                    </a:lnTo>
                    <a:lnTo>
                      <a:pt x="336" y="744"/>
                    </a:lnTo>
                    <a:lnTo>
                      <a:pt x="348" y="744"/>
                    </a:lnTo>
                    <a:lnTo>
                      <a:pt x="354" y="738"/>
                    </a:lnTo>
                    <a:lnTo>
                      <a:pt x="360" y="726"/>
                    </a:lnTo>
                    <a:lnTo>
                      <a:pt x="360" y="714"/>
                    </a:lnTo>
                    <a:lnTo>
                      <a:pt x="366" y="708"/>
                    </a:lnTo>
                    <a:lnTo>
                      <a:pt x="384" y="726"/>
                    </a:lnTo>
                    <a:lnTo>
                      <a:pt x="390" y="726"/>
                    </a:lnTo>
                    <a:lnTo>
                      <a:pt x="396" y="720"/>
                    </a:lnTo>
                    <a:lnTo>
                      <a:pt x="408" y="696"/>
                    </a:lnTo>
                    <a:lnTo>
                      <a:pt x="402" y="690"/>
                    </a:lnTo>
                    <a:lnTo>
                      <a:pt x="402" y="684"/>
                    </a:lnTo>
                    <a:lnTo>
                      <a:pt x="414" y="684"/>
                    </a:lnTo>
                    <a:lnTo>
                      <a:pt x="420" y="678"/>
                    </a:lnTo>
                    <a:lnTo>
                      <a:pt x="432" y="672"/>
                    </a:lnTo>
                    <a:lnTo>
                      <a:pt x="432" y="660"/>
                    </a:lnTo>
                    <a:lnTo>
                      <a:pt x="420" y="636"/>
                    </a:lnTo>
                    <a:lnTo>
                      <a:pt x="408" y="630"/>
                    </a:lnTo>
                    <a:lnTo>
                      <a:pt x="408" y="618"/>
                    </a:lnTo>
                    <a:lnTo>
                      <a:pt x="372" y="600"/>
                    </a:lnTo>
                    <a:lnTo>
                      <a:pt x="360" y="606"/>
                    </a:lnTo>
                    <a:lnTo>
                      <a:pt x="354" y="606"/>
                    </a:lnTo>
                    <a:lnTo>
                      <a:pt x="342" y="600"/>
                    </a:lnTo>
                    <a:lnTo>
                      <a:pt x="330" y="576"/>
                    </a:lnTo>
                    <a:lnTo>
                      <a:pt x="330" y="558"/>
                    </a:lnTo>
                    <a:lnTo>
                      <a:pt x="324" y="546"/>
                    </a:lnTo>
                    <a:lnTo>
                      <a:pt x="324" y="528"/>
                    </a:lnTo>
                    <a:lnTo>
                      <a:pt x="336" y="516"/>
                    </a:lnTo>
                    <a:lnTo>
                      <a:pt x="342" y="504"/>
                    </a:lnTo>
                    <a:lnTo>
                      <a:pt x="342" y="486"/>
                    </a:lnTo>
                    <a:lnTo>
                      <a:pt x="336" y="474"/>
                    </a:lnTo>
                    <a:lnTo>
                      <a:pt x="330" y="468"/>
                    </a:lnTo>
                    <a:lnTo>
                      <a:pt x="330" y="462"/>
                    </a:lnTo>
                    <a:lnTo>
                      <a:pt x="348" y="462"/>
                    </a:lnTo>
                    <a:lnTo>
                      <a:pt x="354" y="456"/>
                    </a:lnTo>
                    <a:lnTo>
                      <a:pt x="354" y="438"/>
                    </a:lnTo>
                    <a:lnTo>
                      <a:pt x="348" y="426"/>
                    </a:lnTo>
                    <a:lnTo>
                      <a:pt x="354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96" y="420"/>
                    </a:lnTo>
                    <a:lnTo>
                      <a:pt x="408" y="408"/>
                    </a:lnTo>
                    <a:lnTo>
                      <a:pt x="438" y="414"/>
                    </a:lnTo>
                    <a:lnTo>
                      <a:pt x="450" y="390"/>
                    </a:lnTo>
                    <a:lnTo>
                      <a:pt x="480" y="390"/>
                    </a:lnTo>
                    <a:lnTo>
                      <a:pt x="498" y="384"/>
                    </a:lnTo>
                    <a:lnTo>
                      <a:pt x="510" y="378"/>
                    </a:lnTo>
                    <a:lnTo>
                      <a:pt x="522" y="354"/>
                    </a:lnTo>
                    <a:lnTo>
                      <a:pt x="540" y="336"/>
                    </a:lnTo>
                    <a:lnTo>
                      <a:pt x="546" y="324"/>
                    </a:lnTo>
                    <a:lnTo>
                      <a:pt x="528" y="300"/>
                    </a:lnTo>
                    <a:lnTo>
                      <a:pt x="558" y="264"/>
                    </a:lnTo>
                    <a:lnTo>
                      <a:pt x="540" y="246"/>
                    </a:lnTo>
                    <a:lnTo>
                      <a:pt x="576" y="234"/>
                    </a:lnTo>
                    <a:lnTo>
                      <a:pt x="594" y="216"/>
                    </a:lnTo>
                    <a:lnTo>
                      <a:pt x="672" y="222"/>
                    </a:lnTo>
                    <a:lnTo>
                      <a:pt x="684" y="240"/>
                    </a:lnTo>
                    <a:lnTo>
                      <a:pt x="690" y="240"/>
                    </a:lnTo>
                    <a:lnTo>
                      <a:pt x="678" y="204"/>
                    </a:lnTo>
                    <a:close/>
                    <a:moveTo>
                      <a:pt x="390" y="828"/>
                    </a:moveTo>
                    <a:lnTo>
                      <a:pt x="390" y="840"/>
                    </a:lnTo>
                    <a:lnTo>
                      <a:pt x="396" y="852"/>
                    </a:lnTo>
                    <a:lnTo>
                      <a:pt x="396" y="864"/>
                    </a:lnTo>
                    <a:lnTo>
                      <a:pt x="402" y="870"/>
                    </a:lnTo>
                    <a:lnTo>
                      <a:pt x="402" y="876"/>
                    </a:lnTo>
                    <a:lnTo>
                      <a:pt x="414" y="852"/>
                    </a:lnTo>
                    <a:lnTo>
                      <a:pt x="426" y="852"/>
                    </a:lnTo>
                    <a:lnTo>
                      <a:pt x="432" y="846"/>
                    </a:lnTo>
                    <a:lnTo>
                      <a:pt x="438" y="834"/>
                    </a:lnTo>
                    <a:lnTo>
                      <a:pt x="438" y="822"/>
                    </a:lnTo>
                    <a:lnTo>
                      <a:pt x="432" y="816"/>
                    </a:lnTo>
                    <a:lnTo>
                      <a:pt x="450" y="798"/>
                    </a:lnTo>
                    <a:lnTo>
                      <a:pt x="444" y="798"/>
                    </a:lnTo>
                    <a:lnTo>
                      <a:pt x="438" y="804"/>
                    </a:lnTo>
                    <a:lnTo>
                      <a:pt x="420" y="804"/>
                    </a:lnTo>
                    <a:lnTo>
                      <a:pt x="408" y="810"/>
                    </a:lnTo>
                    <a:lnTo>
                      <a:pt x="390" y="828"/>
                    </a:lnTo>
                    <a:close/>
                    <a:moveTo>
                      <a:pt x="300" y="900"/>
                    </a:moveTo>
                    <a:lnTo>
                      <a:pt x="300" y="912"/>
                    </a:lnTo>
                    <a:lnTo>
                      <a:pt x="294" y="924"/>
                    </a:lnTo>
                    <a:lnTo>
                      <a:pt x="300" y="918"/>
                    </a:lnTo>
                    <a:lnTo>
                      <a:pt x="312" y="912"/>
                    </a:lnTo>
                    <a:lnTo>
                      <a:pt x="318" y="900"/>
                    </a:lnTo>
                    <a:lnTo>
                      <a:pt x="318" y="894"/>
                    </a:lnTo>
                    <a:lnTo>
                      <a:pt x="324" y="888"/>
                    </a:lnTo>
                    <a:lnTo>
                      <a:pt x="324" y="882"/>
                    </a:lnTo>
                    <a:lnTo>
                      <a:pt x="342" y="858"/>
                    </a:lnTo>
                    <a:lnTo>
                      <a:pt x="336" y="840"/>
                    </a:lnTo>
                    <a:lnTo>
                      <a:pt x="330" y="852"/>
                    </a:lnTo>
                    <a:lnTo>
                      <a:pt x="312" y="870"/>
                    </a:lnTo>
                    <a:lnTo>
                      <a:pt x="300" y="894"/>
                    </a:lnTo>
                    <a:lnTo>
                      <a:pt x="300" y="9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3" name="Spa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9297061-588C-BEFA-EAED-0D22C9A6D27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5692" y="2330655"/>
                <a:ext cx="393764" cy="276735"/>
              </a:xfrm>
              <a:custGeom>
                <a:avLst/>
                <a:gdLst>
                  <a:gd name="T0" fmla="*/ 2147483647 w 876"/>
                  <a:gd name="T1" fmla="*/ 2147483647 h 618"/>
                  <a:gd name="T2" fmla="*/ 2147483647 w 876"/>
                  <a:gd name="T3" fmla="*/ 2147483647 h 618"/>
                  <a:gd name="T4" fmla="*/ 2147483647 w 876"/>
                  <a:gd name="T5" fmla="*/ 2147483647 h 618"/>
                  <a:gd name="T6" fmla="*/ 2147483647 w 876"/>
                  <a:gd name="T7" fmla="*/ 2147483647 h 618"/>
                  <a:gd name="T8" fmla="*/ 2147483647 w 876"/>
                  <a:gd name="T9" fmla="*/ 2147483647 h 618"/>
                  <a:gd name="T10" fmla="*/ 2147483647 w 876"/>
                  <a:gd name="T11" fmla="*/ 2147483647 h 618"/>
                  <a:gd name="T12" fmla="*/ 2147483647 w 876"/>
                  <a:gd name="T13" fmla="*/ 2147483647 h 618"/>
                  <a:gd name="T14" fmla="*/ 2147483647 w 876"/>
                  <a:gd name="T15" fmla="*/ 2147483647 h 618"/>
                  <a:gd name="T16" fmla="*/ 2147483647 w 876"/>
                  <a:gd name="T17" fmla="*/ 2147483647 h 618"/>
                  <a:gd name="T18" fmla="*/ 2147483647 w 876"/>
                  <a:gd name="T19" fmla="*/ 2147483647 h 618"/>
                  <a:gd name="T20" fmla="*/ 2147483647 w 876"/>
                  <a:gd name="T21" fmla="*/ 2147483647 h 618"/>
                  <a:gd name="T22" fmla="*/ 2147483647 w 876"/>
                  <a:gd name="T23" fmla="*/ 2147483647 h 618"/>
                  <a:gd name="T24" fmla="*/ 2147483647 w 876"/>
                  <a:gd name="T25" fmla="*/ 2147483647 h 618"/>
                  <a:gd name="T26" fmla="*/ 2147483647 w 876"/>
                  <a:gd name="T27" fmla="*/ 2147483647 h 618"/>
                  <a:gd name="T28" fmla="*/ 2147483647 w 876"/>
                  <a:gd name="T29" fmla="*/ 2147483647 h 618"/>
                  <a:gd name="T30" fmla="*/ 2147483647 w 876"/>
                  <a:gd name="T31" fmla="*/ 2147483647 h 618"/>
                  <a:gd name="T32" fmla="*/ 2147483647 w 876"/>
                  <a:gd name="T33" fmla="*/ 2147483647 h 618"/>
                  <a:gd name="T34" fmla="*/ 2147483647 w 876"/>
                  <a:gd name="T35" fmla="*/ 2147483647 h 618"/>
                  <a:gd name="T36" fmla="*/ 2147483647 w 876"/>
                  <a:gd name="T37" fmla="*/ 2147483647 h 618"/>
                  <a:gd name="T38" fmla="*/ 2147483647 w 876"/>
                  <a:gd name="T39" fmla="*/ 2147483647 h 618"/>
                  <a:gd name="T40" fmla="*/ 2147483647 w 876"/>
                  <a:gd name="T41" fmla="*/ 0 h 618"/>
                  <a:gd name="T42" fmla="*/ 2147483647 w 876"/>
                  <a:gd name="T43" fmla="*/ 2147483647 h 618"/>
                  <a:gd name="T44" fmla="*/ 0 w 876"/>
                  <a:gd name="T45" fmla="*/ 2147483647 h 618"/>
                  <a:gd name="T46" fmla="*/ 2147483647 w 876"/>
                  <a:gd name="T47" fmla="*/ 2147483647 h 618"/>
                  <a:gd name="T48" fmla="*/ 2147483647 w 876"/>
                  <a:gd name="T49" fmla="*/ 2147483647 h 618"/>
                  <a:gd name="T50" fmla="*/ 2147483647 w 876"/>
                  <a:gd name="T51" fmla="*/ 2147483647 h 618"/>
                  <a:gd name="T52" fmla="*/ 2147483647 w 876"/>
                  <a:gd name="T53" fmla="*/ 2147483647 h 618"/>
                  <a:gd name="T54" fmla="*/ 2147483647 w 876"/>
                  <a:gd name="T55" fmla="*/ 2147483647 h 618"/>
                  <a:gd name="T56" fmla="*/ 2147483647 w 876"/>
                  <a:gd name="T57" fmla="*/ 2147483647 h 618"/>
                  <a:gd name="T58" fmla="*/ 2147483647 w 876"/>
                  <a:gd name="T59" fmla="*/ 2147483647 h 618"/>
                  <a:gd name="T60" fmla="*/ 2147483647 w 876"/>
                  <a:gd name="T61" fmla="*/ 2147483647 h 618"/>
                  <a:gd name="T62" fmla="*/ 2147483647 w 876"/>
                  <a:gd name="T63" fmla="*/ 2147483647 h 618"/>
                  <a:gd name="T64" fmla="*/ 2147483647 w 876"/>
                  <a:gd name="T65" fmla="*/ 2147483647 h 618"/>
                  <a:gd name="T66" fmla="*/ 2147483647 w 876"/>
                  <a:gd name="T67" fmla="*/ 2147483647 h 618"/>
                  <a:gd name="T68" fmla="*/ 2147483647 w 876"/>
                  <a:gd name="T69" fmla="*/ 2147483647 h 618"/>
                  <a:gd name="T70" fmla="*/ 2147483647 w 876"/>
                  <a:gd name="T71" fmla="*/ 2147483647 h 618"/>
                  <a:gd name="T72" fmla="*/ 2147483647 w 876"/>
                  <a:gd name="T73" fmla="*/ 2147483647 h 618"/>
                  <a:gd name="T74" fmla="*/ 2147483647 w 876"/>
                  <a:gd name="T75" fmla="*/ 2147483647 h 618"/>
                  <a:gd name="T76" fmla="*/ 2147483647 w 876"/>
                  <a:gd name="T77" fmla="*/ 2147483647 h 618"/>
                  <a:gd name="T78" fmla="*/ 2147483647 w 876"/>
                  <a:gd name="T79" fmla="*/ 2147483647 h 618"/>
                  <a:gd name="T80" fmla="*/ 2147483647 w 876"/>
                  <a:gd name="T81" fmla="*/ 2147483647 h 618"/>
                  <a:gd name="T82" fmla="*/ 2147483647 w 876"/>
                  <a:gd name="T83" fmla="*/ 2147483647 h 618"/>
                  <a:gd name="T84" fmla="*/ 2147483647 w 876"/>
                  <a:gd name="T85" fmla="*/ 2147483647 h 618"/>
                  <a:gd name="T86" fmla="*/ 2147483647 w 876"/>
                  <a:gd name="T87" fmla="*/ 2147483647 h 618"/>
                  <a:gd name="T88" fmla="*/ 2147483647 w 876"/>
                  <a:gd name="T89" fmla="*/ 2147483647 h 618"/>
                  <a:gd name="T90" fmla="*/ 2147483647 w 876"/>
                  <a:gd name="T91" fmla="*/ 2147483647 h 618"/>
                  <a:gd name="T92" fmla="*/ 2147483647 w 876"/>
                  <a:gd name="T93" fmla="*/ 2147483647 h 618"/>
                  <a:gd name="T94" fmla="*/ 2147483647 w 876"/>
                  <a:gd name="T95" fmla="*/ 2147483647 h 618"/>
                  <a:gd name="T96" fmla="*/ 2147483647 w 876"/>
                  <a:gd name="T97" fmla="*/ 2147483647 h 618"/>
                  <a:gd name="T98" fmla="*/ 2147483647 w 876"/>
                  <a:gd name="T99" fmla="*/ 2147483647 h 618"/>
                  <a:gd name="T100" fmla="*/ 2147483647 w 876"/>
                  <a:gd name="T101" fmla="*/ 2147483647 h 618"/>
                  <a:gd name="T102" fmla="*/ 2147483647 w 876"/>
                  <a:gd name="T103" fmla="*/ 2147483647 h 618"/>
                  <a:gd name="T104" fmla="*/ 2147483647 w 876"/>
                  <a:gd name="T105" fmla="*/ 2147483647 h 618"/>
                  <a:gd name="T106" fmla="*/ 2147483647 w 876"/>
                  <a:gd name="T107" fmla="*/ 2147483647 h 618"/>
                  <a:gd name="T108" fmla="*/ 2147483647 w 876"/>
                  <a:gd name="T109" fmla="*/ 2147483647 h 6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6"/>
                  <a:gd name="T166" fmla="*/ 0 h 618"/>
                  <a:gd name="T167" fmla="*/ 876 w 876"/>
                  <a:gd name="T168" fmla="*/ 618 h 61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6" h="618">
                    <a:moveTo>
                      <a:pt x="804" y="318"/>
                    </a:moveTo>
                    <a:lnTo>
                      <a:pt x="798" y="312"/>
                    </a:lnTo>
                    <a:lnTo>
                      <a:pt x="798" y="306"/>
                    </a:lnTo>
                    <a:lnTo>
                      <a:pt x="786" y="306"/>
                    </a:lnTo>
                    <a:lnTo>
                      <a:pt x="762" y="318"/>
                    </a:lnTo>
                    <a:lnTo>
                      <a:pt x="750" y="330"/>
                    </a:lnTo>
                    <a:lnTo>
                      <a:pt x="750" y="336"/>
                    </a:lnTo>
                    <a:lnTo>
                      <a:pt x="756" y="342"/>
                    </a:lnTo>
                    <a:lnTo>
                      <a:pt x="768" y="342"/>
                    </a:lnTo>
                    <a:lnTo>
                      <a:pt x="774" y="348"/>
                    </a:lnTo>
                    <a:lnTo>
                      <a:pt x="774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816" y="324"/>
                    </a:lnTo>
                    <a:lnTo>
                      <a:pt x="810" y="318"/>
                    </a:lnTo>
                    <a:lnTo>
                      <a:pt x="804" y="318"/>
                    </a:lnTo>
                    <a:close/>
                    <a:moveTo>
                      <a:pt x="672" y="390"/>
                    </a:moveTo>
                    <a:lnTo>
                      <a:pt x="678" y="396"/>
                    </a:lnTo>
                    <a:lnTo>
                      <a:pt x="684" y="396"/>
                    </a:lnTo>
                    <a:lnTo>
                      <a:pt x="690" y="390"/>
                    </a:lnTo>
                    <a:lnTo>
                      <a:pt x="690" y="372"/>
                    </a:lnTo>
                    <a:lnTo>
                      <a:pt x="684" y="372"/>
                    </a:lnTo>
                    <a:lnTo>
                      <a:pt x="672" y="384"/>
                    </a:lnTo>
                    <a:lnTo>
                      <a:pt x="672" y="390"/>
                    </a:lnTo>
                    <a:close/>
                    <a:moveTo>
                      <a:pt x="840" y="300"/>
                    </a:moveTo>
                    <a:lnTo>
                      <a:pt x="840" y="306"/>
                    </a:lnTo>
                    <a:lnTo>
                      <a:pt x="852" y="318"/>
                    </a:lnTo>
                    <a:lnTo>
                      <a:pt x="870" y="318"/>
                    </a:lnTo>
                    <a:lnTo>
                      <a:pt x="876" y="312"/>
                    </a:lnTo>
                    <a:lnTo>
                      <a:pt x="864" y="300"/>
                    </a:lnTo>
                    <a:lnTo>
                      <a:pt x="852" y="300"/>
                    </a:lnTo>
                    <a:lnTo>
                      <a:pt x="846" y="294"/>
                    </a:lnTo>
                    <a:lnTo>
                      <a:pt x="840" y="300"/>
                    </a:lnTo>
                    <a:close/>
                    <a:moveTo>
                      <a:pt x="804" y="150"/>
                    </a:moveTo>
                    <a:lnTo>
                      <a:pt x="798" y="138"/>
                    </a:lnTo>
                    <a:lnTo>
                      <a:pt x="798" y="132"/>
                    </a:lnTo>
                    <a:lnTo>
                      <a:pt x="810" y="120"/>
                    </a:lnTo>
                    <a:lnTo>
                      <a:pt x="798" y="114"/>
                    </a:lnTo>
                    <a:lnTo>
                      <a:pt x="792" y="108"/>
                    </a:lnTo>
                    <a:lnTo>
                      <a:pt x="792" y="102"/>
                    </a:lnTo>
                    <a:lnTo>
                      <a:pt x="780" y="102"/>
                    </a:lnTo>
                    <a:lnTo>
                      <a:pt x="780" y="108"/>
                    </a:lnTo>
                    <a:lnTo>
                      <a:pt x="774" y="114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26" y="108"/>
                    </a:lnTo>
                    <a:lnTo>
                      <a:pt x="726" y="102"/>
                    </a:lnTo>
                    <a:lnTo>
                      <a:pt x="708" y="102"/>
                    </a:lnTo>
                    <a:lnTo>
                      <a:pt x="696" y="108"/>
                    </a:lnTo>
                    <a:lnTo>
                      <a:pt x="690" y="84"/>
                    </a:lnTo>
                    <a:lnTo>
                      <a:pt x="672" y="84"/>
                    </a:lnTo>
                    <a:lnTo>
                      <a:pt x="672" y="78"/>
                    </a:lnTo>
                    <a:lnTo>
                      <a:pt x="666" y="72"/>
                    </a:lnTo>
                    <a:lnTo>
                      <a:pt x="648" y="72"/>
                    </a:lnTo>
                    <a:lnTo>
                      <a:pt x="642" y="78"/>
                    </a:lnTo>
                    <a:lnTo>
                      <a:pt x="642" y="90"/>
                    </a:lnTo>
                    <a:lnTo>
                      <a:pt x="624" y="96"/>
                    </a:lnTo>
                    <a:lnTo>
                      <a:pt x="624" y="84"/>
                    </a:lnTo>
                    <a:lnTo>
                      <a:pt x="594" y="84"/>
                    </a:lnTo>
                    <a:lnTo>
                      <a:pt x="582" y="72"/>
                    </a:lnTo>
                    <a:lnTo>
                      <a:pt x="570" y="72"/>
                    </a:lnTo>
                    <a:lnTo>
                      <a:pt x="564" y="78"/>
                    </a:lnTo>
                    <a:lnTo>
                      <a:pt x="546" y="60"/>
                    </a:lnTo>
                    <a:lnTo>
                      <a:pt x="510" y="60"/>
                    </a:lnTo>
                    <a:lnTo>
                      <a:pt x="516" y="54"/>
                    </a:lnTo>
                    <a:lnTo>
                      <a:pt x="516" y="48"/>
                    </a:lnTo>
                    <a:lnTo>
                      <a:pt x="504" y="36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36"/>
                    </a:lnTo>
                    <a:lnTo>
                      <a:pt x="450" y="36"/>
                    </a:lnTo>
                    <a:lnTo>
                      <a:pt x="390" y="24"/>
                    </a:lnTo>
                    <a:lnTo>
                      <a:pt x="378" y="24"/>
                    </a:lnTo>
                    <a:lnTo>
                      <a:pt x="348" y="36"/>
                    </a:lnTo>
                    <a:lnTo>
                      <a:pt x="294" y="30"/>
                    </a:lnTo>
                    <a:lnTo>
                      <a:pt x="258" y="12"/>
                    </a:lnTo>
                    <a:lnTo>
                      <a:pt x="234" y="12"/>
                    </a:lnTo>
                    <a:lnTo>
                      <a:pt x="216" y="18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2" y="90"/>
                    </a:lnTo>
                    <a:lnTo>
                      <a:pt x="24" y="96"/>
                    </a:lnTo>
                    <a:lnTo>
                      <a:pt x="30" y="102"/>
                    </a:lnTo>
                    <a:lnTo>
                      <a:pt x="18" y="138"/>
                    </a:lnTo>
                    <a:lnTo>
                      <a:pt x="24" y="144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5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78" y="15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14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74" y="144"/>
                    </a:lnTo>
                    <a:lnTo>
                      <a:pt x="174" y="162"/>
                    </a:lnTo>
                    <a:lnTo>
                      <a:pt x="180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68" y="198"/>
                    </a:lnTo>
                    <a:lnTo>
                      <a:pt x="144" y="210"/>
                    </a:lnTo>
                    <a:lnTo>
                      <a:pt x="138" y="216"/>
                    </a:lnTo>
                    <a:lnTo>
                      <a:pt x="138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0" y="240"/>
                    </a:lnTo>
                    <a:lnTo>
                      <a:pt x="144" y="258"/>
                    </a:lnTo>
                    <a:lnTo>
                      <a:pt x="144" y="276"/>
                    </a:lnTo>
                    <a:lnTo>
                      <a:pt x="138" y="276"/>
                    </a:lnTo>
                    <a:lnTo>
                      <a:pt x="132" y="282"/>
                    </a:lnTo>
                    <a:lnTo>
                      <a:pt x="132" y="294"/>
                    </a:lnTo>
                    <a:lnTo>
                      <a:pt x="138" y="300"/>
                    </a:lnTo>
                    <a:lnTo>
                      <a:pt x="138" y="312"/>
                    </a:lnTo>
                    <a:lnTo>
                      <a:pt x="126" y="324"/>
                    </a:lnTo>
                    <a:lnTo>
                      <a:pt x="90" y="324"/>
                    </a:lnTo>
                    <a:lnTo>
                      <a:pt x="114" y="348"/>
                    </a:lnTo>
                    <a:lnTo>
                      <a:pt x="114" y="360"/>
                    </a:lnTo>
                    <a:lnTo>
                      <a:pt x="120" y="366"/>
                    </a:lnTo>
                    <a:lnTo>
                      <a:pt x="132" y="372"/>
                    </a:lnTo>
                    <a:lnTo>
                      <a:pt x="132" y="378"/>
                    </a:lnTo>
                    <a:lnTo>
                      <a:pt x="120" y="390"/>
                    </a:lnTo>
                    <a:lnTo>
                      <a:pt x="108" y="396"/>
                    </a:lnTo>
                    <a:lnTo>
                      <a:pt x="96" y="408"/>
                    </a:lnTo>
                    <a:lnTo>
                      <a:pt x="96" y="414"/>
                    </a:lnTo>
                    <a:lnTo>
                      <a:pt x="102" y="420"/>
                    </a:lnTo>
                    <a:lnTo>
                      <a:pt x="102" y="426"/>
                    </a:lnTo>
                    <a:lnTo>
                      <a:pt x="108" y="438"/>
                    </a:lnTo>
                    <a:lnTo>
                      <a:pt x="114" y="444"/>
                    </a:lnTo>
                    <a:lnTo>
                      <a:pt x="126" y="444"/>
                    </a:lnTo>
                    <a:lnTo>
                      <a:pt x="126" y="450"/>
                    </a:lnTo>
                    <a:lnTo>
                      <a:pt x="114" y="462"/>
                    </a:lnTo>
                    <a:lnTo>
                      <a:pt x="102" y="462"/>
                    </a:lnTo>
                    <a:lnTo>
                      <a:pt x="96" y="474"/>
                    </a:lnTo>
                    <a:lnTo>
                      <a:pt x="90" y="480"/>
                    </a:lnTo>
                    <a:lnTo>
                      <a:pt x="90" y="528"/>
                    </a:lnTo>
                    <a:lnTo>
                      <a:pt x="120" y="528"/>
                    </a:lnTo>
                    <a:lnTo>
                      <a:pt x="144" y="546"/>
                    </a:lnTo>
                    <a:lnTo>
                      <a:pt x="162" y="546"/>
                    </a:lnTo>
                    <a:lnTo>
                      <a:pt x="156" y="576"/>
                    </a:lnTo>
                    <a:lnTo>
                      <a:pt x="162" y="576"/>
                    </a:lnTo>
                    <a:lnTo>
                      <a:pt x="162" y="594"/>
                    </a:lnTo>
                    <a:lnTo>
                      <a:pt x="168" y="606"/>
                    </a:lnTo>
                    <a:lnTo>
                      <a:pt x="174" y="612"/>
                    </a:lnTo>
                    <a:lnTo>
                      <a:pt x="192" y="612"/>
                    </a:lnTo>
                    <a:lnTo>
                      <a:pt x="198" y="618"/>
                    </a:lnTo>
                    <a:lnTo>
                      <a:pt x="204" y="618"/>
                    </a:lnTo>
                    <a:lnTo>
                      <a:pt x="210" y="612"/>
                    </a:lnTo>
                    <a:lnTo>
                      <a:pt x="222" y="606"/>
                    </a:lnTo>
                    <a:lnTo>
                      <a:pt x="240" y="588"/>
                    </a:lnTo>
                    <a:lnTo>
                      <a:pt x="252" y="582"/>
                    </a:lnTo>
                    <a:lnTo>
                      <a:pt x="264" y="582"/>
                    </a:lnTo>
                    <a:lnTo>
                      <a:pt x="294" y="564"/>
                    </a:lnTo>
                    <a:lnTo>
                      <a:pt x="360" y="564"/>
                    </a:lnTo>
                    <a:lnTo>
                      <a:pt x="366" y="558"/>
                    </a:lnTo>
                    <a:lnTo>
                      <a:pt x="378" y="558"/>
                    </a:lnTo>
                    <a:lnTo>
                      <a:pt x="390" y="570"/>
                    </a:lnTo>
                    <a:lnTo>
                      <a:pt x="396" y="570"/>
                    </a:lnTo>
                    <a:lnTo>
                      <a:pt x="408" y="564"/>
                    </a:lnTo>
                    <a:lnTo>
                      <a:pt x="420" y="564"/>
                    </a:lnTo>
                    <a:lnTo>
                      <a:pt x="426" y="558"/>
                    </a:lnTo>
                    <a:lnTo>
                      <a:pt x="432" y="558"/>
                    </a:lnTo>
                    <a:lnTo>
                      <a:pt x="432" y="570"/>
                    </a:lnTo>
                    <a:lnTo>
                      <a:pt x="438" y="570"/>
                    </a:lnTo>
                    <a:lnTo>
                      <a:pt x="450" y="558"/>
                    </a:lnTo>
                    <a:lnTo>
                      <a:pt x="462" y="534"/>
                    </a:lnTo>
                    <a:lnTo>
                      <a:pt x="462" y="522"/>
                    </a:lnTo>
                    <a:lnTo>
                      <a:pt x="498" y="492"/>
                    </a:lnTo>
                    <a:lnTo>
                      <a:pt x="528" y="492"/>
                    </a:lnTo>
                    <a:lnTo>
                      <a:pt x="534" y="474"/>
                    </a:lnTo>
                    <a:lnTo>
                      <a:pt x="534" y="468"/>
                    </a:lnTo>
                    <a:lnTo>
                      <a:pt x="540" y="462"/>
                    </a:lnTo>
                    <a:lnTo>
                      <a:pt x="540" y="450"/>
                    </a:lnTo>
                    <a:lnTo>
                      <a:pt x="546" y="444"/>
                    </a:lnTo>
                    <a:lnTo>
                      <a:pt x="552" y="432"/>
                    </a:lnTo>
                    <a:lnTo>
                      <a:pt x="552" y="426"/>
                    </a:lnTo>
                    <a:lnTo>
                      <a:pt x="570" y="426"/>
                    </a:lnTo>
                    <a:lnTo>
                      <a:pt x="594" y="414"/>
                    </a:lnTo>
                    <a:lnTo>
                      <a:pt x="600" y="408"/>
                    </a:lnTo>
                    <a:lnTo>
                      <a:pt x="594" y="396"/>
                    </a:lnTo>
                    <a:lnTo>
                      <a:pt x="588" y="390"/>
                    </a:lnTo>
                    <a:lnTo>
                      <a:pt x="582" y="378"/>
                    </a:lnTo>
                    <a:lnTo>
                      <a:pt x="576" y="372"/>
                    </a:lnTo>
                    <a:lnTo>
                      <a:pt x="570" y="372"/>
                    </a:lnTo>
                    <a:lnTo>
                      <a:pt x="570" y="336"/>
                    </a:lnTo>
                    <a:lnTo>
                      <a:pt x="582" y="312"/>
                    </a:lnTo>
                    <a:lnTo>
                      <a:pt x="594" y="306"/>
                    </a:lnTo>
                    <a:lnTo>
                      <a:pt x="600" y="294"/>
                    </a:lnTo>
                    <a:lnTo>
                      <a:pt x="612" y="282"/>
                    </a:lnTo>
                    <a:lnTo>
                      <a:pt x="618" y="270"/>
                    </a:lnTo>
                    <a:lnTo>
                      <a:pt x="630" y="258"/>
                    </a:lnTo>
                    <a:lnTo>
                      <a:pt x="642" y="258"/>
                    </a:lnTo>
                    <a:lnTo>
                      <a:pt x="654" y="246"/>
                    </a:lnTo>
                    <a:lnTo>
                      <a:pt x="654" y="240"/>
                    </a:lnTo>
                    <a:lnTo>
                      <a:pt x="648" y="240"/>
                    </a:lnTo>
                    <a:lnTo>
                      <a:pt x="648" y="228"/>
                    </a:lnTo>
                    <a:lnTo>
                      <a:pt x="654" y="222"/>
                    </a:lnTo>
                    <a:lnTo>
                      <a:pt x="726" y="198"/>
                    </a:lnTo>
                    <a:lnTo>
                      <a:pt x="750" y="186"/>
                    </a:lnTo>
                    <a:lnTo>
                      <a:pt x="756" y="174"/>
                    </a:lnTo>
                    <a:lnTo>
                      <a:pt x="768" y="168"/>
                    </a:lnTo>
                    <a:lnTo>
                      <a:pt x="774" y="168"/>
                    </a:lnTo>
                    <a:lnTo>
                      <a:pt x="786" y="156"/>
                    </a:lnTo>
                    <a:lnTo>
                      <a:pt x="798" y="156"/>
                    </a:lnTo>
                    <a:lnTo>
                      <a:pt x="804" y="1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4" name="Slov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578B112-5A56-929A-567F-A78BE481BF7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11963" y="2215347"/>
                <a:ext cx="94006" cy="54992"/>
              </a:xfrm>
              <a:custGeom>
                <a:avLst/>
                <a:gdLst>
                  <a:gd name="T0" fmla="*/ 2147483647 w 210"/>
                  <a:gd name="T1" fmla="*/ 2147483647 h 120"/>
                  <a:gd name="T2" fmla="*/ 2147483647 w 210"/>
                  <a:gd name="T3" fmla="*/ 2147483647 h 120"/>
                  <a:gd name="T4" fmla="*/ 2147483647 w 210"/>
                  <a:gd name="T5" fmla="*/ 2147483647 h 120"/>
                  <a:gd name="T6" fmla="*/ 2147483647 w 210"/>
                  <a:gd name="T7" fmla="*/ 2147483647 h 120"/>
                  <a:gd name="T8" fmla="*/ 2147483647 w 210"/>
                  <a:gd name="T9" fmla="*/ 2147483647 h 120"/>
                  <a:gd name="T10" fmla="*/ 2147483647 w 210"/>
                  <a:gd name="T11" fmla="*/ 2147483647 h 120"/>
                  <a:gd name="T12" fmla="*/ 2147483647 w 210"/>
                  <a:gd name="T13" fmla="*/ 2147483647 h 120"/>
                  <a:gd name="T14" fmla="*/ 2147483647 w 210"/>
                  <a:gd name="T15" fmla="*/ 2147483647 h 120"/>
                  <a:gd name="T16" fmla="*/ 2147483647 w 210"/>
                  <a:gd name="T17" fmla="*/ 2147483647 h 120"/>
                  <a:gd name="T18" fmla="*/ 2147483647 w 210"/>
                  <a:gd name="T19" fmla="*/ 2147483647 h 120"/>
                  <a:gd name="T20" fmla="*/ 2147483647 w 210"/>
                  <a:gd name="T21" fmla="*/ 2147483647 h 120"/>
                  <a:gd name="T22" fmla="*/ 2147483647 w 210"/>
                  <a:gd name="T23" fmla="*/ 2147483647 h 120"/>
                  <a:gd name="T24" fmla="*/ 2147483647 w 210"/>
                  <a:gd name="T25" fmla="*/ 2147483647 h 120"/>
                  <a:gd name="T26" fmla="*/ 2147483647 w 210"/>
                  <a:gd name="T27" fmla="*/ 2147483647 h 120"/>
                  <a:gd name="T28" fmla="*/ 2147483647 w 210"/>
                  <a:gd name="T29" fmla="*/ 2147483647 h 120"/>
                  <a:gd name="T30" fmla="*/ 2147483647 w 210"/>
                  <a:gd name="T31" fmla="*/ 2147483647 h 120"/>
                  <a:gd name="T32" fmla="*/ 2147483647 w 210"/>
                  <a:gd name="T33" fmla="*/ 2147483647 h 120"/>
                  <a:gd name="T34" fmla="*/ 2147483647 w 210"/>
                  <a:gd name="T35" fmla="*/ 2147483647 h 120"/>
                  <a:gd name="T36" fmla="*/ 2147483647 w 210"/>
                  <a:gd name="T37" fmla="*/ 2147483647 h 120"/>
                  <a:gd name="T38" fmla="*/ 2147483647 w 210"/>
                  <a:gd name="T39" fmla="*/ 2147483647 h 120"/>
                  <a:gd name="T40" fmla="*/ 2147483647 w 210"/>
                  <a:gd name="T41" fmla="*/ 2147483647 h 120"/>
                  <a:gd name="T42" fmla="*/ 2147483647 w 210"/>
                  <a:gd name="T43" fmla="*/ 0 h 120"/>
                  <a:gd name="T44" fmla="*/ 2147483647 w 210"/>
                  <a:gd name="T45" fmla="*/ 2147483647 h 120"/>
                  <a:gd name="T46" fmla="*/ 2147483647 w 210"/>
                  <a:gd name="T47" fmla="*/ 2147483647 h 120"/>
                  <a:gd name="T48" fmla="*/ 2147483647 w 210"/>
                  <a:gd name="T49" fmla="*/ 2147483647 h 120"/>
                  <a:gd name="T50" fmla="*/ 2147483647 w 210"/>
                  <a:gd name="T51" fmla="*/ 2147483647 h 120"/>
                  <a:gd name="T52" fmla="*/ 2147483647 w 210"/>
                  <a:gd name="T53" fmla="*/ 2147483647 h 120"/>
                  <a:gd name="T54" fmla="*/ 2147483647 w 210"/>
                  <a:gd name="T55" fmla="*/ 2147483647 h 120"/>
                  <a:gd name="T56" fmla="*/ 2147483647 w 210"/>
                  <a:gd name="T57" fmla="*/ 2147483647 h 120"/>
                  <a:gd name="T58" fmla="*/ 2147483647 w 210"/>
                  <a:gd name="T59" fmla="*/ 2147483647 h 120"/>
                  <a:gd name="T60" fmla="*/ 2147483647 w 210"/>
                  <a:gd name="T61" fmla="*/ 2147483647 h 120"/>
                  <a:gd name="T62" fmla="*/ 2147483647 w 210"/>
                  <a:gd name="T63" fmla="*/ 2147483647 h 120"/>
                  <a:gd name="T64" fmla="*/ 2147483647 w 210"/>
                  <a:gd name="T65" fmla="*/ 2147483647 h 120"/>
                  <a:gd name="T66" fmla="*/ 2147483647 w 210"/>
                  <a:gd name="T67" fmla="*/ 2147483647 h 120"/>
                  <a:gd name="T68" fmla="*/ 0 w 210"/>
                  <a:gd name="T69" fmla="*/ 2147483647 h 120"/>
                  <a:gd name="T70" fmla="*/ 2147483647 w 210"/>
                  <a:gd name="T71" fmla="*/ 2147483647 h 120"/>
                  <a:gd name="T72" fmla="*/ 2147483647 w 210"/>
                  <a:gd name="T73" fmla="*/ 2147483647 h 120"/>
                  <a:gd name="T74" fmla="*/ 2147483647 w 210"/>
                  <a:gd name="T75" fmla="*/ 2147483647 h 120"/>
                  <a:gd name="T76" fmla="*/ 2147483647 w 210"/>
                  <a:gd name="T77" fmla="*/ 2147483647 h 120"/>
                  <a:gd name="T78" fmla="*/ 2147483647 w 210"/>
                  <a:gd name="T79" fmla="*/ 2147483647 h 120"/>
                  <a:gd name="T80" fmla="*/ 2147483647 w 210"/>
                  <a:gd name="T81" fmla="*/ 2147483647 h 120"/>
                  <a:gd name="T82" fmla="*/ 2147483647 w 210"/>
                  <a:gd name="T83" fmla="*/ 2147483647 h 120"/>
                  <a:gd name="T84" fmla="*/ 2147483647 w 210"/>
                  <a:gd name="T85" fmla="*/ 2147483647 h 120"/>
                  <a:gd name="T86" fmla="*/ 2147483647 w 210"/>
                  <a:gd name="T87" fmla="*/ 2147483647 h 1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120"/>
                  <a:gd name="T134" fmla="*/ 210 w 210"/>
                  <a:gd name="T135" fmla="*/ 120 h 1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120">
                    <a:moveTo>
                      <a:pt x="24" y="120"/>
                    </a:moveTo>
                    <a:lnTo>
                      <a:pt x="42" y="120"/>
                    </a:lnTo>
                    <a:lnTo>
                      <a:pt x="42" y="108"/>
                    </a:lnTo>
                    <a:lnTo>
                      <a:pt x="54" y="114"/>
                    </a:lnTo>
                    <a:lnTo>
                      <a:pt x="72" y="114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84" y="114"/>
                    </a:lnTo>
                    <a:lnTo>
                      <a:pt x="126" y="114"/>
                    </a:lnTo>
                    <a:lnTo>
                      <a:pt x="126" y="96"/>
                    </a:lnTo>
                    <a:lnTo>
                      <a:pt x="138" y="90"/>
                    </a:lnTo>
                    <a:lnTo>
                      <a:pt x="150" y="78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54"/>
                    </a:lnTo>
                    <a:lnTo>
                      <a:pt x="174" y="54"/>
                    </a:lnTo>
                    <a:lnTo>
                      <a:pt x="186" y="48"/>
                    </a:lnTo>
                    <a:lnTo>
                      <a:pt x="186" y="36"/>
                    </a:lnTo>
                    <a:lnTo>
                      <a:pt x="210" y="36"/>
                    </a:lnTo>
                    <a:lnTo>
                      <a:pt x="192" y="24"/>
                    </a:lnTo>
                    <a:lnTo>
                      <a:pt x="186" y="6"/>
                    </a:lnTo>
                    <a:lnTo>
                      <a:pt x="180" y="0"/>
                    </a:lnTo>
                    <a:lnTo>
                      <a:pt x="174" y="12"/>
                    </a:lnTo>
                    <a:lnTo>
                      <a:pt x="168" y="30"/>
                    </a:lnTo>
                    <a:lnTo>
                      <a:pt x="144" y="24"/>
                    </a:lnTo>
                    <a:lnTo>
                      <a:pt x="132" y="30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54" y="42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12" y="60"/>
                    </a:lnTo>
                    <a:lnTo>
                      <a:pt x="6" y="96"/>
                    </a:lnTo>
                    <a:lnTo>
                      <a:pt x="18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14"/>
                    </a:lnTo>
                    <a:lnTo>
                      <a:pt x="24" y="1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5" name="Slovak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EE27F00-77A5-64AB-1C9C-0254B26427E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07743" y="2124877"/>
                <a:ext cx="161406" cy="65636"/>
              </a:xfrm>
              <a:custGeom>
                <a:avLst/>
                <a:gdLst>
                  <a:gd name="T0" fmla="*/ 2147483647 w 354"/>
                  <a:gd name="T1" fmla="*/ 2147483647 h 144"/>
                  <a:gd name="T2" fmla="*/ 2147483647 w 354"/>
                  <a:gd name="T3" fmla="*/ 2147483647 h 144"/>
                  <a:gd name="T4" fmla="*/ 2147483647 w 354"/>
                  <a:gd name="T5" fmla="*/ 2147483647 h 144"/>
                  <a:gd name="T6" fmla="*/ 2147483647 w 354"/>
                  <a:gd name="T7" fmla="*/ 2147483647 h 144"/>
                  <a:gd name="T8" fmla="*/ 2147483647 w 354"/>
                  <a:gd name="T9" fmla="*/ 2147483647 h 144"/>
                  <a:gd name="T10" fmla="*/ 2147483647 w 354"/>
                  <a:gd name="T11" fmla="*/ 2147483647 h 144"/>
                  <a:gd name="T12" fmla="*/ 2147483647 w 354"/>
                  <a:gd name="T13" fmla="*/ 2147483647 h 144"/>
                  <a:gd name="T14" fmla="*/ 2147483647 w 354"/>
                  <a:gd name="T15" fmla="*/ 0 h 144"/>
                  <a:gd name="T16" fmla="*/ 2147483647 w 354"/>
                  <a:gd name="T17" fmla="*/ 2147483647 h 144"/>
                  <a:gd name="T18" fmla="*/ 2147483647 w 354"/>
                  <a:gd name="T19" fmla="*/ 0 h 144"/>
                  <a:gd name="T20" fmla="*/ 2147483647 w 354"/>
                  <a:gd name="T21" fmla="*/ 2147483647 h 144"/>
                  <a:gd name="T22" fmla="*/ 2147483647 w 354"/>
                  <a:gd name="T23" fmla="*/ 2147483647 h 144"/>
                  <a:gd name="T24" fmla="*/ 2147483647 w 354"/>
                  <a:gd name="T25" fmla="*/ 2147483647 h 144"/>
                  <a:gd name="T26" fmla="*/ 2147483647 w 354"/>
                  <a:gd name="T27" fmla="*/ 2147483647 h 144"/>
                  <a:gd name="T28" fmla="*/ 2147483647 w 354"/>
                  <a:gd name="T29" fmla="*/ 2147483647 h 144"/>
                  <a:gd name="T30" fmla="*/ 0 w 354"/>
                  <a:gd name="T31" fmla="*/ 2147483647 h 144"/>
                  <a:gd name="T32" fmla="*/ 2147483647 w 354"/>
                  <a:gd name="T33" fmla="*/ 2147483647 h 144"/>
                  <a:gd name="T34" fmla="*/ 2147483647 w 354"/>
                  <a:gd name="T35" fmla="*/ 2147483647 h 144"/>
                  <a:gd name="T36" fmla="*/ 2147483647 w 354"/>
                  <a:gd name="T37" fmla="*/ 2147483647 h 144"/>
                  <a:gd name="T38" fmla="*/ 2147483647 w 354"/>
                  <a:gd name="T39" fmla="*/ 2147483647 h 144"/>
                  <a:gd name="T40" fmla="*/ 2147483647 w 354"/>
                  <a:gd name="T41" fmla="*/ 2147483647 h 144"/>
                  <a:gd name="T42" fmla="*/ 2147483647 w 354"/>
                  <a:gd name="T43" fmla="*/ 2147483647 h 144"/>
                  <a:gd name="T44" fmla="*/ 2147483647 w 354"/>
                  <a:gd name="T45" fmla="*/ 2147483647 h 144"/>
                  <a:gd name="T46" fmla="*/ 2147483647 w 354"/>
                  <a:gd name="T47" fmla="*/ 2147483647 h 144"/>
                  <a:gd name="T48" fmla="*/ 2147483647 w 354"/>
                  <a:gd name="T49" fmla="*/ 2147483647 h 144"/>
                  <a:gd name="T50" fmla="*/ 2147483647 w 354"/>
                  <a:gd name="T51" fmla="*/ 2147483647 h 144"/>
                  <a:gd name="T52" fmla="*/ 2147483647 w 354"/>
                  <a:gd name="T53" fmla="*/ 2147483647 h 144"/>
                  <a:gd name="T54" fmla="*/ 2147483647 w 354"/>
                  <a:gd name="T55" fmla="*/ 2147483647 h 144"/>
                  <a:gd name="T56" fmla="*/ 2147483647 w 354"/>
                  <a:gd name="T57" fmla="*/ 2147483647 h 144"/>
                  <a:gd name="T58" fmla="*/ 2147483647 w 354"/>
                  <a:gd name="T59" fmla="*/ 2147483647 h 144"/>
                  <a:gd name="T60" fmla="*/ 2147483647 w 354"/>
                  <a:gd name="T61" fmla="*/ 2147483647 h 144"/>
                  <a:gd name="T62" fmla="*/ 2147483647 w 354"/>
                  <a:gd name="T63" fmla="*/ 2147483647 h 144"/>
                  <a:gd name="T64" fmla="*/ 2147483647 w 354"/>
                  <a:gd name="T65" fmla="*/ 2147483647 h 144"/>
                  <a:gd name="T66" fmla="*/ 2147483647 w 354"/>
                  <a:gd name="T67" fmla="*/ 2147483647 h 144"/>
                  <a:gd name="T68" fmla="*/ 2147483647 w 354"/>
                  <a:gd name="T69" fmla="*/ 2147483647 h 1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4"/>
                  <a:gd name="T106" fmla="*/ 0 h 144"/>
                  <a:gd name="T107" fmla="*/ 354 w 354"/>
                  <a:gd name="T108" fmla="*/ 144 h 14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4" h="144">
                    <a:moveTo>
                      <a:pt x="348" y="30"/>
                    </a:moveTo>
                    <a:lnTo>
                      <a:pt x="324" y="30"/>
                    </a:lnTo>
                    <a:lnTo>
                      <a:pt x="300" y="6"/>
                    </a:lnTo>
                    <a:lnTo>
                      <a:pt x="276" y="6"/>
                    </a:lnTo>
                    <a:lnTo>
                      <a:pt x="270" y="12"/>
                    </a:lnTo>
                    <a:lnTo>
                      <a:pt x="258" y="18"/>
                    </a:lnTo>
                    <a:lnTo>
                      <a:pt x="246" y="18"/>
                    </a:lnTo>
                    <a:lnTo>
                      <a:pt x="240" y="12"/>
                    </a:lnTo>
                    <a:lnTo>
                      <a:pt x="210" y="12"/>
                    </a:lnTo>
                    <a:lnTo>
                      <a:pt x="210" y="18"/>
                    </a:lnTo>
                    <a:lnTo>
                      <a:pt x="204" y="24"/>
                    </a:lnTo>
                    <a:lnTo>
                      <a:pt x="192" y="24"/>
                    </a:lnTo>
                    <a:lnTo>
                      <a:pt x="186" y="18"/>
                    </a:lnTo>
                    <a:lnTo>
                      <a:pt x="186" y="12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56" y="0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0"/>
                    </a:lnTo>
                    <a:lnTo>
                      <a:pt x="108" y="12"/>
                    </a:lnTo>
                    <a:lnTo>
                      <a:pt x="84" y="18"/>
                    </a:lnTo>
                    <a:lnTo>
                      <a:pt x="84" y="42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54" y="60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30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0" y="90"/>
                    </a:lnTo>
                    <a:lnTo>
                      <a:pt x="0" y="102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12" y="114"/>
                    </a:lnTo>
                    <a:lnTo>
                      <a:pt x="12" y="126"/>
                    </a:lnTo>
                    <a:lnTo>
                      <a:pt x="6" y="132"/>
                    </a:lnTo>
                    <a:lnTo>
                      <a:pt x="18" y="13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90" y="144"/>
                    </a:lnTo>
                    <a:lnTo>
                      <a:pt x="108" y="138"/>
                    </a:lnTo>
                    <a:lnTo>
                      <a:pt x="120" y="138"/>
                    </a:lnTo>
                    <a:lnTo>
                      <a:pt x="132" y="114"/>
                    </a:lnTo>
                    <a:lnTo>
                      <a:pt x="168" y="120"/>
                    </a:lnTo>
                    <a:lnTo>
                      <a:pt x="174" y="108"/>
                    </a:lnTo>
                    <a:lnTo>
                      <a:pt x="198" y="108"/>
                    </a:lnTo>
                    <a:lnTo>
                      <a:pt x="210" y="102"/>
                    </a:lnTo>
                    <a:lnTo>
                      <a:pt x="216" y="102"/>
                    </a:lnTo>
                    <a:lnTo>
                      <a:pt x="228" y="90"/>
                    </a:lnTo>
                    <a:lnTo>
                      <a:pt x="234" y="78"/>
                    </a:lnTo>
                    <a:lnTo>
                      <a:pt x="258" y="78"/>
                    </a:lnTo>
                    <a:lnTo>
                      <a:pt x="258" y="90"/>
                    </a:lnTo>
                    <a:lnTo>
                      <a:pt x="276" y="96"/>
                    </a:lnTo>
                    <a:lnTo>
                      <a:pt x="276" y="78"/>
                    </a:lnTo>
                    <a:lnTo>
                      <a:pt x="288" y="78"/>
                    </a:lnTo>
                    <a:lnTo>
                      <a:pt x="288" y="90"/>
                    </a:lnTo>
                    <a:lnTo>
                      <a:pt x="300" y="90"/>
                    </a:lnTo>
                    <a:lnTo>
                      <a:pt x="312" y="84"/>
                    </a:lnTo>
                    <a:lnTo>
                      <a:pt x="336" y="84"/>
                    </a:lnTo>
                    <a:lnTo>
                      <a:pt x="336" y="90"/>
                    </a:lnTo>
                    <a:lnTo>
                      <a:pt x="336" y="72"/>
                    </a:lnTo>
                    <a:lnTo>
                      <a:pt x="342" y="72"/>
                    </a:lnTo>
                    <a:lnTo>
                      <a:pt x="348" y="66"/>
                    </a:lnTo>
                    <a:lnTo>
                      <a:pt x="348" y="60"/>
                    </a:lnTo>
                    <a:lnTo>
                      <a:pt x="354" y="54"/>
                    </a:lnTo>
                    <a:lnTo>
                      <a:pt x="354" y="30"/>
                    </a:lnTo>
                    <a:lnTo>
                      <a:pt x="348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6" name="Russia (Urup,Simushir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7BFDC4B-CCA8-7445-C97F-01DE376CD2D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9932526" y="1791377"/>
                <a:ext cx="136575" cy="539278"/>
              </a:xfrm>
              <a:custGeom>
                <a:avLst/>
                <a:gdLst>
                  <a:gd name="T0" fmla="*/ 0 w 300"/>
                  <a:gd name="T1" fmla="*/ 2147483647 h 1194"/>
                  <a:gd name="T2" fmla="*/ 2147483647 w 300"/>
                  <a:gd name="T3" fmla="*/ 2147483647 h 1194"/>
                  <a:gd name="T4" fmla="*/ 2147483647 w 300"/>
                  <a:gd name="T5" fmla="*/ 2147483647 h 1194"/>
                  <a:gd name="T6" fmla="*/ 2147483647 w 300"/>
                  <a:gd name="T7" fmla="*/ 2147483647 h 1194"/>
                  <a:gd name="T8" fmla="*/ 0 w 300"/>
                  <a:gd name="T9" fmla="*/ 2147483647 h 1194"/>
                  <a:gd name="T10" fmla="*/ 2147483647 w 300"/>
                  <a:gd name="T11" fmla="*/ 2147483647 h 1194"/>
                  <a:gd name="T12" fmla="*/ 2147483647 w 300"/>
                  <a:gd name="T13" fmla="*/ 2147483647 h 1194"/>
                  <a:gd name="T14" fmla="*/ 2147483647 w 300"/>
                  <a:gd name="T15" fmla="*/ 2147483647 h 1194"/>
                  <a:gd name="T16" fmla="*/ 2147483647 w 300"/>
                  <a:gd name="T17" fmla="*/ 2147483647 h 1194"/>
                  <a:gd name="T18" fmla="*/ 2147483647 w 300"/>
                  <a:gd name="T19" fmla="*/ 2147483647 h 1194"/>
                  <a:gd name="T20" fmla="*/ 2147483647 w 300"/>
                  <a:gd name="T21" fmla="*/ 2147483647 h 1194"/>
                  <a:gd name="T22" fmla="*/ 2147483647 w 300"/>
                  <a:gd name="T23" fmla="*/ 2147483647 h 1194"/>
                  <a:gd name="T24" fmla="*/ 2147483647 w 300"/>
                  <a:gd name="T25" fmla="*/ 2147483647 h 1194"/>
                  <a:gd name="T26" fmla="*/ 2147483647 w 300"/>
                  <a:gd name="T27" fmla="*/ 2147483647 h 1194"/>
                  <a:gd name="T28" fmla="*/ 2147483647 w 300"/>
                  <a:gd name="T29" fmla="*/ 2147483647 h 1194"/>
                  <a:gd name="T30" fmla="*/ 2147483647 w 300"/>
                  <a:gd name="T31" fmla="*/ 2147483647 h 1194"/>
                  <a:gd name="T32" fmla="*/ 2147483647 w 300"/>
                  <a:gd name="T33" fmla="*/ 2147483647 h 1194"/>
                  <a:gd name="T34" fmla="*/ 2147483647 w 300"/>
                  <a:gd name="T35" fmla="*/ 2147483647 h 1194"/>
                  <a:gd name="T36" fmla="*/ 2147483647 w 300"/>
                  <a:gd name="T37" fmla="*/ 2147483647 h 1194"/>
                  <a:gd name="T38" fmla="*/ 2147483647 w 300"/>
                  <a:gd name="T39" fmla="*/ 2147483647 h 1194"/>
                  <a:gd name="T40" fmla="*/ 2147483647 w 300"/>
                  <a:gd name="T41" fmla="*/ 2147483647 h 1194"/>
                  <a:gd name="T42" fmla="*/ 2147483647 w 300"/>
                  <a:gd name="T43" fmla="*/ 2147483647 h 1194"/>
                  <a:gd name="T44" fmla="*/ 2147483647 w 300"/>
                  <a:gd name="T45" fmla="*/ 2147483647 h 1194"/>
                  <a:gd name="T46" fmla="*/ 2147483647 w 300"/>
                  <a:gd name="T47" fmla="*/ 2147483647 h 1194"/>
                  <a:gd name="T48" fmla="*/ 2147483647 w 300"/>
                  <a:gd name="T49" fmla="*/ 2147483647 h 1194"/>
                  <a:gd name="T50" fmla="*/ 2147483647 w 300"/>
                  <a:gd name="T51" fmla="*/ 2147483647 h 1194"/>
                  <a:gd name="T52" fmla="*/ 2147483647 w 300"/>
                  <a:gd name="T53" fmla="*/ 2147483647 h 1194"/>
                  <a:gd name="T54" fmla="*/ 2147483647 w 300"/>
                  <a:gd name="T55" fmla="*/ 2147483647 h 1194"/>
                  <a:gd name="T56" fmla="*/ 2147483647 w 300"/>
                  <a:gd name="T57" fmla="*/ 2147483647 h 1194"/>
                  <a:gd name="T58" fmla="*/ 2147483647 w 300"/>
                  <a:gd name="T59" fmla="*/ 2147483647 h 1194"/>
                  <a:gd name="T60" fmla="*/ 2147483647 w 300"/>
                  <a:gd name="T61" fmla="*/ 2147483647 h 1194"/>
                  <a:gd name="T62" fmla="*/ 2147483647 w 300"/>
                  <a:gd name="T63" fmla="*/ 2147483647 h 1194"/>
                  <a:gd name="T64" fmla="*/ 2147483647 w 300"/>
                  <a:gd name="T65" fmla="*/ 2147483647 h 1194"/>
                  <a:gd name="T66" fmla="*/ 2147483647 w 300"/>
                  <a:gd name="T67" fmla="*/ 2147483647 h 1194"/>
                  <a:gd name="T68" fmla="*/ 2147483647 w 300"/>
                  <a:gd name="T69" fmla="*/ 2147483647 h 1194"/>
                  <a:gd name="T70" fmla="*/ 2147483647 w 300"/>
                  <a:gd name="T71" fmla="*/ 2147483647 h 1194"/>
                  <a:gd name="T72" fmla="*/ 2147483647 w 300"/>
                  <a:gd name="T73" fmla="*/ 2147483647 h 1194"/>
                  <a:gd name="T74" fmla="*/ 2147483647 w 300"/>
                  <a:gd name="T75" fmla="*/ 2147483647 h 1194"/>
                  <a:gd name="T76" fmla="*/ 2147483647 w 300"/>
                  <a:gd name="T77" fmla="*/ 2147483647 h 1194"/>
                  <a:gd name="T78" fmla="*/ 2147483647 w 300"/>
                  <a:gd name="T79" fmla="*/ 2147483647 h 1194"/>
                  <a:gd name="T80" fmla="*/ 2147483647 w 300"/>
                  <a:gd name="T81" fmla="*/ 2147483647 h 1194"/>
                  <a:gd name="T82" fmla="*/ 2147483647 w 300"/>
                  <a:gd name="T83" fmla="*/ 2147483647 h 1194"/>
                  <a:gd name="T84" fmla="*/ 2147483647 w 300"/>
                  <a:gd name="T85" fmla="*/ 2147483647 h 1194"/>
                  <a:gd name="T86" fmla="*/ 2147483647 w 300"/>
                  <a:gd name="T87" fmla="*/ 2147483647 h 1194"/>
                  <a:gd name="T88" fmla="*/ 2147483647 w 300"/>
                  <a:gd name="T89" fmla="*/ 2147483647 h 1194"/>
                  <a:gd name="T90" fmla="*/ 2147483647 w 300"/>
                  <a:gd name="T91" fmla="*/ 2147483647 h 1194"/>
                  <a:gd name="T92" fmla="*/ 2147483647 w 300"/>
                  <a:gd name="T93" fmla="*/ 2147483647 h 1194"/>
                  <a:gd name="T94" fmla="*/ 2147483647 w 300"/>
                  <a:gd name="T95" fmla="*/ 2147483647 h 1194"/>
                  <a:gd name="T96" fmla="*/ 2147483647 w 300"/>
                  <a:gd name="T97" fmla="*/ 2147483647 h 1194"/>
                  <a:gd name="T98" fmla="*/ 2147483647 w 300"/>
                  <a:gd name="T99" fmla="*/ 0 h 1194"/>
                  <a:gd name="T100" fmla="*/ 2147483647 w 300"/>
                  <a:gd name="T101" fmla="*/ 2147483647 h 11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0"/>
                  <a:gd name="T154" fmla="*/ 0 h 1194"/>
                  <a:gd name="T155" fmla="*/ 300 w 300"/>
                  <a:gd name="T156" fmla="*/ 1194 h 11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0" h="1194">
                    <a:moveTo>
                      <a:pt x="0" y="1194"/>
                    </a:moveTo>
                    <a:lnTo>
                      <a:pt x="12" y="1188"/>
                    </a:lnTo>
                    <a:lnTo>
                      <a:pt x="36" y="1146"/>
                    </a:lnTo>
                    <a:lnTo>
                      <a:pt x="18" y="1134"/>
                    </a:lnTo>
                    <a:lnTo>
                      <a:pt x="0" y="1194"/>
                    </a:lnTo>
                    <a:close/>
                    <a:moveTo>
                      <a:pt x="114" y="1068"/>
                    </a:moveTo>
                    <a:lnTo>
                      <a:pt x="72" y="1062"/>
                    </a:lnTo>
                    <a:lnTo>
                      <a:pt x="54" y="1134"/>
                    </a:lnTo>
                    <a:lnTo>
                      <a:pt x="66" y="1134"/>
                    </a:lnTo>
                    <a:lnTo>
                      <a:pt x="84" y="1104"/>
                    </a:lnTo>
                    <a:lnTo>
                      <a:pt x="132" y="1074"/>
                    </a:lnTo>
                    <a:lnTo>
                      <a:pt x="120" y="1050"/>
                    </a:lnTo>
                    <a:lnTo>
                      <a:pt x="114" y="1068"/>
                    </a:lnTo>
                    <a:close/>
                    <a:moveTo>
                      <a:pt x="192" y="1008"/>
                    </a:moveTo>
                    <a:lnTo>
                      <a:pt x="186" y="1008"/>
                    </a:lnTo>
                    <a:lnTo>
                      <a:pt x="180" y="1020"/>
                    </a:lnTo>
                    <a:lnTo>
                      <a:pt x="174" y="1026"/>
                    </a:lnTo>
                    <a:lnTo>
                      <a:pt x="168" y="1038"/>
                    </a:lnTo>
                    <a:lnTo>
                      <a:pt x="168" y="1044"/>
                    </a:lnTo>
                    <a:lnTo>
                      <a:pt x="174" y="1050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192" y="1008"/>
                    </a:lnTo>
                    <a:close/>
                    <a:moveTo>
                      <a:pt x="282" y="636"/>
                    </a:moveTo>
                    <a:lnTo>
                      <a:pt x="264" y="654"/>
                    </a:lnTo>
                    <a:lnTo>
                      <a:pt x="276" y="678"/>
                    </a:lnTo>
                    <a:lnTo>
                      <a:pt x="258" y="678"/>
                    </a:lnTo>
                    <a:lnTo>
                      <a:pt x="258" y="702"/>
                    </a:lnTo>
                    <a:lnTo>
                      <a:pt x="282" y="702"/>
                    </a:lnTo>
                    <a:lnTo>
                      <a:pt x="294" y="684"/>
                    </a:lnTo>
                    <a:lnTo>
                      <a:pt x="282" y="654"/>
                    </a:lnTo>
                    <a:lnTo>
                      <a:pt x="300" y="654"/>
                    </a:lnTo>
                    <a:lnTo>
                      <a:pt x="282" y="636"/>
                    </a:lnTo>
                    <a:close/>
                    <a:moveTo>
                      <a:pt x="276" y="768"/>
                    </a:moveTo>
                    <a:lnTo>
                      <a:pt x="294" y="750"/>
                    </a:lnTo>
                    <a:lnTo>
                      <a:pt x="270" y="732"/>
                    </a:lnTo>
                    <a:lnTo>
                      <a:pt x="276" y="768"/>
                    </a:lnTo>
                    <a:close/>
                    <a:moveTo>
                      <a:pt x="258" y="954"/>
                    </a:moveTo>
                    <a:lnTo>
                      <a:pt x="258" y="924"/>
                    </a:lnTo>
                    <a:lnTo>
                      <a:pt x="240" y="948"/>
                    </a:lnTo>
                    <a:lnTo>
                      <a:pt x="258" y="954"/>
                    </a:lnTo>
                    <a:close/>
                    <a:moveTo>
                      <a:pt x="252" y="858"/>
                    </a:moveTo>
                    <a:lnTo>
                      <a:pt x="270" y="858"/>
                    </a:lnTo>
                    <a:lnTo>
                      <a:pt x="252" y="840"/>
                    </a:lnTo>
                    <a:lnTo>
                      <a:pt x="252" y="858"/>
                    </a:lnTo>
                    <a:close/>
                    <a:moveTo>
                      <a:pt x="126" y="24"/>
                    </a:moveTo>
                    <a:lnTo>
                      <a:pt x="144" y="60"/>
                    </a:lnTo>
                    <a:lnTo>
                      <a:pt x="174" y="24"/>
                    </a:lnTo>
                    <a:lnTo>
                      <a:pt x="162" y="0"/>
                    </a:lnTo>
                    <a:lnTo>
                      <a:pt x="126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7" name="Rus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E79796D-48F0-7EE1-AD18-2C66093E635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82239" y="1126149"/>
                <a:ext cx="4068881" cy="1294978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8" name="Rom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5DB7EDF-0FC4-5383-C0BA-91B0FAE1C63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2171001"/>
                <a:ext cx="276698" cy="164977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39" name="Portug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41FD707-64E3-25D2-44A8-D53EE08437E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39729" y="2390969"/>
                <a:ext cx="102875" cy="184490"/>
              </a:xfrm>
              <a:custGeom>
                <a:avLst/>
                <a:gdLst>
                  <a:gd name="T0" fmla="*/ 2147483647 w 228"/>
                  <a:gd name="T1" fmla="*/ 2147483647 h 414"/>
                  <a:gd name="T2" fmla="*/ 2147483647 w 228"/>
                  <a:gd name="T3" fmla="*/ 2147483647 h 414"/>
                  <a:gd name="T4" fmla="*/ 2147483647 w 228"/>
                  <a:gd name="T5" fmla="*/ 2147483647 h 414"/>
                  <a:gd name="T6" fmla="*/ 2147483647 w 228"/>
                  <a:gd name="T7" fmla="*/ 2147483647 h 414"/>
                  <a:gd name="T8" fmla="*/ 2147483647 w 228"/>
                  <a:gd name="T9" fmla="*/ 2147483647 h 414"/>
                  <a:gd name="T10" fmla="*/ 2147483647 w 228"/>
                  <a:gd name="T11" fmla="*/ 2147483647 h 414"/>
                  <a:gd name="T12" fmla="*/ 2147483647 w 228"/>
                  <a:gd name="T13" fmla="*/ 0 h 414"/>
                  <a:gd name="T14" fmla="*/ 2147483647 w 228"/>
                  <a:gd name="T15" fmla="*/ 2147483647 h 414"/>
                  <a:gd name="T16" fmla="*/ 2147483647 w 228"/>
                  <a:gd name="T17" fmla="*/ 2147483647 h 414"/>
                  <a:gd name="T18" fmla="*/ 2147483647 w 228"/>
                  <a:gd name="T19" fmla="*/ 2147483647 h 414"/>
                  <a:gd name="T20" fmla="*/ 2147483647 w 228"/>
                  <a:gd name="T21" fmla="*/ 2147483647 h 414"/>
                  <a:gd name="T22" fmla="*/ 2147483647 w 228"/>
                  <a:gd name="T23" fmla="*/ 2147483647 h 414"/>
                  <a:gd name="T24" fmla="*/ 2147483647 w 228"/>
                  <a:gd name="T25" fmla="*/ 2147483647 h 414"/>
                  <a:gd name="T26" fmla="*/ 0 w 228"/>
                  <a:gd name="T27" fmla="*/ 2147483647 h 414"/>
                  <a:gd name="T28" fmla="*/ 2147483647 w 228"/>
                  <a:gd name="T29" fmla="*/ 2147483647 h 414"/>
                  <a:gd name="T30" fmla="*/ 2147483647 w 228"/>
                  <a:gd name="T31" fmla="*/ 2147483647 h 414"/>
                  <a:gd name="T32" fmla="*/ 2147483647 w 228"/>
                  <a:gd name="T33" fmla="*/ 2147483647 h 414"/>
                  <a:gd name="T34" fmla="*/ 2147483647 w 228"/>
                  <a:gd name="T35" fmla="*/ 2147483647 h 414"/>
                  <a:gd name="T36" fmla="*/ 2147483647 w 228"/>
                  <a:gd name="T37" fmla="*/ 2147483647 h 414"/>
                  <a:gd name="T38" fmla="*/ 2147483647 w 228"/>
                  <a:gd name="T39" fmla="*/ 2147483647 h 414"/>
                  <a:gd name="T40" fmla="*/ 2147483647 w 228"/>
                  <a:gd name="T41" fmla="*/ 2147483647 h 414"/>
                  <a:gd name="T42" fmla="*/ 2147483647 w 228"/>
                  <a:gd name="T43" fmla="*/ 2147483647 h 414"/>
                  <a:gd name="T44" fmla="*/ 2147483647 w 228"/>
                  <a:gd name="T45" fmla="*/ 2147483647 h 414"/>
                  <a:gd name="T46" fmla="*/ 2147483647 w 228"/>
                  <a:gd name="T47" fmla="*/ 2147483647 h 414"/>
                  <a:gd name="T48" fmla="*/ 2147483647 w 228"/>
                  <a:gd name="T49" fmla="*/ 2147483647 h 414"/>
                  <a:gd name="T50" fmla="*/ 2147483647 w 228"/>
                  <a:gd name="T51" fmla="*/ 2147483647 h 414"/>
                  <a:gd name="T52" fmla="*/ 2147483647 w 228"/>
                  <a:gd name="T53" fmla="*/ 2147483647 h 414"/>
                  <a:gd name="T54" fmla="*/ 2147483647 w 228"/>
                  <a:gd name="T55" fmla="*/ 2147483647 h 414"/>
                  <a:gd name="T56" fmla="*/ 2147483647 w 228"/>
                  <a:gd name="T57" fmla="*/ 2147483647 h 414"/>
                  <a:gd name="T58" fmla="*/ 2147483647 w 228"/>
                  <a:gd name="T59" fmla="*/ 2147483647 h 414"/>
                  <a:gd name="T60" fmla="*/ 2147483647 w 228"/>
                  <a:gd name="T61" fmla="*/ 2147483647 h 414"/>
                  <a:gd name="T62" fmla="*/ 2147483647 w 228"/>
                  <a:gd name="T63" fmla="*/ 2147483647 h 414"/>
                  <a:gd name="T64" fmla="*/ 2147483647 w 228"/>
                  <a:gd name="T65" fmla="*/ 2147483647 h 414"/>
                  <a:gd name="T66" fmla="*/ 2147483647 w 228"/>
                  <a:gd name="T67" fmla="*/ 2147483647 h 414"/>
                  <a:gd name="T68" fmla="*/ 2147483647 w 228"/>
                  <a:gd name="T69" fmla="*/ 2147483647 h 414"/>
                  <a:gd name="T70" fmla="*/ 2147483647 w 228"/>
                  <a:gd name="T71" fmla="*/ 2147483647 h 414"/>
                  <a:gd name="T72" fmla="*/ 2147483647 w 228"/>
                  <a:gd name="T73" fmla="*/ 2147483647 h 414"/>
                  <a:gd name="T74" fmla="*/ 2147483647 w 228"/>
                  <a:gd name="T75" fmla="*/ 2147483647 h 414"/>
                  <a:gd name="T76" fmla="*/ 2147483647 w 228"/>
                  <a:gd name="T77" fmla="*/ 2147483647 h 414"/>
                  <a:gd name="T78" fmla="*/ 2147483647 w 228"/>
                  <a:gd name="T79" fmla="*/ 2147483647 h 414"/>
                  <a:gd name="T80" fmla="*/ 2147483647 w 228"/>
                  <a:gd name="T81" fmla="*/ 2147483647 h 414"/>
                  <a:gd name="T82" fmla="*/ 2147483647 w 228"/>
                  <a:gd name="T83" fmla="*/ 2147483647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28"/>
                  <a:gd name="T127" fmla="*/ 0 h 414"/>
                  <a:gd name="T128" fmla="*/ 228 w 228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28" h="414">
                    <a:moveTo>
                      <a:pt x="210" y="30"/>
                    </a:moveTo>
                    <a:lnTo>
                      <a:pt x="21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24"/>
                    </a:lnTo>
                    <a:lnTo>
                      <a:pt x="138" y="24"/>
                    </a:lnTo>
                    <a:lnTo>
                      <a:pt x="132" y="18"/>
                    </a:lnTo>
                    <a:lnTo>
                      <a:pt x="114" y="18"/>
                    </a:lnTo>
                    <a:lnTo>
                      <a:pt x="108" y="24"/>
                    </a:lnTo>
                    <a:lnTo>
                      <a:pt x="96" y="24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14" y="6"/>
                    </a:lnTo>
                    <a:lnTo>
                      <a:pt x="114" y="0"/>
                    </a:lnTo>
                    <a:lnTo>
                      <a:pt x="90" y="0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66" y="60"/>
                    </a:lnTo>
                    <a:lnTo>
                      <a:pt x="66" y="78"/>
                    </a:lnTo>
                    <a:lnTo>
                      <a:pt x="60" y="108"/>
                    </a:lnTo>
                    <a:lnTo>
                      <a:pt x="48" y="138"/>
                    </a:lnTo>
                    <a:lnTo>
                      <a:pt x="30" y="174"/>
                    </a:lnTo>
                    <a:lnTo>
                      <a:pt x="12" y="222"/>
                    </a:lnTo>
                    <a:lnTo>
                      <a:pt x="6" y="234"/>
                    </a:lnTo>
                    <a:lnTo>
                      <a:pt x="6" y="240"/>
                    </a:lnTo>
                    <a:lnTo>
                      <a:pt x="0" y="252"/>
                    </a:lnTo>
                    <a:lnTo>
                      <a:pt x="0" y="264"/>
                    </a:lnTo>
                    <a:lnTo>
                      <a:pt x="18" y="282"/>
                    </a:lnTo>
                    <a:lnTo>
                      <a:pt x="30" y="288"/>
                    </a:lnTo>
                    <a:lnTo>
                      <a:pt x="42" y="342"/>
                    </a:lnTo>
                    <a:lnTo>
                      <a:pt x="42" y="348"/>
                    </a:lnTo>
                    <a:lnTo>
                      <a:pt x="36" y="354"/>
                    </a:lnTo>
                    <a:lnTo>
                      <a:pt x="36" y="366"/>
                    </a:lnTo>
                    <a:lnTo>
                      <a:pt x="30" y="384"/>
                    </a:lnTo>
                    <a:lnTo>
                      <a:pt x="24" y="396"/>
                    </a:lnTo>
                    <a:lnTo>
                      <a:pt x="24" y="408"/>
                    </a:lnTo>
                    <a:lnTo>
                      <a:pt x="48" y="408"/>
                    </a:lnTo>
                    <a:lnTo>
                      <a:pt x="60" y="402"/>
                    </a:lnTo>
                    <a:lnTo>
                      <a:pt x="72" y="402"/>
                    </a:lnTo>
                    <a:lnTo>
                      <a:pt x="84" y="414"/>
                    </a:lnTo>
                    <a:lnTo>
                      <a:pt x="96" y="414"/>
                    </a:lnTo>
                    <a:lnTo>
                      <a:pt x="108" y="408"/>
                    </a:lnTo>
                    <a:lnTo>
                      <a:pt x="114" y="402"/>
                    </a:lnTo>
                    <a:lnTo>
                      <a:pt x="120" y="402"/>
                    </a:lnTo>
                    <a:lnTo>
                      <a:pt x="126" y="396"/>
                    </a:lnTo>
                    <a:lnTo>
                      <a:pt x="126" y="348"/>
                    </a:lnTo>
                    <a:lnTo>
                      <a:pt x="132" y="342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62" y="318"/>
                    </a:lnTo>
                    <a:lnTo>
                      <a:pt x="162" y="312"/>
                    </a:lnTo>
                    <a:lnTo>
                      <a:pt x="150" y="312"/>
                    </a:lnTo>
                    <a:lnTo>
                      <a:pt x="144" y="306"/>
                    </a:lnTo>
                    <a:lnTo>
                      <a:pt x="138" y="294"/>
                    </a:lnTo>
                    <a:lnTo>
                      <a:pt x="138" y="288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44" y="264"/>
                    </a:lnTo>
                    <a:lnTo>
                      <a:pt x="156" y="258"/>
                    </a:lnTo>
                    <a:lnTo>
                      <a:pt x="168" y="246"/>
                    </a:lnTo>
                    <a:lnTo>
                      <a:pt x="168" y="240"/>
                    </a:lnTo>
                    <a:lnTo>
                      <a:pt x="156" y="234"/>
                    </a:lnTo>
                    <a:lnTo>
                      <a:pt x="150" y="228"/>
                    </a:lnTo>
                    <a:lnTo>
                      <a:pt x="150" y="216"/>
                    </a:lnTo>
                    <a:lnTo>
                      <a:pt x="126" y="192"/>
                    </a:lnTo>
                    <a:lnTo>
                      <a:pt x="162" y="192"/>
                    </a:lnTo>
                    <a:lnTo>
                      <a:pt x="174" y="180"/>
                    </a:lnTo>
                    <a:lnTo>
                      <a:pt x="174" y="168"/>
                    </a:lnTo>
                    <a:lnTo>
                      <a:pt x="168" y="162"/>
                    </a:lnTo>
                    <a:lnTo>
                      <a:pt x="168" y="150"/>
                    </a:lnTo>
                    <a:lnTo>
                      <a:pt x="174" y="144"/>
                    </a:lnTo>
                    <a:lnTo>
                      <a:pt x="180" y="144"/>
                    </a:lnTo>
                    <a:lnTo>
                      <a:pt x="180" y="126"/>
                    </a:lnTo>
                    <a:lnTo>
                      <a:pt x="186" y="108"/>
                    </a:lnTo>
                    <a:lnTo>
                      <a:pt x="186" y="96"/>
                    </a:lnTo>
                    <a:lnTo>
                      <a:pt x="180" y="90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78"/>
                    </a:lnTo>
                    <a:lnTo>
                      <a:pt x="204" y="66"/>
                    </a:lnTo>
                    <a:lnTo>
                      <a:pt x="228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10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0" name="Norw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051E942-0217-2E96-A8CA-787DF790F50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3797" y="1159853"/>
                <a:ext cx="611928" cy="672324"/>
              </a:xfrm>
              <a:custGeom>
                <a:avLst/>
                <a:gdLst>
                  <a:gd name="T0" fmla="*/ 2147483647 w 1362"/>
                  <a:gd name="T1" fmla="*/ 2147483647 h 1500"/>
                  <a:gd name="T2" fmla="*/ 2147483647 w 1362"/>
                  <a:gd name="T3" fmla="*/ 2147483647 h 1500"/>
                  <a:gd name="T4" fmla="*/ 2147483647 w 1362"/>
                  <a:gd name="T5" fmla="*/ 2147483647 h 1500"/>
                  <a:gd name="T6" fmla="*/ 2147483647 w 1362"/>
                  <a:gd name="T7" fmla="*/ 2147483647 h 1500"/>
                  <a:gd name="T8" fmla="*/ 2147483647 w 1362"/>
                  <a:gd name="T9" fmla="*/ 0 h 1500"/>
                  <a:gd name="T10" fmla="*/ 2147483647 w 1362"/>
                  <a:gd name="T11" fmla="*/ 2147483647 h 1500"/>
                  <a:gd name="T12" fmla="*/ 2147483647 w 1362"/>
                  <a:gd name="T13" fmla="*/ 2147483647 h 1500"/>
                  <a:gd name="T14" fmla="*/ 2147483647 w 1362"/>
                  <a:gd name="T15" fmla="*/ 2147483647 h 1500"/>
                  <a:gd name="T16" fmla="*/ 2147483647 w 1362"/>
                  <a:gd name="T17" fmla="*/ 2147483647 h 1500"/>
                  <a:gd name="T18" fmla="*/ 2147483647 w 1362"/>
                  <a:gd name="T19" fmla="*/ 2147483647 h 1500"/>
                  <a:gd name="T20" fmla="*/ 2147483647 w 1362"/>
                  <a:gd name="T21" fmla="*/ 2147483647 h 1500"/>
                  <a:gd name="T22" fmla="*/ 2147483647 w 1362"/>
                  <a:gd name="T23" fmla="*/ 2147483647 h 1500"/>
                  <a:gd name="T24" fmla="*/ 2147483647 w 1362"/>
                  <a:gd name="T25" fmla="*/ 2147483647 h 1500"/>
                  <a:gd name="T26" fmla="*/ 2147483647 w 1362"/>
                  <a:gd name="T27" fmla="*/ 2147483647 h 1500"/>
                  <a:gd name="T28" fmla="*/ 2147483647 w 1362"/>
                  <a:gd name="T29" fmla="*/ 2147483647 h 1500"/>
                  <a:gd name="T30" fmla="*/ 2147483647 w 1362"/>
                  <a:gd name="T31" fmla="*/ 2147483647 h 1500"/>
                  <a:gd name="T32" fmla="*/ 2147483647 w 1362"/>
                  <a:gd name="T33" fmla="*/ 2147483647 h 1500"/>
                  <a:gd name="T34" fmla="*/ 2147483647 w 1362"/>
                  <a:gd name="T35" fmla="*/ 2147483647 h 1500"/>
                  <a:gd name="T36" fmla="*/ 2147483647 w 1362"/>
                  <a:gd name="T37" fmla="*/ 2147483647 h 1500"/>
                  <a:gd name="T38" fmla="*/ 2147483647 w 1362"/>
                  <a:gd name="T39" fmla="*/ 2147483647 h 1500"/>
                  <a:gd name="T40" fmla="*/ 2147483647 w 1362"/>
                  <a:gd name="T41" fmla="*/ 2147483647 h 1500"/>
                  <a:gd name="T42" fmla="*/ 2147483647 w 1362"/>
                  <a:gd name="T43" fmla="*/ 2147483647 h 1500"/>
                  <a:gd name="T44" fmla="*/ 2147483647 w 1362"/>
                  <a:gd name="T45" fmla="*/ 2147483647 h 1500"/>
                  <a:gd name="T46" fmla="*/ 2147483647 w 1362"/>
                  <a:gd name="T47" fmla="*/ 2147483647 h 1500"/>
                  <a:gd name="T48" fmla="*/ 2147483647 w 1362"/>
                  <a:gd name="T49" fmla="*/ 2147483647 h 1500"/>
                  <a:gd name="T50" fmla="*/ 2147483647 w 1362"/>
                  <a:gd name="T51" fmla="*/ 2147483647 h 1500"/>
                  <a:gd name="T52" fmla="*/ 2147483647 w 1362"/>
                  <a:gd name="T53" fmla="*/ 2147483647 h 1500"/>
                  <a:gd name="T54" fmla="*/ 2147483647 w 1362"/>
                  <a:gd name="T55" fmla="*/ 2147483647 h 1500"/>
                  <a:gd name="T56" fmla="*/ 2147483647 w 1362"/>
                  <a:gd name="T57" fmla="*/ 2147483647 h 1500"/>
                  <a:gd name="T58" fmla="*/ 2147483647 w 1362"/>
                  <a:gd name="T59" fmla="*/ 2147483647 h 1500"/>
                  <a:gd name="T60" fmla="*/ 2147483647 w 1362"/>
                  <a:gd name="T61" fmla="*/ 2147483647 h 1500"/>
                  <a:gd name="T62" fmla="*/ 2147483647 w 1362"/>
                  <a:gd name="T63" fmla="*/ 2147483647 h 1500"/>
                  <a:gd name="T64" fmla="*/ 2147483647 w 1362"/>
                  <a:gd name="T65" fmla="*/ 2147483647 h 1500"/>
                  <a:gd name="T66" fmla="*/ 2147483647 w 1362"/>
                  <a:gd name="T67" fmla="*/ 2147483647 h 1500"/>
                  <a:gd name="T68" fmla="*/ 2147483647 w 1362"/>
                  <a:gd name="T69" fmla="*/ 2147483647 h 1500"/>
                  <a:gd name="T70" fmla="*/ 2147483647 w 1362"/>
                  <a:gd name="T71" fmla="*/ 2147483647 h 1500"/>
                  <a:gd name="T72" fmla="*/ 2147483647 w 1362"/>
                  <a:gd name="T73" fmla="*/ 2147483647 h 1500"/>
                  <a:gd name="T74" fmla="*/ 2147483647 w 1362"/>
                  <a:gd name="T75" fmla="*/ 2147483647 h 1500"/>
                  <a:gd name="T76" fmla="*/ 2147483647 w 1362"/>
                  <a:gd name="T77" fmla="*/ 2147483647 h 1500"/>
                  <a:gd name="T78" fmla="*/ 2147483647 w 1362"/>
                  <a:gd name="T79" fmla="*/ 2147483647 h 1500"/>
                  <a:gd name="T80" fmla="*/ 2147483647 w 1362"/>
                  <a:gd name="T81" fmla="*/ 2147483647 h 1500"/>
                  <a:gd name="T82" fmla="*/ 2147483647 w 1362"/>
                  <a:gd name="T83" fmla="*/ 2147483647 h 1500"/>
                  <a:gd name="T84" fmla="*/ 2147483647 w 1362"/>
                  <a:gd name="T85" fmla="*/ 2147483647 h 1500"/>
                  <a:gd name="T86" fmla="*/ 2147483647 w 1362"/>
                  <a:gd name="T87" fmla="*/ 2147483647 h 1500"/>
                  <a:gd name="T88" fmla="*/ 2147483647 w 1362"/>
                  <a:gd name="T89" fmla="*/ 2147483647 h 1500"/>
                  <a:gd name="T90" fmla="*/ 2147483647 w 1362"/>
                  <a:gd name="T91" fmla="*/ 2147483647 h 1500"/>
                  <a:gd name="T92" fmla="*/ 2147483647 w 1362"/>
                  <a:gd name="T93" fmla="*/ 2147483647 h 1500"/>
                  <a:gd name="T94" fmla="*/ 2147483647 w 1362"/>
                  <a:gd name="T95" fmla="*/ 2147483647 h 1500"/>
                  <a:gd name="T96" fmla="*/ 2147483647 w 1362"/>
                  <a:gd name="T97" fmla="*/ 2147483647 h 1500"/>
                  <a:gd name="T98" fmla="*/ 2147483647 w 1362"/>
                  <a:gd name="T99" fmla="*/ 2147483647 h 1500"/>
                  <a:gd name="T100" fmla="*/ 2147483647 w 1362"/>
                  <a:gd name="T101" fmla="*/ 2147483647 h 1500"/>
                  <a:gd name="T102" fmla="*/ 2147483647 w 1362"/>
                  <a:gd name="T103" fmla="*/ 2147483647 h 1500"/>
                  <a:gd name="T104" fmla="*/ 2147483647 w 1362"/>
                  <a:gd name="T105" fmla="*/ 2147483647 h 1500"/>
                  <a:gd name="T106" fmla="*/ 2147483647 w 1362"/>
                  <a:gd name="T107" fmla="*/ 2147483647 h 1500"/>
                  <a:gd name="T108" fmla="*/ 2147483647 w 1362"/>
                  <a:gd name="T109" fmla="*/ 2147483647 h 1500"/>
                  <a:gd name="T110" fmla="*/ 2147483647 w 1362"/>
                  <a:gd name="T111" fmla="*/ 2147483647 h 1500"/>
                  <a:gd name="T112" fmla="*/ 2147483647 w 1362"/>
                  <a:gd name="T113" fmla="*/ 2147483647 h 1500"/>
                  <a:gd name="T114" fmla="*/ 2147483647 w 1362"/>
                  <a:gd name="T115" fmla="*/ 2147483647 h 15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62"/>
                  <a:gd name="T175" fmla="*/ 0 h 1500"/>
                  <a:gd name="T176" fmla="*/ 1362 w 1362"/>
                  <a:gd name="T177" fmla="*/ 1500 h 15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62" h="1500">
                    <a:moveTo>
                      <a:pt x="324" y="120"/>
                    </a:moveTo>
                    <a:lnTo>
                      <a:pt x="336" y="126"/>
                    </a:lnTo>
                    <a:lnTo>
                      <a:pt x="354" y="132"/>
                    </a:lnTo>
                    <a:lnTo>
                      <a:pt x="378" y="132"/>
                    </a:lnTo>
                    <a:lnTo>
                      <a:pt x="294" y="90"/>
                    </a:lnTo>
                    <a:lnTo>
                      <a:pt x="294" y="102"/>
                    </a:lnTo>
                    <a:lnTo>
                      <a:pt x="306" y="108"/>
                    </a:lnTo>
                    <a:lnTo>
                      <a:pt x="312" y="114"/>
                    </a:lnTo>
                    <a:lnTo>
                      <a:pt x="324" y="120"/>
                    </a:lnTo>
                    <a:close/>
                    <a:moveTo>
                      <a:pt x="684" y="48"/>
                    </a:moveTo>
                    <a:lnTo>
                      <a:pt x="732" y="48"/>
                    </a:lnTo>
                    <a:lnTo>
                      <a:pt x="738" y="54"/>
                    </a:lnTo>
                    <a:lnTo>
                      <a:pt x="750" y="54"/>
                    </a:lnTo>
                    <a:lnTo>
                      <a:pt x="774" y="66"/>
                    </a:lnTo>
                    <a:lnTo>
                      <a:pt x="786" y="66"/>
                    </a:lnTo>
                    <a:lnTo>
                      <a:pt x="798" y="60"/>
                    </a:lnTo>
                    <a:lnTo>
                      <a:pt x="804" y="60"/>
                    </a:lnTo>
                    <a:lnTo>
                      <a:pt x="816" y="54"/>
                    </a:lnTo>
                    <a:lnTo>
                      <a:pt x="828" y="54"/>
                    </a:lnTo>
                    <a:lnTo>
                      <a:pt x="840" y="60"/>
                    </a:lnTo>
                    <a:lnTo>
                      <a:pt x="876" y="72"/>
                    </a:lnTo>
                    <a:lnTo>
                      <a:pt x="888" y="78"/>
                    </a:lnTo>
                    <a:lnTo>
                      <a:pt x="894" y="84"/>
                    </a:lnTo>
                    <a:lnTo>
                      <a:pt x="900" y="84"/>
                    </a:lnTo>
                    <a:lnTo>
                      <a:pt x="924" y="60"/>
                    </a:lnTo>
                    <a:lnTo>
                      <a:pt x="984" y="66"/>
                    </a:lnTo>
                    <a:lnTo>
                      <a:pt x="984" y="42"/>
                    </a:lnTo>
                    <a:lnTo>
                      <a:pt x="1014" y="42"/>
                    </a:lnTo>
                    <a:lnTo>
                      <a:pt x="1026" y="36"/>
                    </a:lnTo>
                    <a:lnTo>
                      <a:pt x="1032" y="24"/>
                    </a:lnTo>
                    <a:lnTo>
                      <a:pt x="1038" y="18"/>
                    </a:lnTo>
                    <a:lnTo>
                      <a:pt x="1032" y="12"/>
                    </a:lnTo>
                    <a:lnTo>
                      <a:pt x="1002" y="12"/>
                    </a:lnTo>
                    <a:lnTo>
                      <a:pt x="990" y="18"/>
                    </a:lnTo>
                    <a:lnTo>
                      <a:pt x="984" y="18"/>
                    </a:lnTo>
                    <a:lnTo>
                      <a:pt x="972" y="6"/>
                    </a:lnTo>
                    <a:lnTo>
                      <a:pt x="960" y="0"/>
                    </a:lnTo>
                    <a:lnTo>
                      <a:pt x="918" y="0"/>
                    </a:lnTo>
                    <a:lnTo>
                      <a:pt x="900" y="6"/>
                    </a:lnTo>
                    <a:lnTo>
                      <a:pt x="882" y="18"/>
                    </a:lnTo>
                    <a:lnTo>
                      <a:pt x="870" y="18"/>
                    </a:lnTo>
                    <a:lnTo>
                      <a:pt x="864" y="12"/>
                    </a:lnTo>
                    <a:lnTo>
                      <a:pt x="864" y="6"/>
                    </a:lnTo>
                    <a:lnTo>
                      <a:pt x="858" y="6"/>
                    </a:lnTo>
                    <a:lnTo>
                      <a:pt x="852" y="0"/>
                    </a:lnTo>
                    <a:lnTo>
                      <a:pt x="822" y="0"/>
                    </a:lnTo>
                    <a:lnTo>
                      <a:pt x="804" y="18"/>
                    </a:lnTo>
                    <a:lnTo>
                      <a:pt x="738" y="0"/>
                    </a:lnTo>
                    <a:lnTo>
                      <a:pt x="726" y="0"/>
                    </a:lnTo>
                    <a:lnTo>
                      <a:pt x="708" y="6"/>
                    </a:lnTo>
                    <a:lnTo>
                      <a:pt x="690" y="6"/>
                    </a:lnTo>
                    <a:lnTo>
                      <a:pt x="672" y="12"/>
                    </a:lnTo>
                    <a:lnTo>
                      <a:pt x="660" y="12"/>
                    </a:lnTo>
                    <a:lnTo>
                      <a:pt x="660" y="6"/>
                    </a:lnTo>
                    <a:lnTo>
                      <a:pt x="666" y="0"/>
                    </a:lnTo>
                    <a:lnTo>
                      <a:pt x="630" y="12"/>
                    </a:lnTo>
                    <a:lnTo>
                      <a:pt x="648" y="36"/>
                    </a:lnTo>
                    <a:lnTo>
                      <a:pt x="684" y="48"/>
                    </a:lnTo>
                    <a:close/>
                    <a:moveTo>
                      <a:pt x="324" y="66"/>
                    </a:moveTo>
                    <a:lnTo>
                      <a:pt x="342" y="66"/>
                    </a:lnTo>
                    <a:lnTo>
                      <a:pt x="348" y="72"/>
                    </a:lnTo>
                    <a:lnTo>
                      <a:pt x="360" y="72"/>
                    </a:lnTo>
                    <a:lnTo>
                      <a:pt x="360" y="78"/>
                    </a:lnTo>
                    <a:lnTo>
                      <a:pt x="342" y="96"/>
                    </a:lnTo>
                    <a:lnTo>
                      <a:pt x="336" y="96"/>
                    </a:lnTo>
                    <a:lnTo>
                      <a:pt x="378" y="114"/>
                    </a:lnTo>
                    <a:lnTo>
                      <a:pt x="390" y="120"/>
                    </a:lnTo>
                    <a:lnTo>
                      <a:pt x="396" y="126"/>
                    </a:lnTo>
                    <a:lnTo>
                      <a:pt x="414" y="126"/>
                    </a:lnTo>
                    <a:lnTo>
                      <a:pt x="426" y="132"/>
                    </a:lnTo>
                    <a:lnTo>
                      <a:pt x="438" y="132"/>
                    </a:lnTo>
                    <a:lnTo>
                      <a:pt x="462" y="108"/>
                    </a:lnTo>
                    <a:lnTo>
                      <a:pt x="504" y="96"/>
                    </a:lnTo>
                    <a:lnTo>
                      <a:pt x="534" y="120"/>
                    </a:lnTo>
                    <a:lnTo>
                      <a:pt x="528" y="120"/>
                    </a:lnTo>
                    <a:lnTo>
                      <a:pt x="516" y="126"/>
                    </a:lnTo>
                    <a:lnTo>
                      <a:pt x="504" y="126"/>
                    </a:lnTo>
                    <a:lnTo>
                      <a:pt x="480" y="132"/>
                    </a:lnTo>
                    <a:lnTo>
                      <a:pt x="468" y="138"/>
                    </a:lnTo>
                    <a:lnTo>
                      <a:pt x="456" y="150"/>
                    </a:lnTo>
                    <a:lnTo>
                      <a:pt x="486" y="150"/>
                    </a:lnTo>
                    <a:lnTo>
                      <a:pt x="498" y="156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86" y="168"/>
                    </a:lnTo>
                    <a:lnTo>
                      <a:pt x="474" y="174"/>
                    </a:lnTo>
                    <a:lnTo>
                      <a:pt x="468" y="180"/>
                    </a:lnTo>
                    <a:lnTo>
                      <a:pt x="462" y="180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8" y="204"/>
                    </a:lnTo>
                    <a:lnTo>
                      <a:pt x="540" y="210"/>
                    </a:lnTo>
                    <a:lnTo>
                      <a:pt x="558" y="210"/>
                    </a:lnTo>
                    <a:lnTo>
                      <a:pt x="576" y="216"/>
                    </a:lnTo>
                    <a:lnTo>
                      <a:pt x="594" y="210"/>
                    </a:lnTo>
                    <a:lnTo>
                      <a:pt x="606" y="204"/>
                    </a:lnTo>
                    <a:lnTo>
                      <a:pt x="612" y="204"/>
                    </a:lnTo>
                    <a:lnTo>
                      <a:pt x="618" y="198"/>
                    </a:lnTo>
                    <a:lnTo>
                      <a:pt x="612" y="192"/>
                    </a:lnTo>
                    <a:lnTo>
                      <a:pt x="612" y="186"/>
                    </a:lnTo>
                    <a:lnTo>
                      <a:pt x="606" y="180"/>
                    </a:lnTo>
                    <a:lnTo>
                      <a:pt x="606" y="174"/>
                    </a:lnTo>
                    <a:lnTo>
                      <a:pt x="612" y="168"/>
                    </a:lnTo>
                    <a:lnTo>
                      <a:pt x="618" y="168"/>
                    </a:lnTo>
                    <a:lnTo>
                      <a:pt x="630" y="162"/>
                    </a:lnTo>
                    <a:lnTo>
                      <a:pt x="648" y="162"/>
                    </a:lnTo>
                    <a:lnTo>
                      <a:pt x="648" y="144"/>
                    </a:lnTo>
                    <a:lnTo>
                      <a:pt x="678" y="132"/>
                    </a:lnTo>
                    <a:lnTo>
                      <a:pt x="690" y="102"/>
                    </a:lnTo>
                    <a:lnTo>
                      <a:pt x="714" y="114"/>
                    </a:lnTo>
                    <a:lnTo>
                      <a:pt x="738" y="102"/>
                    </a:lnTo>
                    <a:lnTo>
                      <a:pt x="750" y="114"/>
                    </a:lnTo>
                    <a:lnTo>
                      <a:pt x="762" y="120"/>
                    </a:lnTo>
                    <a:lnTo>
                      <a:pt x="780" y="126"/>
                    </a:lnTo>
                    <a:lnTo>
                      <a:pt x="792" y="138"/>
                    </a:lnTo>
                    <a:lnTo>
                      <a:pt x="792" y="144"/>
                    </a:lnTo>
                    <a:lnTo>
                      <a:pt x="786" y="150"/>
                    </a:lnTo>
                    <a:lnTo>
                      <a:pt x="786" y="162"/>
                    </a:lnTo>
                    <a:lnTo>
                      <a:pt x="774" y="174"/>
                    </a:lnTo>
                    <a:lnTo>
                      <a:pt x="828" y="174"/>
                    </a:lnTo>
                    <a:lnTo>
                      <a:pt x="834" y="180"/>
                    </a:lnTo>
                    <a:lnTo>
                      <a:pt x="846" y="186"/>
                    </a:lnTo>
                    <a:lnTo>
                      <a:pt x="852" y="192"/>
                    </a:lnTo>
                    <a:lnTo>
                      <a:pt x="858" y="192"/>
                    </a:lnTo>
                    <a:lnTo>
                      <a:pt x="864" y="186"/>
                    </a:lnTo>
                    <a:lnTo>
                      <a:pt x="876" y="186"/>
                    </a:lnTo>
                    <a:lnTo>
                      <a:pt x="894" y="174"/>
                    </a:lnTo>
                    <a:lnTo>
                      <a:pt x="906" y="168"/>
                    </a:lnTo>
                    <a:lnTo>
                      <a:pt x="924" y="162"/>
                    </a:lnTo>
                    <a:lnTo>
                      <a:pt x="936" y="156"/>
                    </a:lnTo>
                    <a:lnTo>
                      <a:pt x="942" y="150"/>
                    </a:lnTo>
                    <a:lnTo>
                      <a:pt x="942" y="144"/>
                    </a:lnTo>
                    <a:lnTo>
                      <a:pt x="936" y="144"/>
                    </a:lnTo>
                    <a:lnTo>
                      <a:pt x="924" y="138"/>
                    </a:lnTo>
                    <a:lnTo>
                      <a:pt x="888" y="138"/>
                    </a:lnTo>
                    <a:lnTo>
                      <a:pt x="882" y="120"/>
                    </a:lnTo>
                    <a:lnTo>
                      <a:pt x="828" y="114"/>
                    </a:lnTo>
                    <a:lnTo>
                      <a:pt x="828" y="96"/>
                    </a:lnTo>
                    <a:lnTo>
                      <a:pt x="798" y="102"/>
                    </a:lnTo>
                    <a:lnTo>
                      <a:pt x="798" y="84"/>
                    </a:lnTo>
                    <a:lnTo>
                      <a:pt x="726" y="84"/>
                    </a:lnTo>
                    <a:lnTo>
                      <a:pt x="720" y="72"/>
                    </a:lnTo>
                    <a:lnTo>
                      <a:pt x="684" y="72"/>
                    </a:lnTo>
                    <a:lnTo>
                      <a:pt x="678" y="60"/>
                    </a:lnTo>
                    <a:lnTo>
                      <a:pt x="654" y="48"/>
                    </a:lnTo>
                    <a:lnTo>
                      <a:pt x="624" y="48"/>
                    </a:lnTo>
                    <a:lnTo>
                      <a:pt x="624" y="30"/>
                    </a:lnTo>
                    <a:lnTo>
                      <a:pt x="618" y="30"/>
                    </a:lnTo>
                    <a:lnTo>
                      <a:pt x="612" y="24"/>
                    </a:lnTo>
                    <a:lnTo>
                      <a:pt x="540" y="24"/>
                    </a:lnTo>
                    <a:lnTo>
                      <a:pt x="534" y="30"/>
                    </a:lnTo>
                    <a:lnTo>
                      <a:pt x="534" y="36"/>
                    </a:lnTo>
                    <a:lnTo>
                      <a:pt x="540" y="42"/>
                    </a:lnTo>
                    <a:lnTo>
                      <a:pt x="546" y="54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6" y="60"/>
                    </a:lnTo>
                    <a:lnTo>
                      <a:pt x="528" y="48"/>
                    </a:lnTo>
                    <a:lnTo>
                      <a:pt x="492" y="30"/>
                    </a:lnTo>
                    <a:lnTo>
                      <a:pt x="480" y="30"/>
                    </a:lnTo>
                    <a:lnTo>
                      <a:pt x="474" y="36"/>
                    </a:lnTo>
                    <a:lnTo>
                      <a:pt x="468" y="48"/>
                    </a:lnTo>
                    <a:lnTo>
                      <a:pt x="462" y="54"/>
                    </a:lnTo>
                    <a:lnTo>
                      <a:pt x="450" y="54"/>
                    </a:lnTo>
                    <a:lnTo>
                      <a:pt x="438" y="48"/>
                    </a:lnTo>
                    <a:lnTo>
                      <a:pt x="420" y="48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8" y="30"/>
                    </a:lnTo>
                    <a:lnTo>
                      <a:pt x="384" y="30"/>
                    </a:lnTo>
                    <a:lnTo>
                      <a:pt x="372" y="42"/>
                    </a:lnTo>
                    <a:lnTo>
                      <a:pt x="366" y="30"/>
                    </a:lnTo>
                    <a:lnTo>
                      <a:pt x="354" y="30"/>
                    </a:lnTo>
                    <a:lnTo>
                      <a:pt x="318" y="48"/>
                    </a:lnTo>
                    <a:lnTo>
                      <a:pt x="318" y="60"/>
                    </a:lnTo>
                    <a:lnTo>
                      <a:pt x="324" y="66"/>
                    </a:lnTo>
                    <a:close/>
                    <a:moveTo>
                      <a:pt x="642" y="708"/>
                    </a:moveTo>
                    <a:lnTo>
                      <a:pt x="666" y="696"/>
                    </a:lnTo>
                    <a:lnTo>
                      <a:pt x="666" y="690"/>
                    </a:lnTo>
                    <a:lnTo>
                      <a:pt x="678" y="690"/>
                    </a:lnTo>
                    <a:lnTo>
                      <a:pt x="678" y="678"/>
                    </a:lnTo>
                    <a:lnTo>
                      <a:pt x="672" y="672"/>
                    </a:lnTo>
                    <a:lnTo>
                      <a:pt x="630" y="690"/>
                    </a:lnTo>
                    <a:lnTo>
                      <a:pt x="642" y="708"/>
                    </a:lnTo>
                    <a:close/>
                    <a:moveTo>
                      <a:pt x="774" y="648"/>
                    </a:moveTo>
                    <a:lnTo>
                      <a:pt x="780" y="642"/>
                    </a:lnTo>
                    <a:lnTo>
                      <a:pt x="786" y="642"/>
                    </a:lnTo>
                    <a:lnTo>
                      <a:pt x="792" y="636"/>
                    </a:lnTo>
                    <a:lnTo>
                      <a:pt x="792" y="630"/>
                    </a:lnTo>
                    <a:lnTo>
                      <a:pt x="786" y="624"/>
                    </a:lnTo>
                    <a:lnTo>
                      <a:pt x="774" y="624"/>
                    </a:lnTo>
                    <a:lnTo>
                      <a:pt x="768" y="630"/>
                    </a:lnTo>
                    <a:lnTo>
                      <a:pt x="768" y="642"/>
                    </a:lnTo>
                    <a:lnTo>
                      <a:pt x="774" y="648"/>
                    </a:lnTo>
                    <a:close/>
                    <a:moveTo>
                      <a:pt x="594" y="696"/>
                    </a:moveTo>
                    <a:lnTo>
                      <a:pt x="576" y="696"/>
                    </a:lnTo>
                    <a:lnTo>
                      <a:pt x="552" y="708"/>
                    </a:lnTo>
                    <a:lnTo>
                      <a:pt x="546" y="714"/>
                    </a:lnTo>
                    <a:lnTo>
                      <a:pt x="570" y="720"/>
                    </a:lnTo>
                    <a:lnTo>
                      <a:pt x="576" y="714"/>
                    </a:lnTo>
                    <a:lnTo>
                      <a:pt x="588" y="714"/>
                    </a:lnTo>
                    <a:lnTo>
                      <a:pt x="600" y="702"/>
                    </a:lnTo>
                    <a:lnTo>
                      <a:pt x="594" y="696"/>
                    </a:lnTo>
                    <a:close/>
                    <a:moveTo>
                      <a:pt x="918" y="612"/>
                    </a:moveTo>
                    <a:lnTo>
                      <a:pt x="936" y="618"/>
                    </a:lnTo>
                    <a:lnTo>
                      <a:pt x="942" y="606"/>
                    </a:lnTo>
                    <a:lnTo>
                      <a:pt x="948" y="600"/>
                    </a:lnTo>
                    <a:lnTo>
                      <a:pt x="948" y="594"/>
                    </a:lnTo>
                    <a:lnTo>
                      <a:pt x="918" y="594"/>
                    </a:lnTo>
                    <a:lnTo>
                      <a:pt x="918" y="612"/>
                    </a:lnTo>
                    <a:close/>
                    <a:moveTo>
                      <a:pt x="486" y="756"/>
                    </a:moveTo>
                    <a:lnTo>
                      <a:pt x="474" y="756"/>
                    </a:lnTo>
                    <a:lnTo>
                      <a:pt x="438" y="774"/>
                    </a:lnTo>
                    <a:lnTo>
                      <a:pt x="432" y="780"/>
                    </a:lnTo>
                    <a:lnTo>
                      <a:pt x="432" y="786"/>
                    </a:lnTo>
                    <a:lnTo>
                      <a:pt x="444" y="786"/>
                    </a:lnTo>
                    <a:lnTo>
                      <a:pt x="456" y="780"/>
                    </a:lnTo>
                    <a:lnTo>
                      <a:pt x="462" y="774"/>
                    </a:lnTo>
                    <a:lnTo>
                      <a:pt x="474" y="768"/>
                    </a:lnTo>
                    <a:lnTo>
                      <a:pt x="510" y="768"/>
                    </a:lnTo>
                    <a:lnTo>
                      <a:pt x="510" y="762"/>
                    </a:lnTo>
                    <a:lnTo>
                      <a:pt x="504" y="762"/>
                    </a:lnTo>
                    <a:lnTo>
                      <a:pt x="504" y="756"/>
                    </a:lnTo>
                    <a:lnTo>
                      <a:pt x="486" y="756"/>
                    </a:lnTo>
                    <a:close/>
                    <a:moveTo>
                      <a:pt x="1356" y="660"/>
                    </a:moveTo>
                    <a:lnTo>
                      <a:pt x="1326" y="666"/>
                    </a:lnTo>
                    <a:lnTo>
                      <a:pt x="1290" y="654"/>
                    </a:lnTo>
                    <a:lnTo>
                      <a:pt x="1260" y="642"/>
                    </a:lnTo>
                    <a:lnTo>
                      <a:pt x="1302" y="642"/>
                    </a:lnTo>
                    <a:lnTo>
                      <a:pt x="1326" y="630"/>
                    </a:lnTo>
                    <a:lnTo>
                      <a:pt x="1344" y="630"/>
                    </a:lnTo>
                    <a:lnTo>
                      <a:pt x="1350" y="624"/>
                    </a:lnTo>
                    <a:lnTo>
                      <a:pt x="1356" y="624"/>
                    </a:lnTo>
                    <a:lnTo>
                      <a:pt x="1344" y="618"/>
                    </a:lnTo>
                    <a:lnTo>
                      <a:pt x="1338" y="612"/>
                    </a:lnTo>
                    <a:lnTo>
                      <a:pt x="1320" y="606"/>
                    </a:lnTo>
                    <a:lnTo>
                      <a:pt x="1308" y="600"/>
                    </a:lnTo>
                    <a:lnTo>
                      <a:pt x="1284" y="600"/>
                    </a:lnTo>
                    <a:lnTo>
                      <a:pt x="1260" y="588"/>
                    </a:lnTo>
                    <a:lnTo>
                      <a:pt x="1254" y="588"/>
                    </a:lnTo>
                    <a:lnTo>
                      <a:pt x="1242" y="582"/>
                    </a:lnTo>
                    <a:lnTo>
                      <a:pt x="1242" y="588"/>
                    </a:lnTo>
                    <a:lnTo>
                      <a:pt x="1236" y="594"/>
                    </a:lnTo>
                    <a:lnTo>
                      <a:pt x="1236" y="600"/>
                    </a:lnTo>
                    <a:lnTo>
                      <a:pt x="1218" y="618"/>
                    </a:lnTo>
                    <a:lnTo>
                      <a:pt x="1206" y="618"/>
                    </a:lnTo>
                    <a:lnTo>
                      <a:pt x="1200" y="612"/>
                    </a:lnTo>
                    <a:lnTo>
                      <a:pt x="1224" y="588"/>
                    </a:lnTo>
                    <a:lnTo>
                      <a:pt x="1158" y="564"/>
                    </a:lnTo>
                    <a:lnTo>
                      <a:pt x="1158" y="576"/>
                    </a:lnTo>
                    <a:lnTo>
                      <a:pt x="1152" y="594"/>
                    </a:lnTo>
                    <a:lnTo>
                      <a:pt x="1134" y="630"/>
                    </a:lnTo>
                    <a:lnTo>
                      <a:pt x="1128" y="630"/>
                    </a:lnTo>
                    <a:lnTo>
                      <a:pt x="1122" y="624"/>
                    </a:lnTo>
                    <a:lnTo>
                      <a:pt x="1116" y="612"/>
                    </a:lnTo>
                    <a:lnTo>
                      <a:pt x="1116" y="594"/>
                    </a:lnTo>
                    <a:lnTo>
                      <a:pt x="1122" y="582"/>
                    </a:lnTo>
                    <a:lnTo>
                      <a:pt x="1116" y="594"/>
                    </a:lnTo>
                    <a:lnTo>
                      <a:pt x="1104" y="600"/>
                    </a:lnTo>
                    <a:lnTo>
                      <a:pt x="1080" y="624"/>
                    </a:lnTo>
                    <a:lnTo>
                      <a:pt x="1056" y="636"/>
                    </a:lnTo>
                    <a:lnTo>
                      <a:pt x="1050" y="636"/>
                    </a:lnTo>
                    <a:lnTo>
                      <a:pt x="1050" y="630"/>
                    </a:lnTo>
                    <a:lnTo>
                      <a:pt x="1056" y="618"/>
                    </a:lnTo>
                    <a:lnTo>
                      <a:pt x="1086" y="588"/>
                    </a:lnTo>
                    <a:lnTo>
                      <a:pt x="1092" y="576"/>
                    </a:lnTo>
                    <a:lnTo>
                      <a:pt x="1104" y="570"/>
                    </a:lnTo>
                    <a:lnTo>
                      <a:pt x="1068" y="570"/>
                    </a:lnTo>
                    <a:lnTo>
                      <a:pt x="1050" y="582"/>
                    </a:lnTo>
                    <a:lnTo>
                      <a:pt x="1026" y="582"/>
                    </a:lnTo>
                    <a:lnTo>
                      <a:pt x="984" y="606"/>
                    </a:lnTo>
                    <a:lnTo>
                      <a:pt x="960" y="606"/>
                    </a:lnTo>
                    <a:lnTo>
                      <a:pt x="954" y="636"/>
                    </a:lnTo>
                    <a:lnTo>
                      <a:pt x="918" y="624"/>
                    </a:lnTo>
                    <a:lnTo>
                      <a:pt x="882" y="630"/>
                    </a:lnTo>
                    <a:lnTo>
                      <a:pt x="894" y="660"/>
                    </a:lnTo>
                    <a:lnTo>
                      <a:pt x="846" y="648"/>
                    </a:lnTo>
                    <a:lnTo>
                      <a:pt x="828" y="654"/>
                    </a:lnTo>
                    <a:lnTo>
                      <a:pt x="834" y="678"/>
                    </a:lnTo>
                    <a:lnTo>
                      <a:pt x="792" y="690"/>
                    </a:lnTo>
                    <a:lnTo>
                      <a:pt x="792" y="654"/>
                    </a:lnTo>
                    <a:lnTo>
                      <a:pt x="762" y="654"/>
                    </a:lnTo>
                    <a:lnTo>
                      <a:pt x="774" y="678"/>
                    </a:lnTo>
                    <a:lnTo>
                      <a:pt x="750" y="660"/>
                    </a:lnTo>
                    <a:lnTo>
                      <a:pt x="750" y="690"/>
                    </a:lnTo>
                    <a:lnTo>
                      <a:pt x="726" y="690"/>
                    </a:lnTo>
                    <a:lnTo>
                      <a:pt x="726" y="660"/>
                    </a:lnTo>
                    <a:lnTo>
                      <a:pt x="738" y="654"/>
                    </a:lnTo>
                    <a:lnTo>
                      <a:pt x="744" y="648"/>
                    </a:lnTo>
                    <a:lnTo>
                      <a:pt x="708" y="642"/>
                    </a:lnTo>
                    <a:lnTo>
                      <a:pt x="708" y="684"/>
                    </a:lnTo>
                    <a:lnTo>
                      <a:pt x="678" y="696"/>
                    </a:lnTo>
                    <a:lnTo>
                      <a:pt x="696" y="708"/>
                    </a:lnTo>
                    <a:lnTo>
                      <a:pt x="660" y="714"/>
                    </a:lnTo>
                    <a:lnTo>
                      <a:pt x="672" y="726"/>
                    </a:lnTo>
                    <a:lnTo>
                      <a:pt x="630" y="726"/>
                    </a:lnTo>
                    <a:lnTo>
                      <a:pt x="630" y="738"/>
                    </a:lnTo>
                    <a:lnTo>
                      <a:pt x="660" y="750"/>
                    </a:lnTo>
                    <a:lnTo>
                      <a:pt x="654" y="762"/>
                    </a:lnTo>
                    <a:lnTo>
                      <a:pt x="618" y="744"/>
                    </a:lnTo>
                    <a:lnTo>
                      <a:pt x="600" y="750"/>
                    </a:lnTo>
                    <a:lnTo>
                      <a:pt x="624" y="762"/>
                    </a:lnTo>
                    <a:lnTo>
                      <a:pt x="606" y="780"/>
                    </a:lnTo>
                    <a:lnTo>
                      <a:pt x="594" y="762"/>
                    </a:lnTo>
                    <a:lnTo>
                      <a:pt x="576" y="768"/>
                    </a:lnTo>
                    <a:lnTo>
                      <a:pt x="576" y="780"/>
                    </a:lnTo>
                    <a:lnTo>
                      <a:pt x="546" y="780"/>
                    </a:lnTo>
                    <a:lnTo>
                      <a:pt x="540" y="792"/>
                    </a:lnTo>
                    <a:lnTo>
                      <a:pt x="564" y="804"/>
                    </a:lnTo>
                    <a:lnTo>
                      <a:pt x="564" y="822"/>
                    </a:lnTo>
                    <a:lnTo>
                      <a:pt x="528" y="810"/>
                    </a:lnTo>
                    <a:lnTo>
                      <a:pt x="522" y="822"/>
                    </a:lnTo>
                    <a:lnTo>
                      <a:pt x="552" y="834"/>
                    </a:lnTo>
                    <a:lnTo>
                      <a:pt x="504" y="834"/>
                    </a:lnTo>
                    <a:lnTo>
                      <a:pt x="504" y="852"/>
                    </a:lnTo>
                    <a:lnTo>
                      <a:pt x="492" y="846"/>
                    </a:lnTo>
                    <a:lnTo>
                      <a:pt x="486" y="846"/>
                    </a:lnTo>
                    <a:lnTo>
                      <a:pt x="474" y="852"/>
                    </a:lnTo>
                    <a:lnTo>
                      <a:pt x="468" y="858"/>
                    </a:lnTo>
                    <a:lnTo>
                      <a:pt x="456" y="858"/>
                    </a:lnTo>
                    <a:lnTo>
                      <a:pt x="456" y="870"/>
                    </a:lnTo>
                    <a:lnTo>
                      <a:pt x="462" y="876"/>
                    </a:lnTo>
                    <a:lnTo>
                      <a:pt x="456" y="876"/>
                    </a:lnTo>
                    <a:lnTo>
                      <a:pt x="450" y="882"/>
                    </a:lnTo>
                    <a:lnTo>
                      <a:pt x="444" y="882"/>
                    </a:lnTo>
                    <a:lnTo>
                      <a:pt x="444" y="900"/>
                    </a:lnTo>
                    <a:lnTo>
                      <a:pt x="480" y="900"/>
                    </a:lnTo>
                    <a:lnTo>
                      <a:pt x="468" y="912"/>
                    </a:lnTo>
                    <a:lnTo>
                      <a:pt x="432" y="906"/>
                    </a:lnTo>
                    <a:lnTo>
                      <a:pt x="420" y="912"/>
                    </a:lnTo>
                    <a:lnTo>
                      <a:pt x="414" y="918"/>
                    </a:lnTo>
                    <a:lnTo>
                      <a:pt x="414" y="930"/>
                    </a:lnTo>
                    <a:lnTo>
                      <a:pt x="420" y="936"/>
                    </a:lnTo>
                    <a:lnTo>
                      <a:pt x="420" y="948"/>
                    </a:lnTo>
                    <a:lnTo>
                      <a:pt x="408" y="954"/>
                    </a:lnTo>
                    <a:lnTo>
                      <a:pt x="390" y="954"/>
                    </a:lnTo>
                    <a:lnTo>
                      <a:pt x="390" y="972"/>
                    </a:lnTo>
                    <a:lnTo>
                      <a:pt x="408" y="990"/>
                    </a:lnTo>
                    <a:lnTo>
                      <a:pt x="408" y="996"/>
                    </a:lnTo>
                    <a:lnTo>
                      <a:pt x="402" y="1002"/>
                    </a:lnTo>
                    <a:lnTo>
                      <a:pt x="366" y="1002"/>
                    </a:lnTo>
                    <a:lnTo>
                      <a:pt x="360" y="1008"/>
                    </a:lnTo>
                    <a:lnTo>
                      <a:pt x="360" y="1026"/>
                    </a:lnTo>
                    <a:lnTo>
                      <a:pt x="354" y="1032"/>
                    </a:lnTo>
                    <a:lnTo>
                      <a:pt x="342" y="1032"/>
                    </a:lnTo>
                    <a:lnTo>
                      <a:pt x="336" y="1026"/>
                    </a:lnTo>
                    <a:lnTo>
                      <a:pt x="318" y="1026"/>
                    </a:lnTo>
                    <a:lnTo>
                      <a:pt x="294" y="1050"/>
                    </a:lnTo>
                    <a:lnTo>
                      <a:pt x="282" y="1050"/>
                    </a:lnTo>
                    <a:lnTo>
                      <a:pt x="270" y="1062"/>
                    </a:lnTo>
                    <a:lnTo>
                      <a:pt x="270" y="1068"/>
                    </a:lnTo>
                    <a:lnTo>
                      <a:pt x="276" y="1074"/>
                    </a:lnTo>
                    <a:lnTo>
                      <a:pt x="276" y="1080"/>
                    </a:lnTo>
                    <a:lnTo>
                      <a:pt x="264" y="1092"/>
                    </a:lnTo>
                    <a:lnTo>
                      <a:pt x="252" y="1092"/>
                    </a:lnTo>
                    <a:lnTo>
                      <a:pt x="246" y="1086"/>
                    </a:lnTo>
                    <a:lnTo>
                      <a:pt x="234" y="1080"/>
                    </a:lnTo>
                    <a:lnTo>
                      <a:pt x="234" y="1074"/>
                    </a:lnTo>
                    <a:lnTo>
                      <a:pt x="228" y="1074"/>
                    </a:lnTo>
                    <a:lnTo>
                      <a:pt x="204" y="1086"/>
                    </a:lnTo>
                    <a:lnTo>
                      <a:pt x="198" y="1092"/>
                    </a:lnTo>
                    <a:lnTo>
                      <a:pt x="180" y="1092"/>
                    </a:lnTo>
                    <a:lnTo>
                      <a:pt x="180" y="1110"/>
                    </a:lnTo>
                    <a:lnTo>
                      <a:pt x="186" y="1116"/>
                    </a:lnTo>
                    <a:lnTo>
                      <a:pt x="192" y="1116"/>
                    </a:lnTo>
                    <a:lnTo>
                      <a:pt x="192" y="1128"/>
                    </a:lnTo>
                    <a:lnTo>
                      <a:pt x="186" y="1128"/>
                    </a:lnTo>
                    <a:lnTo>
                      <a:pt x="174" y="1116"/>
                    </a:lnTo>
                    <a:lnTo>
                      <a:pt x="162" y="1116"/>
                    </a:lnTo>
                    <a:lnTo>
                      <a:pt x="156" y="1122"/>
                    </a:lnTo>
                    <a:lnTo>
                      <a:pt x="156" y="1134"/>
                    </a:lnTo>
                    <a:lnTo>
                      <a:pt x="168" y="1134"/>
                    </a:lnTo>
                    <a:lnTo>
                      <a:pt x="174" y="1140"/>
                    </a:lnTo>
                    <a:lnTo>
                      <a:pt x="180" y="1140"/>
                    </a:lnTo>
                    <a:lnTo>
                      <a:pt x="180" y="1152"/>
                    </a:lnTo>
                    <a:lnTo>
                      <a:pt x="138" y="1152"/>
                    </a:lnTo>
                    <a:lnTo>
                      <a:pt x="138" y="1146"/>
                    </a:lnTo>
                    <a:lnTo>
                      <a:pt x="132" y="1146"/>
                    </a:lnTo>
                    <a:lnTo>
                      <a:pt x="126" y="1158"/>
                    </a:lnTo>
                    <a:lnTo>
                      <a:pt x="126" y="1170"/>
                    </a:lnTo>
                    <a:lnTo>
                      <a:pt x="120" y="1164"/>
                    </a:lnTo>
                    <a:lnTo>
                      <a:pt x="102" y="1164"/>
                    </a:lnTo>
                    <a:lnTo>
                      <a:pt x="96" y="1158"/>
                    </a:lnTo>
                    <a:lnTo>
                      <a:pt x="90" y="1158"/>
                    </a:lnTo>
                    <a:lnTo>
                      <a:pt x="90" y="1164"/>
                    </a:lnTo>
                    <a:lnTo>
                      <a:pt x="96" y="1170"/>
                    </a:lnTo>
                    <a:lnTo>
                      <a:pt x="120" y="1182"/>
                    </a:lnTo>
                    <a:lnTo>
                      <a:pt x="132" y="1182"/>
                    </a:lnTo>
                    <a:lnTo>
                      <a:pt x="108" y="1200"/>
                    </a:lnTo>
                    <a:lnTo>
                      <a:pt x="108" y="1188"/>
                    </a:lnTo>
                    <a:lnTo>
                      <a:pt x="90" y="1188"/>
                    </a:lnTo>
                    <a:lnTo>
                      <a:pt x="84" y="1194"/>
                    </a:lnTo>
                    <a:lnTo>
                      <a:pt x="60" y="1182"/>
                    </a:lnTo>
                    <a:lnTo>
                      <a:pt x="54" y="1194"/>
                    </a:lnTo>
                    <a:lnTo>
                      <a:pt x="66" y="1200"/>
                    </a:lnTo>
                    <a:lnTo>
                      <a:pt x="30" y="1194"/>
                    </a:lnTo>
                    <a:lnTo>
                      <a:pt x="30" y="1212"/>
                    </a:lnTo>
                    <a:lnTo>
                      <a:pt x="78" y="1212"/>
                    </a:lnTo>
                    <a:lnTo>
                      <a:pt x="54" y="1218"/>
                    </a:lnTo>
                    <a:lnTo>
                      <a:pt x="18" y="1212"/>
                    </a:lnTo>
                    <a:lnTo>
                      <a:pt x="6" y="1224"/>
                    </a:lnTo>
                    <a:lnTo>
                      <a:pt x="6" y="1230"/>
                    </a:lnTo>
                    <a:lnTo>
                      <a:pt x="18" y="1242"/>
                    </a:lnTo>
                    <a:lnTo>
                      <a:pt x="36" y="1242"/>
                    </a:lnTo>
                    <a:lnTo>
                      <a:pt x="18" y="1248"/>
                    </a:lnTo>
                    <a:lnTo>
                      <a:pt x="12" y="1254"/>
                    </a:lnTo>
                    <a:lnTo>
                      <a:pt x="12" y="1260"/>
                    </a:lnTo>
                    <a:lnTo>
                      <a:pt x="66" y="1260"/>
                    </a:lnTo>
                    <a:lnTo>
                      <a:pt x="78" y="1272"/>
                    </a:lnTo>
                    <a:lnTo>
                      <a:pt x="96" y="1260"/>
                    </a:lnTo>
                    <a:lnTo>
                      <a:pt x="108" y="1272"/>
                    </a:lnTo>
                    <a:lnTo>
                      <a:pt x="138" y="1260"/>
                    </a:lnTo>
                    <a:lnTo>
                      <a:pt x="132" y="1266"/>
                    </a:lnTo>
                    <a:lnTo>
                      <a:pt x="126" y="1278"/>
                    </a:lnTo>
                    <a:lnTo>
                      <a:pt x="60" y="1278"/>
                    </a:lnTo>
                    <a:lnTo>
                      <a:pt x="54" y="1272"/>
                    </a:lnTo>
                    <a:lnTo>
                      <a:pt x="24" y="1272"/>
                    </a:lnTo>
                    <a:lnTo>
                      <a:pt x="12" y="1278"/>
                    </a:lnTo>
                    <a:lnTo>
                      <a:pt x="0" y="1278"/>
                    </a:lnTo>
                    <a:lnTo>
                      <a:pt x="6" y="1284"/>
                    </a:lnTo>
                    <a:lnTo>
                      <a:pt x="6" y="1296"/>
                    </a:lnTo>
                    <a:lnTo>
                      <a:pt x="12" y="1296"/>
                    </a:lnTo>
                    <a:lnTo>
                      <a:pt x="18" y="1302"/>
                    </a:lnTo>
                    <a:lnTo>
                      <a:pt x="30" y="1302"/>
                    </a:lnTo>
                    <a:lnTo>
                      <a:pt x="24" y="1308"/>
                    </a:lnTo>
                    <a:lnTo>
                      <a:pt x="18" y="1320"/>
                    </a:lnTo>
                    <a:lnTo>
                      <a:pt x="36" y="1338"/>
                    </a:lnTo>
                    <a:lnTo>
                      <a:pt x="48" y="1338"/>
                    </a:lnTo>
                    <a:lnTo>
                      <a:pt x="72" y="1320"/>
                    </a:lnTo>
                    <a:lnTo>
                      <a:pt x="102" y="1314"/>
                    </a:lnTo>
                    <a:lnTo>
                      <a:pt x="90" y="1338"/>
                    </a:lnTo>
                    <a:lnTo>
                      <a:pt x="78" y="1332"/>
                    </a:lnTo>
                    <a:lnTo>
                      <a:pt x="66" y="1350"/>
                    </a:lnTo>
                    <a:lnTo>
                      <a:pt x="30" y="1350"/>
                    </a:lnTo>
                    <a:lnTo>
                      <a:pt x="48" y="1368"/>
                    </a:lnTo>
                    <a:lnTo>
                      <a:pt x="24" y="1380"/>
                    </a:lnTo>
                    <a:lnTo>
                      <a:pt x="6" y="1380"/>
                    </a:lnTo>
                    <a:lnTo>
                      <a:pt x="6" y="1398"/>
                    </a:lnTo>
                    <a:lnTo>
                      <a:pt x="66" y="1398"/>
                    </a:lnTo>
                    <a:lnTo>
                      <a:pt x="54" y="1422"/>
                    </a:lnTo>
                    <a:lnTo>
                      <a:pt x="66" y="1422"/>
                    </a:lnTo>
                    <a:lnTo>
                      <a:pt x="54" y="1440"/>
                    </a:lnTo>
                    <a:lnTo>
                      <a:pt x="42" y="1434"/>
                    </a:lnTo>
                    <a:lnTo>
                      <a:pt x="36" y="1434"/>
                    </a:lnTo>
                    <a:lnTo>
                      <a:pt x="30" y="1428"/>
                    </a:lnTo>
                    <a:lnTo>
                      <a:pt x="18" y="1428"/>
                    </a:lnTo>
                    <a:lnTo>
                      <a:pt x="18" y="1440"/>
                    </a:lnTo>
                    <a:lnTo>
                      <a:pt x="24" y="1452"/>
                    </a:lnTo>
                    <a:lnTo>
                      <a:pt x="36" y="1464"/>
                    </a:lnTo>
                    <a:lnTo>
                      <a:pt x="84" y="1482"/>
                    </a:lnTo>
                    <a:lnTo>
                      <a:pt x="78" y="1488"/>
                    </a:lnTo>
                    <a:lnTo>
                      <a:pt x="84" y="1494"/>
                    </a:lnTo>
                    <a:lnTo>
                      <a:pt x="126" y="1494"/>
                    </a:lnTo>
                    <a:lnTo>
                      <a:pt x="132" y="1500"/>
                    </a:lnTo>
                    <a:lnTo>
                      <a:pt x="144" y="1500"/>
                    </a:lnTo>
                    <a:lnTo>
                      <a:pt x="192" y="1476"/>
                    </a:lnTo>
                    <a:lnTo>
                      <a:pt x="204" y="1464"/>
                    </a:lnTo>
                    <a:lnTo>
                      <a:pt x="216" y="1458"/>
                    </a:lnTo>
                    <a:lnTo>
                      <a:pt x="222" y="1452"/>
                    </a:lnTo>
                    <a:lnTo>
                      <a:pt x="258" y="1422"/>
                    </a:lnTo>
                    <a:lnTo>
                      <a:pt x="282" y="1422"/>
                    </a:lnTo>
                    <a:lnTo>
                      <a:pt x="294" y="1416"/>
                    </a:lnTo>
                    <a:lnTo>
                      <a:pt x="300" y="1410"/>
                    </a:lnTo>
                    <a:lnTo>
                      <a:pt x="300" y="1386"/>
                    </a:lnTo>
                    <a:lnTo>
                      <a:pt x="294" y="1380"/>
                    </a:lnTo>
                    <a:lnTo>
                      <a:pt x="294" y="1374"/>
                    </a:lnTo>
                    <a:lnTo>
                      <a:pt x="312" y="1368"/>
                    </a:lnTo>
                    <a:lnTo>
                      <a:pt x="306" y="1374"/>
                    </a:lnTo>
                    <a:lnTo>
                      <a:pt x="306" y="1380"/>
                    </a:lnTo>
                    <a:lnTo>
                      <a:pt x="300" y="1386"/>
                    </a:lnTo>
                    <a:lnTo>
                      <a:pt x="300" y="1392"/>
                    </a:lnTo>
                    <a:lnTo>
                      <a:pt x="312" y="1404"/>
                    </a:lnTo>
                    <a:lnTo>
                      <a:pt x="330" y="1410"/>
                    </a:lnTo>
                    <a:lnTo>
                      <a:pt x="342" y="1410"/>
                    </a:lnTo>
                    <a:lnTo>
                      <a:pt x="348" y="1416"/>
                    </a:lnTo>
                    <a:lnTo>
                      <a:pt x="354" y="1416"/>
                    </a:lnTo>
                    <a:lnTo>
                      <a:pt x="372" y="1434"/>
                    </a:lnTo>
                    <a:lnTo>
                      <a:pt x="378" y="1422"/>
                    </a:lnTo>
                    <a:lnTo>
                      <a:pt x="384" y="1416"/>
                    </a:lnTo>
                    <a:lnTo>
                      <a:pt x="384" y="1398"/>
                    </a:lnTo>
                    <a:lnTo>
                      <a:pt x="372" y="1386"/>
                    </a:lnTo>
                    <a:lnTo>
                      <a:pt x="372" y="1380"/>
                    </a:lnTo>
                    <a:lnTo>
                      <a:pt x="378" y="1374"/>
                    </a:lnTo>
                    <a:lnTo>
                      <a:pt x="384" y="1374"/>
                    </a:lnTo>
                    <a:lnTo>
                      <a:pt x="384" y="1368"/>
                    </a:lnTo>
                    <a:lnTo>
                      <a:pt x="378" y="1356"/>
                    </a:lnTo>
                    <a:lnTo>
                      <a:pt x="414" y="1356"/>
                    </a:lnTo>
                    <a:lnTo>
                      <a:pt x="420" y="1350"/>
                    </a:lnTo>
                    <a:lnTo>
                      <a:pt x="420" y="1326"/>
                    </a:lnTo>
                    <a:lnTo>
                      <a:pt x="426" y="1326"/>
                    </a:lnTo>
                    <a:lnTo>
                      <a:pt x="420" y="1314"/>
                    </a:lnTo>
                    <a:lnTo>
                      <a:pt x="420" y="1308"/>
                    </a:lnTo>
                    <a:lnTo>
                      <a:pt x="414" y="1302"/>
                    </a:lnTo>
                    <a:lnTo>
                      <a:pt x="414" y="1296"/>
                    </a:lnTo>
                    <a:lnTo>
                      <a:pt x="408" y="1284"/>
                    </a:lnTo>
                    <a:lnTo>
                      <a:pt x="402" y="1278"/>
                    </a:lnTo>
                    <a:lnTo>
                      <a:pt x="426" y="1272"/>
                    </a:lnTo>
                    <a:lnTo>
                      <a:pt x="438" y="1260"/>
                    </a:lnTo>
                    <a:lnTo>
                      <a:pt x="438" y="1248"/>
                    </a:lnTo>
                    <a:lnTo>
                      <a:pt x="420" y="1230"/>
                    </a:lnTo>
                    <a:lnTo>
                      <a:pt x="414" y="1230"/>
                    </a:lnTo>
                    <a:lnTo>
                      <a:pt x="402" y="1218"/>
                    </a:lnTo>
                    <a:lnTo>
                      <a:pt x="402" y="1200"/>
                    </a:lnTo>
                    <a:lnTo>
                      <a:pt x="408" y="1188"/>
                    </a:lnTo>
                    <a:lnTo>
                      <a:pt x="408" y="1176"/>
                    </a:lnTo>
                    <a:lnTo>
                      <a:pt x="384" y="1152"/>
                    </a:lnTo>
                    <a:lnTo>
                      <a:pt x="384" y="1140"/>
                    </a:lnTo>
                    <a:lnTo>
                      <a:pt x="390" y="1134"/>
                    </a:lnTo>
                    <a:lnTo>
                      <a:pt x="396" y="1134"/>
                    </a:lnTo>
                    <a:lnTo>
                      <a:pt x="402" y="1128"/>
                    </a:lnTo>
                    <a:lnTo>
                      <a:pt x="402" y="1122"/>
                    </a:lnTo>
                    <a:lnTo>
                      <a:pt x="396" y="1116"/>
                    </a:lnTo>
                    <a:lnTo>
                      <a:pt x="390" y="1116"/>
                    </a:lnTo>
                    <a:lnTo>
                      <a:pt x="384" y="1110"/>
                    </a:lnTo>
                    <a:lnTo>
                      <a:pt x="426" y="1068"/>
                    </a:lnTo>
                    <a:lnTo>
                      <a:pt x="438" y="1062"/>
                    </a:lnTo>
                    <a:lnTo>
                      <a:pt x="444" y="1056"/>
                    </a:lnTo>
                    <a:lnTo>
                      <a:pt x="456" y="1050"/>
                    </a:lnTo>
                    <a:lnTo>
                      <a:pt x="498" y="1050"/>
                    </a:lnTo>
                    <a:lnTo>
                      <a:pt x="504" y="1044"/>
                    </a:lnTo>
                    <a:lnTo>
                      <a:pt x="504" y="1038"/>
                    </a:lnTo>
                    <a:lnTo>
                      <a:pt x="486" y="1020"/>
                    </a:lnTo>
                    <a:lnTo>
                      <a:pt x="474" y="1014"/>
                    </a:lnTo>
                    <a:lnTo>
                      <a:pt x="486" y="1008"/>
                    </a:lnTo>
                    <a:lnTo>
                      <a:pt x="492" y="1008"/>
                    </a:lnTo>
                    <a:lnTo>
                      <a:pt x="522" y="978"/>
                    </a:lnTo>
                    <a:lnTo>
                      <a:pt x="528" y="936"/>
                    </a:lnTo>
                    <a:lnTo>
                      <a:pt x="528" y="900"/>
                    </a:lnTo>
                    <a:lnTo>
                      <a:pt x="546" y="912"/>
                    </a:lnTo>
                    <a:lnTo>
                      <a:pt x="558" y="906"/>
                    </a:lnTo>
                    <a:lnTo>
                      <a:pt x="564" y="906"/>
                    </a:lnTo>
                    <a:lnTo>
                      <a:pt x="570" y="900"/>
                    </a:lnTo>
                    <a:lnTo>
                      <a:pt x="576" y="900"/>
                    </a:lnTo>
                    <a:lnTo>
                      <a:pt x="576" y="894"/>
                    </a:lnTo>
                    <a:lnTo>
                      <a:pt x="570" y="888"/>
                    </a:lnTo>
                    <a:lnTo>
                      <a:pt x="570" y="882"/>
                    </a:lnTo>
                    <a:lnTo>
                      <a:pt x="564" y="876"/>
                    </a:lnTo>
                    <a:lnTo>
                      <a:pt x="582" y="876"/>
                    </a:lnTo>
                    <a:lnTo>
                      <a:pt x="588" y="870"/>
                    </a:lnTo>
                    <a:lnTo>
                      <a:pt x="588" y="864"/>
                    </a:lnTo>
                    <a:lnTo>
                      <a:pt x="594" y="858"/>
                    </a:lnTo>
                    <a:lnTo>
                      <a:pt x="606" y="852"/>
                    </a:lnTo>
                    <a:lnTo>
                      <a:pt x="612" y="852"/>
                    </a:lnTo>
                    <a:lnTo>
                      <a:pt x="618" y="834"/>
                    </a:lnTo>
                    <a:lnTo>
                      <a:pt x="612" y="828"/>
                    </a:lnTo>
                    <a:lnTo>
                      <a:pt x="600" y="822"/>
                    </a:lnTo>
                    <a:lnTo>
                      <a:pt x="600" y="810"/>
                    </a:lnTo>
                    <a:lnTo>
                      <a:pt x="606" y="810"/>
                    </a:lnTo>
                    <a:lnTo>
                      <a:pt x="618" y="804"/>
                    </a:lnTo>
                    <a:lnTo>
                      <a:pt x="636" y="786"/>
                    </a:lnTo>
                    <a:lnTo>
                      <a:pt x="678" y="780"/>
                    </a:lnTo>
                    <a:lnTo>
                      <a:pt x="696" y="780"/>
                    </a:lnTo>
                    <a:lnTo>
                      <a:pt x="702" y="774"/>
                    </a:lnTo>
                    <a:lnTo>
                      <a:pt x="702" y="744"/>
                    </a:lnTo>
                    <a:lnTo>
                      <a:pt x="714" y="732"/>
                    </a:lnTo>
                    <a:lnTo>
                      <a:pt x="720" y="738"/>
                    </a:lnTo>
                    <a:lnTo>
                      <a:pt x="720" y="750"/>
                    </a:lnTo>
                    <a:lnTo>
                      <a:pt x="744" y="744"/>
                    </a:lnTo>
                    <a:lnTo>
                      <a:pt x="768" y="750"/>
                    </a:lnTo>
                    <a:lnTo>
                      <a:pt x="792" y="750"/>
                    </a:lnTo>
                    <a:lnTo>
                      <a:pt x="798" y="756"/>
                    </a:lnTo>
                    <a:lnTo>
                      <a:pt x="810" y="756"/>
                    </a:lnTo>
                    <a:lnTo>
                      <a:pt x="816" y="750"/>
                    </a:lnTo>
                    <a:lnTo>
                      <a:pt x="810" y="750"/>
                    </a:lnTo>
                    <a:lnTo>
                      <a:pt x="798" y="738"/>
                    </a:lnTo>
                    <a:lnTo>
                      <a:pt x="798" y="732"/>
                    </a:lnTo>
                    <a:lnTo>
                      <a:pt x="810" y="732"/>
                    </a:lnTo>
                    <a:lnTo>
                      <a:pt x="810" y="708"/>
                    </a:lnTo>
                    <a:lnTo>
                      <a:pt x="840" y="714"/>
                    </a:lnTo>
                    <a:lnTo>
                      <a:pt x="834" y="708"/>
                    </a:lnTo>
                    <a:lnTo>
                      <a:pt x="840" y="702"/>
                    </a:lnTo>
                    <a:lnTo>
                      <a:pt x="858" y="708"/>
                    </a:lnTo>
                    <a:lnTo>
                      <a:pt x="858" y="696"/>
                    </a:lnTo>
                    <a:lnTo>
                      <a:pt x="864" y="690"/>
                    </a:lnTo>
                    <a:lnTo>
                      <a:pt x="882" y="690"/>
                    </a:lnTo>
                    <a:lnTo>
                      <a:pt x="888" y="696"/>
                    </a:lnTo>
                    <a:lnTo>
                      <a:pt x="894" y="708"/>
                    </a:lnTo>
                    <a:lnTo>
                      <a:pt x="906" y="714"/>
                    </a:lnTo>
                    <a:lnTo>
                      <a:pt x="918" y="726"/>
                    </a:lnTo>
                    <a:lnTo>
                      <a:pt x="930" y="726"/>
                    </a:lnTo>
                    <a:lnTo>
                      <a:pt x="942" y="732"/>
                    </a:lnTo>
                    <a:lnTo>
                      <a:pt x="960" y="732"/>
                    </a:lnTo>
                    <a:lnTo>
                      <a:pt x="966" y="738"/>
                    </a:lnTo>
                    <a:lnTo>
                      <a:pt x="978" y="738"/>
                    </a:lnTo>
                    <a:lnTo>
                      <a:pt x="990" y="732"/>
                    </a:lnTo>
                    <a:lnTo>
                      <a:pt x="996" y="726"/>
                    </a:lnTo>
                    <a:lnTo>
                      <a:pt x="1026" y="726"/>
                    </a:lnTo>
                    <a:lnTo>
                      <a:pt x="1038" y="732"/>
                    </a:lnTo>
                    <a:lnTo>
                      <a:pt x="1044" y="738"/>
                    </a:lnTo>
                    <a:lnTo>
                      <a:pt x="1062" y="738"/>
                    </a:lnTo>
                    <a:lnTo>
                      <a:pt x="1062" y="726"/>
                    </a:lnTo>
                    <a:lnTo>
                      <a:pt x="1068" y="720"/>
                    </a:lnTo>
                    <a:lnTo>
                      <a:pt x="1068" y="714"/>
                    </a:lnTo>
                    <a:lnTo>
                      <a:pt x="1092" y="714"/>
                    </a:lnTo>
                    <a:lnTo>
                      <a:pt x="1092" y="678"/>
                    </a:lnTo>
                    <a:lnTo>
                      <a:pt x="1098" y="672"/>
                    </a:lnTo>
                    <a:lnTo>
                      <a:pt x="1098" y="660"/>
                    </a:lnTo>
                    <a:lnTo>
                      <a:pt x="1110" y="654"/>
                    </a:lnTo>
                    <a:lnTo>
                      <a:pt x="1116" y="654"/>
                    </a:lnTo>
                    <a:lnTo>
                      <a:pt x="1128" y="648"/>
                    </a:lnTo>
                    <a:lnTo>
                      <a:pt x="1158" y="648"/>
                    </a:lnTo>
                    <a:lnTo>
                      <a:pt x="1170" y="642"/>
                    </a:lnTo>
                    <a:lnTo>
                      <a:pt x="1206" y="642"/>
                    </a:lnTo>
                    <a:lnTo>
                      <a:pt x="1206" y="654"/>
                    </a:lnTo>
                    <a:lnTo>
                      <a:pt x="1242" y="660"/>
                    </a:lnTo>
                    <a:lnTo>
                      <a:pt x="1248" y="660"/>
                    </a:lnTo>
                    <a:lnTo>
                      <a:pt x="1260" y="672"/>
                    </a:lnTo>
                    <a:lnTo>
                      <a:pt x="1266" y="684"/>
                    </a:lnTo>
                    <a:lnTo>
                      <a:pt x="1266" y="702"/>
                    </a:lnTo>
                    <a:lnTo>
                      <a:pt x="1260" y="702"/>
                    </a:lnTo>
                    <a:lnTo>
                      <a:pt x="1260" y="696"/>
                    </a:lnTo>
                    <a:lnTo>
                      <a:pt x="1254" y="696"/>
                    </a:lnTo>
                    <a:lnTo>
                      <a:pt x="1254" y="708"/>
                    </a:lnTo>
                    <a:lnTo>
                      <a:pt x="1278" y="708"/>
                    </a:lnTo>
                    <a:lnTo>
                      <a:pt x="1284" y="696"/>
                    </a:lnTo>
                    <a:lnTo>
                      <a:pt x="1284" y="690"/>
                    </a:lnTo>
                    <a:lnTo>
                      <a:pt x="1308" y="684"/>
                    </a:lnTo>
                    <a:lnTo>
                      <a:pt x="1314" y="672"/>
                    </a:lnTo>
                    <a:lnTo>
                      <a:pt x="1350" y="672"/>
                    </a:lnTo>
                    <a:lnTo>
                      <a:pt x="1362" y="660"/>
                    </a:lnTo>
                    <a:lnTo>
                      <a:pt x="1356" y="660"/>
                    </a:lnTo>
                    <a:close/>
                    <a:moveTo>
                      <a:pt x="564" y="726"/>
                    </a:moveTo>
                    <a:lnTo>
                      <a:pt x="540" y="738"/>
                    </a:lnTo>
                    <a:lnTo>
                      <a:pt x="546" y="756"/>
                    </a:lnTo>
                    <a:lnTo>
                      <a:pt x="576" y="756"/>
                    </a:lnTo>
                    <a:lnTo>
                      <a:pt x="570" y="738"/>
                    </a:lnTo>
                    <a:lnTo>
                      <a:pt x="564" y="726"/>
                    </a:lnTo>
                    <a:close/>
                    <a:moveTo>
                      <a:pt x="522" y="714"/>
                    </a:moveTo>
                    <a:lnTo>
                      <a:pt x="516" y="720"/>
                    </a:lnTo>
                    <a:lnTo>
                      <a:pt x="510" y="732"/>
                    </a:lnTo>
                    <a:lnTo>
                      <a:pt x="510" y="750"/>
                    </a:lnTo>
                    <a:lnTo>
                      <a:pt x="528" y="768"/>
                    </a:lnTo>
                    <a:lnTo>
                      <a:pt x="528" y="756"/>
                    </a:lnTo>
                    <a:lnTo>
                      <a:pt x="534" y="744"/>
                    </a:lnTo>
                    <a:lnTo>
                      <a:pt x="534" y="720"/>
                    </a:lnTo>
                    <a:lnTo>
                      <a:pt x="528" y="714"/>
                    </a:lnTo>
                    <a:lnTo>
                      <a:pt x="522" y="714"/>
                    </a:lnTo>
                    <a:close/>
                    <a:moveTo>
                      <a:pt x="606" y="738"/>
                    </a:moveTo>
                    <a:lnTo>
                      <a:pt x="618" y="732"/>
                    </a:lnTo>
                    <a:lnTo>
                      <a:pt x="624" y="732"/>
                    </a:lnTo>
                    <a:lnTo>
                      <a:pt x="630" y="726"/>
                    </a:lnTo>
                    <a:lnTo>
                      <a:pt x="618" y="720"/>
                    </a:lnTo>
                    <a:lnTo>
                      <a:pt x="588" y="720"/>
                    </a:lnTo>
                    <a:lnTo>
                      <a:pt x="576" y="732"/>
                    </a:lnTo>
                    <a:lnTo>
                      <a:pt x="582" y="744"/>
                    </a:lnTo>
                    <a:lnTo>
                      <a:pt x="606" y="7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1" name="Nether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9C88814-F63D-0D8C-0D18-B7B72085890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22850" y="1990058"/>
                <a:ext cx="122385" cy="94019"/>
              </a:xfrm>
              <a:custGeom>
                <a:avLst/>
                <a:gdLst>
                  <a:gd name="T0" fmla="*/ 0 w 270"/>
                  <a:gd name="T1" fmla="*/ 2147483647 h 210"/>
                  <a:gd name="T2" fmla="*/ 2147483647 w 270"/>
                  <a:gd name="T3" fmla="*/ 2147483647 h 210"/>
                  <a:gd name="T4" fmla="*/ 2147483647 w 270"/>
                  <a:gd name="T5" fmla="*/ 2147483647 h 210"/>
                  <a:gd name="T6" fmla="*/ 2147483647 w 270"/>
                  <a:gd name="T7" fmla="*/ 2147483647 h 210"/>
                  <a:gd name="T8" fmla="*/ 2147483647 w 270"/>
                  <a:gd name="T9" fmla="*/ 2147483647 h 210"/>
                  <a:gd name="T10" fmla="*/ 2147483647 w 270"/>
                  <a:gd name="T11" fmla="*/ 2147483647 h 210"/>
                  <a:gd name="T12" fmla="*/ 2147483647 w 270"/>
                  <a:gd name="T13" fmla="*/ 2147483647 h 210"/>
                  <a:gd name="T14" fmla="*/ 2147483647 w 270"/>
                  <a:gd name="T15" fmla="*/ 2147483647 h 210"/>
                  <a:gd name="T16" fmla="*/ 2147483647 w 270"/>
                  <a:gd name="T17" fmla="*/ 2147483647 h 210"/>
                  <a:gd name="T18" fmla="*/ 2147483647 w 270"/>
                  <a:gd name="T19" fmla="*/ 2147483647 h 210"/>
                  <a:gd name="T20" fmla="*/ 2147483647 w 270"/>
                  <a:gd name="T21" fmla="*/ 2147483647 h 210"/>
                  <a:gd name="T22" fmla="*/ 2147483647 w 270"/>
                  <a:gd name="T23" fmla="*/ 2147483647 h 210"/>
                  <a:gd name="T24" fmla="*/ 2147483647 w 270"/>
                  <a:gd name="T25" fmla="*/ 2147483647 h 210"/>
                  <a:gd name="T26" fmla="*/ 2147483647 w 270"/>
                  <a:gd name="T27" fmla="*/ 2147483647 h 210"/>
                  <a:gd name="T28" fmla="*/ 2147483647 w 270"/>
                  <a:gd name="T29" fmla="*/ 2147483647 h 210"/>
                  <a:gd name="T30" fmla="*/ 2147483647 w 270"/>
                  <a:gd name="T31" fmla="*/ 2147483647 h 210"/>
                  <a:gd name="T32" fmla="*/ 2147483647 w 270"/>
                  <a:gd name="T33" fmla="*/ 2147483647 h 210"/>
                  <a:gd name="T34" fmla="*/ 2147483647 w 270"/>
                  <a:gd name="T35" fmla="*/ 2147483647 h 210"/>
                  <a:gd name="T36" fmla="*/ 2147483647 w 270"/>
                  <a:gd name="T37" fmla="*/ 2147483647 h 210"/>
                  <a:gd name="T38" fmla="*/ 2147483647 w 270"/>
                  <a:gd name="T39" fmla="*/ 2147483647 h 210"/>
                  <a:gd name="T40" fmla="*/ 2147483647 w 270"/>
                  <a:gd name="T41" fmla="*/ 2147483647 h 210"/>
                  <a:gd name="T42" fmla="*/ 2147483647 w 270"/>
                  <a:gd name="T43" fmla="*/ 2147483647 h 210"/>
                  <a:gd name="T44" fmla="*/ 2147483647 w 270"/>
                  <a:gd name="T45" fmla="*/ 2147483647 h 210"/>
                  <a:gd name="T46" fmla="*/ 2147483647 w 270"/>
                  <a:gd name="T47" fmla="*/ 2147483647 h 210"/>
                  <a:gd name="T48" fmla="*/ 2147483647 w 270"/>
                  <a:gd name="T49" fmla="*/ 2147483647 h 210"/>
                  <a:gd name="T50" fmla="*/ 2147483647 w 270"/>
                  <a:gd name="T51" fmla="*/ 2147483647 h 210"/>
                  <a:gd name="T52" fmla="*/ 2147483647 w 270"/>
                  <a:gd name="T53" fmla="*/ 2147483647 h 210"/>
                  <a:gd name="T54" fmla="*/ 2147483647 w 270"/>
                  <a:gd name="T55" fmla="*/ 2147483647 h 210"/>
                  <a:gd name="T56" fmla="*/ 2147483647 w 270"/>
                  <a:gd name="T57" fmla="*/ 2147483647 h 210"/>
                  <a:gd name="T58" fmla="*/ 2147483647 w 270"/>
                  <a:gd name="T59" fmla="*/ 0 h 210"/>
                  <a:gd name="T60" fmla="*/ 2147483647 w 270"/>
                  <a:gd name="T61" fmla="*/ 2147483647 h 210"/>
                  <a:gd name="T62" fmla="*/ 2147483647 w 270"/>
                  <a:gd name="T63" fmla="*/ 2147483647 h 210"/>
                  <a:gd name="T64" fmla="*/ 2147483647 w 270"/>
                  <a:gd name="T65" fmla="*/ 2147483647 h 210"/>
                  <a:gd name="T66" fmla="*/ 2147483647 w 270"/>
                  <a:gd name="T67" fmla="*/ 2147483647 h 210"/>
                  <a:gd name="T68" fmla="*/ 2147483647 w 270"/>
                  <a:gd name="T69" fmla="*/ 2147483647 h 210"/>
                  <a:gd name="T70" fmla="*/ 2147483647 w 270"/>
                  <a:gd name="T71" fmla="*/ 2147483647 h 210"/>
                  <a:gd name="T72" fmla="*/ 2147483647 w 270"/>
                  <a:gd name="T73" fmla="*/ 2147483647 h 210"/>
                  <a:gd name="T74" fmla="*/ 2147483647 w 270"/>
                  <a:gd name="T75" fmla="*/ 2147483647 h 210"/>
                  <a:gd name="T76" fmla="*/ 2147483647 w 270"/>
                  <a:gd name="T77" fmla="*/ 2147483647 h 210"/>
                  <a:gd name="T78" fmla="*/ 2147483647 w 270"/>
                  <a:gd name="T79" fmla="*/ 2147483647 h 210"/>
                  <a:gd name="T80" fmla="*/ 2147483647 w 270"/>
                  <a:gd name="T81" fmla="*/ 2147483647 h 210"/>
                  <a:gd name="T82" fmla="*/ 2147483647 w 270"/>
                  <a:gd name="T83" fmla="*/ 2147483647 h 210"/>
                  <a:gd name="T84" fmla="*/ 2147483647 w 270"/>
                  <a:gd name="T85" fmla="*/ 2147483647 h 210"/>
                  <a:gd name="T86" fmla="*/ 2147483647 w 270"/>
                  <a:gd name="T87" fmla="*/ 2147483647 h 210"/>
                  <a:gd name="T88" fmla="*/ 2147483647 w 270"/>
                  <a:gd name="T89" fmla="*/ 2147483647 h 21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70"/>
                  <a:gd name="T136" fmla="*/ 0 h 210"/>
                  <a:gd name="T137" fmla="*/ 270 w 270"/>
                  <a:gd name="T138" fmla="*/ 210 h 21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70" h="210">
                    <a:moveTo>
                      <a:pt x="18" y="156"/>
                    </a:moveTo>
                    <a:lnTo>
                      <a:pt x="0" y="174"/>
                    </a:lnTo>
                    <a:lnTo>
                      <a:pt x="12" y="162"/>
                    </a:lnTo>
                    <a:lnTo>
                      <a:pt x="24" y="162"/>
                    </a:lnTo>
                    <a:lnTo>
                      <a:pt x="30" y="168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62"/>
                    </a:lnTo>
                    <a:lnTo>
                      <a:pt x="84" y="168"/>
                    </a:lnTo>
                    <a:lnTo>
                      <a:pt x="84" y="156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8" y="174"/>
                    </a:lnTo>
                    <a:lnTo>
                      <a:pt x="150" y="174"/>
                    </a:lnTo>
                    <a:lnTo>
                      <a:pt x="162" y="168"/>
                    </a:lnTo>
                    <a:lnTo>
                      <a:pt x="168" y="168"/>
                    </a:lnTo>
                    <a:lnTo>
                      <a:pt x="174" y="174"/>
                    </a:lnTo>
                    <a:lnTo>
                      <a:pt x="174" y="192"/>
                    </a:lnTo>
                    <a:lnTo>
                      <a:pt x="168" y="198"/>
                    </a:lnTo>
                    <a:lnTo>
                      <a:pt x="168" y="210"/>
                    </a:lnTo>
                    <a:lnTo>
                      <a:pt x="180" y="210"/>
                    </a:lnTo>
                    <a:lnTo>
                      <a:pt x="180" y="198"/>
                    </a:lnTo>
                    <a:lnTo>
                      <a:pt x="186" y="192"/>
                    </a:lnTo>
                    <a:lnTo>
                      <a:pt x="186" y="180"/>
                    </a:lnTo>
                    <a:lnTo>
                      <a:pt x="180" y="174"/>
                    </a:lnTo>
                    <a:lnTo>
                      <a:pt x="186" y="168"/>
                    </a:lnTo>
                    <a:lnTo>
                      <a:pt x="198" y="162"/>
                    </a:lnTo>
                    <a:lnTo>
                      <a:pt x="198" y="156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22" y="126"/>
                    </a:lnTo>
                    <a:lnTo>
                      <a:pt x="222" y="120"/>
                    </a:lnTo>
                    <a:lnTo>
                      <a:pt x="228" y="114"/>
                    </a:lnTo>
                    <a:lnTo>
                      <a:pt x="234" y="114"/>
                    </a:lnTo>
                    <a:lnTo>
                      <a:pt x="240" y="102"/>
                    </a:lnTo>
                    <a:lnTo>
                      <a:pt x="246" y="96"/>
                    </a:lnTo>
                    <a:lnTo>
                      <a:pt x="252" y="96"/>
                    </a:lnTo>
                    <a:lnTo>
                      <a:pt x="252" y="90"/>
                    </a:lnTo>
                    <a:lnTo>
                      <a:pt x="240" y="78"/>
                    </a:lnTo>
                    <a:lnTo>
                      <a:pt x="234" y="78"/>
                    </a:lnTo>
                    <a:lnTo>
                      <a:pt x="228" y="72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46" y="60"/>
                    </a:lnTo>
                    <a:lnTo>
                      <a:pt x="258" y="60"/>
                    </a:lnTo>
                    <a:lnTo>
                      <a:pt x="252" y="54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70" y="30"/>
                    </a:lnTo>
                    <a:lnTo>
                      <a:pt x="264" y="18"/>
                    </a:lnTo>
                    <a:lnTo>
                      <a:pt x="270" y="12"/>
                    </a:lnTo>
                    <a:lnTo>
                      <a:pt x="264" y="12"/>
                    </a:lnTo>
                    <a:lnTo>
                      <a:pt x="252" y="6"/>
                    </a:lnTo>
                    <a:lnTo>
                      <a:pt x="246" y="6"/>
                    </a:lnTo>
                    <a:lnTo>
                      <a:pt x="234" y="0"/>
                    </a:lnTo>
                    <a:lnTo>
                      <a:pt x="180" y="0"/>
                    </a:lnTo>
                    <a:lnTo>
                      <a:pt x="168" y="12"/>
                    </a:lnTo>
                    <a:lnTo>
                      <a:pt x="156" y="18"/>
                    </a:lnTo>
                    <a:lnTo>
                      <a:pt x="156" y="30"/>
                    </a:lnTo>
                    <a:lnTo>
                      <a:pt x="162" y="36"/>
                    </a:lnTo>
                    <a:lnTo>
                      <a:pt x="162" y="54"/>
                    </a:lnTo>
                    <a:lnTo>
                      <a:pt x="168" y="60"/>
                    </a:lnTo>
                    <a:lnTo>
                      <a:pt x="174" y="60"/>
                    </a:lnTo>
                    <a:lnTo>
                      <a:pt x="180" y="66"/>
                    </a:lnTo>
                    <a:lnTo>
                      <a:pt x="180" y="78"/>
                    </a:lnTo>
                    <a:lnTo>
                      <a:pt x="168" y="84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84"/>
                    </a:lnTo>
                    <a:lnTo>
                      <a:pt x="138" y="66"/>
                    </a:lnTo>
                    <a:lnTo>
                      <a:pt x="150" y="54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36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90" y="90"/>
                    </a:lnTo>
                    <a:lnTo>
                      <a:pt x="90" y="102"/>
                    </a:lnTo>
                    <a:lnTo>
                      <a:pt x="60" y="132"/>
                    </a:lnTo>
                    <a:lnTo>
                      <a:pt x="72" y="144"/>
                    </a:lnTo>
                    <a:lnTo>
                      <a:pt x="42" y="144"/>
                    </a:lnTo>
                    <a:lnTo>
                      <a:pt x="18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2" name="Montenegr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8B7DDE3-29BE-CE34-1732-6FF59C1A72A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0953" y="2335976"/>
                <a:ext cx="51437" cy="60314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2147483647 w 114"/>
                  <a:gd name="T7" fmla="*/ 2147483647 h 138"/>
                  <a:gd name="T8" fmla="*/ 2147483647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0 h 138"/>
                  <a:gd name="T14" fmla="*/ 2147483647 w 114"/>
                  <a:gd name="T15" fmla="*/ 0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0 w 114"/>
                  <a:gd name="T29" fmla="*/ 2147483647 h 138"/>
                  <a:gd name="T30" fmla="*/ 0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2147483647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2147483647 w 114"/>
                  <a:gd name="T61" fmla="*/ 2147483647 h 138"/>
                  <a:gd name="T62" fmla="*/ 2147483647 w 114"/>
                  <a:gd name="T63" fmla="*/ 2147483647 h 138"/>
                  <a:gd name="T64" fmla="*/ 2147483647 w 114"/>
                  <a:gd name="T65" fmla="*/ 2147483647 h 138"/>
                  <a:gd name="T66" fmla="*/ 2147483647 w 114"/>
                  <a:gd name="T67" fmla="*/ 2147483647 h 138"/>
                  <a:gd name="T68" fmla="*/ 2147483647 w 114"/>
                  <a:gd name="T69" fmla="*/ 2147483647 h 138"/>
                  <a:gd name="T70" fmla="*/ 2147483647 w 114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"/>
                  <a:gd name="T109" fmla="*/ 0 h 138"/>
                  <a:gd name="T110" fmla="*/ 114 w 114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" h="138">
                    <a:moveTo>
                      <a:pt x="114" y="42"/>
                    </a:moveTo>
                    <a:lnTo>
                      <a:pt x="108" y="48"/>
                    </a:lnTo>
                    <a:lnTo>
                      <a:pt x="96" y="30"/>
                    </a:lnTo>
                    <a:lnTo>
                      <a:pt x="84" y="1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6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6" y="96"/>
                    </a:lnTo>
                    <a:lnTo>
                      <a:pt x="36" y="114"/>
                    </a:lnTo>
                    <a:lnTo>
                      <a:pt x="60" y="138"/>
                    </a:lnTo>
                    <a:lnTo>
                      <a:pt x="72" y="126"/>
                    </a:lnTo>
                    <a:lnTo>
                      <a:pt x="66" y="108"/>
                    </a:lnTo>
                    <a:lnTo>
                      <a:pt x="60" y="114"/>
                    </a:lnTo>
                    <a:lnTo>
                      <a:pt x="42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78"/>
                    </a:lnTo>
                    <a:lnTo>
                      <a:pt x="108" y="90"/>
                    </a:lnTo>
                    <a:lnTo>
                      <a:pt x="114" y="84"/>
                    </a:lnTo>
                    <a:lnTo>
                      <a:pt x="114" y="90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3" name="Moldov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E73659E-9916-E57B-05C1-9AFDD6F9759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87988" y="2163905"/>
                <a:ext cx="97553" cy="106437"/>
              </a:xfrm>
              <a:custGeom>
                <a:avLst/>
                <a:gdLst>
                  <a:gd name="T0" fmla="*/ 2147483647 w 216"/>
                  <a:gd name="T1" fmla="*/ 2147483647 h 240"/>
                  <a:gd name="T2" fmla="*/ 2147483647 w 216"/>
                  <a:gd name="T3" fmla="*/ 2147483647 h 240"/>
                  <a:gd name="T4" fmla="*/ 2147483647 w 216"/>
                  <a:gd name="T5" fmla="*/ 2147483647 h 240"/>
                  <a:gd name="T6" fmla="*/ 2147483647 w 216"/>
                  <a:gd name="T7" fmla="*/ 2147483647 h 240"/>
                  <a:gd name="T8" fmla="*/ 2147483647 w 216"/>
                  <a:gd name="T9" fmla="*/ 2147483647 h 240"/>
                  <a:gd name="T10" fmla="*/ 2147483647 w 216"/>
                  <a:gd name="T11" fmla="*/ 2147483647 h 240"/>
                  <a:gd name="T12" fmla="*/ 2147483647 w 216"/>
                  <a:gd name="T13" fmla="*/ 2147483647 h 240"/>
                  <a:gd name="T14" fmla="*/ 2147483647 w 216"/>
                  <a:gd name="T15" fmla="*/ 2147483647 h 240"/>
                  <a:gd name="T16" fmla="*/ 2147483647 w 216"/>
                  <a:gd name="T17" fmla="*/ 2147483647 h 240"/>
                  <a:gd name="T18" fmla="*/ 2147483647 w 216"/>
                  <a:gd name="T19" fmla="*/ 2147483647 h 240"/>
                  <a:gd name="T20" fmla="*/ 2147483647 w 216"/>
                  <a:gd name="T21" fmla="*/ 2147483647 h 240"/>
                  <a:gd name="T22" fmla="*/ 2147483647 w 216"/>
                  <a:gd name="T23" fmla="*/ 2147483647 h 240"/>
                  <a:gd name="T24" fmla="*/ 2147483647 w 216"/>
                  <a:gd name="T25" fmla="*/ 2147483647 h 240"/>
                  <a:gd name="T26" fmla="*/ 2147483647 w 216"/>
                  <a:gd name="T27" fmla="*/ 2147483647 h 240"/>
                  <a:gd name="T28" fmla="*/ 2147483647 w 216"/>
                  <a:gd name="T29" fmla="*/ 2147483647 h 240"/>
                  <a:gd name="T30" fmla="*/ 2147483647 w 216"/>
                  <a:gd name="T31" fmla="*/ 2147483647 h 240"/>
                  <a:gd name="T32" fmla="*/ 2147483647 w 216"/>
                  <a:gd name="T33" fmla="*/ 2147483647 h 240"/>
                  <a:gd name="T34" fmla="*/ 2147483647 w 216"/>
                  <a:gd name="T35" fmla="*/ 2147483647 h 240"/>
                  <a:gd name="T36" fmla="*/ 2147483647 w 216"/>
                  <a:gd name="T37" fmla="*/ 2147483647 h 240"/>
                  <a:gd name="T38" fmla="*/ 2147483647 w 216"/>
                  <a:gd name="T39" fmla="*/ 2147483647 h 240"/>
                  <a:gd name="T40" fmla="*/ 2147483647 w 216"/>
                  <a:gd name="T41" fmla="*/ 2147483647 h 240"/>
                  <a:gd name="T42" fmla="*/ 2147483647 w 216"/>
                  <a:gd name="T43" fmla="*/ 2147483647 h 240"/>
                  <a:gd name="T44" fmla="*/ 2147483647 w 216"/>
                  <a:gd name="T45" fmla="*/ 2147483647 h 240"/>
                  <a:gd name="T46" fmla="*/ 2147483647 w 216"/>
                  <a:gd name="T47" fmla="*/ 2147483647 h 240"/>
                  <a:gd name="T48" fmla="*/ 2147483647 w 216"/>
                  <a:gd name="T49" fmla="*/ 2147483647 h 240"/>
                  <a:gd name="T50" fmla="*/ 2147483647 w 216"/>
                  <a:gd name="T51" fmla="*/ 2147483647 h 240"/>
                  <a:gd name="T52" fmla="*/ 2147483647 w 216"/>
                  <a:gd name="T53" fmla="*/ 2147483647 h 240"/>
                  <a:gd name="T54" fmla="*/ 2147483647 w 216"/>
                  <a:gd name="T55" fmla="*/ 2147483647 h 240"/>
                  <a:gd name="T56" fmla="*/ 2147483647 w 216"/>
                  <a:gd name="T57" fmla="*/ 2147483647 h 240"/>
                  <a:gd name="T58" fmla="*/ 2147483647 w 216"/>
                  <a:gd name="T59" fmla="*/ 2147483647 h 240"/>
                  <a:gd name="T60" fmla="*/ 2147483647 w 216"/>
                  <a:gd name="T61" fmla="*/ 0 h 240"/>
                  <a:gd name="T62" fmla="*/ 2147483647 w 216"/>
                  <a:gd name="T63" fmla="*/ 2147483647 h 240"/>
                  <a:gd name="T64" fmla="*/ 2147483647 w 216"/>
                  <a:gd name="T65" fmla="*/ 2147483647 h 240"/>
                  <a:gd name="T66" fmla="*/ 2147483647 w 216"/>
                  <a:gd name="T67" fmla="*/ 2147483647 h 2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240"/>
                  <a:gd name="T104" fmla="*/ 216 w 216"/>
                  <a:gd name="T105" fmla="*/ 240 h 2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240">
                    <a:moveTo>
                      <a:pt x="0" y="18"/>
                    </a:moveTo>
                    <a:lnTo>
                      <a:pt x="18" y="24"/>
                    </a:lnTo>
                    <a:lnTo>
                      <a:pt x="24" y="30"/>
                    </a:lnTo>
                    <a:lnTo>
                      <a:pt x="30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60" y="72"/>
                    </a:lnTo>
                    <a:lnTo>
                      <a:pt x="66" y="96"/>
                    </a:lnTo>
                    <a:lnTo>
                      <a:pt x="78" y="96"/>
                    </a:lnTo>
                    <a:lnTo>
                      <a:pt x="84" y="114"/>
                    </a:lnTo>
                    <a:lnTo>
                      <a:pt x="102" y="114"/>
                    </a:lnTo>
                    <a:lnTo>
                      <a:pt x="108" y="120"/>
                    </a:lnTo>
                    <a:lnTo>
                      <a:pt x="108" y="162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102" y="198"/>
                    </a:lnTo>
                    <a:lnTo>
                      <a:pt x="108" y="210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38" y="234"/>
                    </a:lnTo>
                    <a:lnTo>
                      <a:pt x="138" y="222"/>
                    </a:lnTo>
                    <a:lnTo>
                      <a:pt x="132" y="216"/>
                    </a:lnTo>
                    <a:lnTo>
                      <a:pt x="132" y="204"/>
                    </a:lnTo>
                    <a:lnTo>
                      <a:pt x="138" y="204"/>
                    </a:lnTo>
                    <a:lnTo>
                      <a:pt x="150" y="198"/>
                    </a:lnTo>
                    <a:lnTo>
                      <a:pt x="156" y="192"/>
                    </a:lnTo>
                    <a:lnTo>
                      <a:pt x="174" y="180"/>
                    </a:lnTo>
                    <a:lnTo>
                      <a:pt x="168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62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98" y="162"/>
                    </a:lnTo>
                    <a:lnTo>
                      <a:pt x="210" y="156"/>
                    </a:lnTo>
                    <a:lnTo>
                      <a:pt x="216" y="156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20"/>
                    </a:lnTo>
                    <a:lnTo>
                      <a:pt x="192" y="114"/>
                    </a:lnTo>
                    <a:lnTo>
                      <a:pt x="180" y="114"/>
                    </a:lnTo>
                    <a:lnTo>
                      <a:pt x="180" y="96"/>
                    </a:lnTo>
                    <a:lnTo>
                      <a:pt x="186" y="90"/>
                    </a:lnTo>
                    <a:lnTo>
                      <a:pt x="180" y="84"/>
                    </a:lnTo>
                    <a:lnTo>
                      <a:pt x="174" y="84"/>
                    </a:lnTo>
                    <a:lnTo>
                      <a:pt x="162" y="90"/>
                    </a:lnTo>
                    <a:lnTo>
                      <a:pt x="162" y="66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44" y="36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78" y="18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4" name="Maced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C4085F3-217F-B956-9393-6FFCE04F66F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2378551"/>
                <a:ext cx="74496" cy="56766"/>
              </a:xfrm>
              <a:custGeom>
                <a:avLst/>
                <a:gdLst>
                  <a:gd name="T0" fmla="*/ 2147483647 w 162"/>
                  <a:gd name="T1" fmla="*/ 2147483647 h 126"/>
                  <a:gd name="T2" fmla="*/ 2147483647 w 162"/>
                  <a:gd name="T3" fmla="*/ 2147483647 h 126"/>
                  <a:gd name="T4" fmla="*/ 2147483647 w 162"/>
                  <a:gd name="T5" fmla="*/ 2147483647 h 126"/>
                  <a:gd name="T6" fmla="*/ 2147483647 w 162"/>
                  <a:gd name="T7" fmla="*/ 2147483647 h 126"/>
                  <a:gd name="T8" fmla="*/ 2147483647 w 162"/>
                  <a:gd name="T9" fmla="*/ 0 h 126"/>
                  <a:gd name="T10" fmla="*/ 2147483647 w 162"/>
                  <a:gd name="T11" fmla="*/ 2147483647 h 126"/>
                  <a:gd name="T12" fmla="*/ 2147483647 w 162"/>
                  <a:gd name="T13" fmla="*/ 2147483647 h 126"/>
                  <a:gd name="T14" fmla="*/ 2147483647 w 162"/>
                  <a:gd name="T15" fmla="*/ 2147483647 h 126"/>
                  <a:gd name="T16" fmla="*/ 2147483647 w 162"/>
                  <a:gd name="T17" fmla="*/ 2147483647 h 126"/>
                  <a:gd name="T18" fmla="*/ 2147483647 w 162"/>
                  <a:gd name="T19" fmla="*/ 2147483647 h 126"/>
                  <a:gd name="T20" fmla="*/ 2147483647 w 162"/>
                  <a:gd name="T21" fmla="*/ 2147483647 h 126"/>
                  <a:gd name="T22" fmla="*/ 0 w 162"/>
                  <a:gd name="T23" fmla="*/ 2147483647 h 126"/>
                  <a:gd name="T24" fmla="*/ 0 w 162"/>
                  <a:gd name="T25" fmla="*/ 2147483647 h 126"/>
                  <a:gd name="T26" fmla="*/ 2147483647 w 162"/>
                  <a:gd name="T27" fmla="*/ 2147483647 h 126"/>
                  <a:gd name="T28" fmla="*/ 2147483647 w 162"/>
                  <a:gd name="T29" fmla="*/ 2147483647 h 126"/>
                  <a:gd name="T30" fmla="*/ 2147483647 w 162"/>
                  <a:gd name="T31" fmla="*/ 2147483647 h 126"/>
                  <a:gd name="T32" fmla="*/ 2147483647 w 162"/>
                  <a:gd name="T33" fmla="*/ 2147483647 h 126"/>
                  <a:gd name="T34" fmla="*/ 2147483647 w 162"/>
                  <a:gd name="T35" fmla="*/ 2147483647 h 126"/>
                  <a:gd name="T36" fmla="*/ 2147483647 w 162"/>
                  <a:gd name="T37" fmla="*/ 2147483647 h 126"/>
                  <a:gd name="T38" fmla="*/ 2147483647 w 162"/>
                  <a:gd name="T39" fmla="*/ 2147483647 h 126"/>
                  <a:gd name="T40" fmla="*/ 2147483647 w 162"/>
                  <a:gd name="T41" fmla="*/ 2147483647 h 126"/>
                  <a:gd name="T42" fmla="*/ 2147483647 w 162"/>
                  <a:gd name="T43" fmla="*/ 2147483647 h 126"/>
                  <a:gd name="T44" fmla="*/ 2147483647 w 162"/>
                  <a:gd name="T45" fmla="*/ 2147483647 h 126"/>
                  <a:gd name="T46" fmla="*/ 2147483647 w 162"/>
                  <a:gd name="T47" fmla="*/ 2147483647 h 126"/>
                  <a:gd name="T48" fmla="*/ 2147483647 w 162"/>
                  <a:gd name="T49" fmla="*/ 2147483647 h 126"/>
                  <a:gd name="T50" fmla="*/ 2147483647 w 162"/>
                  <a:gd name="T51" fmla="*/ 2147483647 h 126"/>
                  <a:gd name="T52" fmla="*/ 2147483647 w 162"/>
                  <a:gd name="T53" fmla="*/ 2147483647 h 126"/>
                  <a:gd name="T54" fmla="*/ 2147483647 w 162"/>
                  <a:gd name="T55" fmla="*/ 2147483647 h 126"/>
                  <a:gd name="T56" fmla="*/ 2147483647 w 162"/>
                  <a:gd name="T57" fmla="*/ 2147483647 h 126"/>
                  <a:gd name="T58" fmla="*/ 2147483647 w 162"/>
                  <a:gd name="T59" fmla="*/ 2147483647 h 126"/>
                  <a:gd name="T60" fmla="*/ 2147483647 w 162"/>
                  <a:gd name="T61" fmla="*/ 2147483647 h 126"/>
                  <a:gd name="T62" fmla="*/ 2147483647 w 162"/>
                  <a:gd name="T63" fmla="*/ 2147483647 h 126"/>
                  <a:gd name="T64" fmla="*/ 2147483647 w 162"/>
                  <a:gd name="T65" fmla="*/ 2147483647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2"/>
                  <a:gd name="T100" fmla="*/ 0 h 126"/>
                  <a:gd name="T101" fmla="*/ 162 w 162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2" h="126">
                    <a:moveTo>
                      <a:pt x="150" y="42"/>
                    </a:moveTo>
                    <a:lnTo>
                      <a:pt x="132" y="30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1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18" y="36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78"/>
                    </a:lnTo>
                    <a:lnTo>
                      <a:pt x="6" y="102"/>
                    </a:lnTo>
                    <a:lnTo>
                      <a:pt x="12" y="108"/>
                    </a:lnTo>
                    <a:lnTo>
                      <a:pt x="18" y="108"/>
                    </a:lnTo>
                    <a:lnTo>
                      <a:pt x="18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90" y="126"/>
                    </a:lnTo>
                    <a:lnTo>
                      <a:pt x="96" y="114"/>
                    </a:lnTo>
                    <a:lnTo>
                      <a:pt x="96" y="108"/>
                    </a:lnTo>
                    <a:lnTo>
                      <a:pt x="120" y="108"/>
                    </a:lnTo>
                    <a:lnTo>
                      <a:pt x="132" y="102"/>
                    </a:lnTo>
                    <a:lnTo>
                      <a:pt x="156" y="78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48"/>
                    </a:lnTo>
                    <a:lnTo>
                      <a:pt x="15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5" name="Luxembourg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B2AA9A7-90C3-D50C-2C21-FE7EEF1AB2B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7344" y="2105365"/>
                <a:ext cx="23058" cy="19514"/>
              </a:xfrm>
              <a:custGeom>
                <a:avLst/>
                <a:gdLst>
                  <a:gd name="T0" fmla="*/ 2147483647 w 54"/>
                  <a:gd name="T1" fmla="*/ 2147483647 h 42"/>
                  <a:gd name="T2" fmla="*/ 2147483647 w 54"/>
                  <a:gd name="T3" fmla="*/ 2147483647 h 42"/>
                  <a:gd name="T4" fmla="*/ 2147483647 w 54"/>
                  <a:gd name="T5" fmla="*/ 2147483647 h 42"/>
                  <a:gd name="T6" fmla="*/ 2147483647 w 54"/>
                  <a:gd name="T7" fmla="*/ 2147483647 h 42"/>
                  <a:gd name="T8" fmla="*/ 2147483647 w 54"/>
                  <a:gd name="T9" fmla="*/ 2147483647 h 42"/>
                  <a:gd name="T10" fmla="*/ 2147483647 w 54"/>
                  <a:gd name="T11" fmla="*/ 2147483647 h 42"/>
                  <a:gd name="T12" fmla="*/ 2147483647 w 54"/>
                  <a:gd name="T13" fmla="*/ 2147483647 h 42"/>
                  <a:gd name="T14" fmla="*/ 2147483647 w 54"/>
                  <a:gd name="T15" fmla="*/ 2147483647 h 42"/>
                  <a:gd name="T16" fmla="*/ 2147483647 w 54"/>
                  <a:gd name="T17" fmla="*/ 0 h 42"/>
                  <a:gd name="T18" fmla="*/ 2147483647 w 54"/>
                  <a:gd name="T19" fmla="*/ 0 h 42"/>
                  <a:gd name="T20" fmla="*/ 2147483647 w 54"/>
                  <a:gd name="T21" fmla="*/ 2147483647 h 42"/>
                  <a:gd name="T22" fmla="*/ 2147483647 w 54"/>
                  <a:gd name="T23" fmla="*/ 2147483647 h 42"/>
                  <a:gd name="T24" fmla="*/ 0 w 54"/>
                  <a:gd name="T25" fmla="*/ 2147483647 h 42"/>
                  <a:gd name="T26" fmla="*/ 0 w 54"/>
                  <a:gd name="T27" fmla="*/ 2147483647 h 42"/>
                  <a:gd name="T28" fmla="*/ 2147483647 w 54"/>
                  <a:gd name="T29" fmla="*/ 2147483647 h 42"/>
                  <a:gd name="T30" fmla="*/ 2147483647 w 54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4"/>
                  <a:gd name="T49" fmla="*/ 0 h 42"/>
                  <a:gd name="T50" fmla="*/ 54 w 54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4" h="42">
                    <a:moveTo>
                      <a:pt x="18" y="42"/>
                    </a:moveTo>
                    <a:lnTo>
                      <a:pt x="30" y="36"/>
                    </a:lnTo>
                    <a:lnTo>
                      <a:pt x="48" y="42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2" y="30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6" name="Lithu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611F0F5-6C62-32F2-8B85-319772F40F2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12392" y="1885395"/>
                <a:ext cx="152538" cy="88697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7" name="Liechtenste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6DEA692-E373-862B-5C1F-C366297E06F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98446" y="2202930"/>
                <a:ext cx="7095" cy="10644"/>
              </a:xfrm>
              <a:custGeom>
                <a:avLst/>
                <a:gdLst>
                  <a:gd name="T0" fmla="*/ 2147483647 w 18"/>
                  <a:gd name="T1" fmla="*/ 0 h 24"/>
                  <a:gd name="T2" fmla="*/ 2147483647 w 18"/>
                  <a:gd name="T3" fmla="*/ 2147483647 h 24"/>
                  <a:gd name="T4" fmla="*/ 0 w 18"/>
                  <a:gd name="T5" fmla="*/ 2147483647 h 24"/>
                  <a:gd name="T6" fmla="*/ 0 w 18"/>
                  <a:gd name="T7" fmla="*/ 2147483647 h 24"/>
                  <a:gd name="T8" fmla="*/ 2147483647 w 18"/>
                  <a:gd name="T9" fmla="*/ 2147483647 h 24"/>
                  <a:gd name="T10" fmla="*/ 2147483647 w 18"/>
                  <a:gd name="T11" fmla="*/ 0 h 24"/>
                  <a:gd name="T12" fmla="*/ 2147483647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12" y="0"/>
                    </a:moveTo>
                    <a:lnTo>
                      <a:pt x="6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8" name="Leban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264BBFF-3AA6-ED2B-4CEE-D5192C195DA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73556" y="2658834"/>
                <a:ext cx="47890" cy="70957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49" name="Lat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B7DD069-2908-16CF-7A16-3BCEEB4D623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1830402"/>
                <a:ext cx="191560" cy="81601"/>
              </a:xfrm>
              <a:custGeom>
                <a:avLst/>
                <a:gdLst>
                  <a:gd name="T0" fmla="*/ 2147483647 w 426"/>
                  <a:gd name="T1" fmla="*/ 2147483647 h 180"/>
                  <a:gd name="T2" fmla="*/ 2147483647 w 426"/>
                  <a:gd name="T3" fmla="*/ 2147483647 h 180"/>
                  <a:gd name="T4" fmla="*/ 2147483647 w 426"/>
                  <a:gd name="T5" fmla="*/ 2147483647 h 180"/>
                  <a:gd name="T6" fmla="*/ 2147483647 w 426"/>
                  <a:gd name="T7" fmla="*/ 2147483647 h 180"/>
                  <a:gd name="T8" fmla="*/ 2147483647 w 426"/>
                  <a:gd name="T9" fmla="*/ 2147483647 h 180"/>
                  <a:gd name="T10" fmla="*/ 2147483647 w 426"/>
                  <a:gd name="T11" fmla="*/ 2147483647 h 180"/>
                  <a:gd name="T12" fmla="*/ 2147483647 w 426"/>
                  <a:gd name="T13" fmla="*/ 2147483647 h 180"/>
                  <a:gd name="T14" fmla="*/ 2147483647 w 426"/>
                  <a:gd name="T15" fmla="*/ 2147483647 h 180"/>
                  <a:gd name="T16" fmla="*/ 2147483647 w 426"/>
                  <a:gd name="T17" fmla="*/ 2147483647 h 180"/>
                  <a:gd name="T18" fmla="*/ 2147483647 w 426"/>
                  <a:gd name="T19" fmla="*/ 2147483647 h 180"/>
                  <a:gd name="T20" fmla="*/ 2147483647 w 426"/>
                  <a:gd name="T21" fmla="*/ 2147483647 h 180"/>
                  <a:gd name="T22" fmla="*/ 2147483647 w 426"/>
                  <a:gd name="T23" fmla="*/ 2147483647 h 180"/>
                  <a:gd name="T24" fmla="*/ 2147483647 w 426"/>
                  <a:gd name="T25" fmla="*/ 2147483647 h 180"/>
                  <a:gd name="T26" fmla="*/ 2147483647 w 426"/>
                  <a:gd name="T27" fmla="*/ 2147483647 h 180"/>
                  <a:gd name="T28" fmla="*/ 2147483647 w 426"/>
                  <a:gd name="T29" fmla="*/ 2147483647 h 180"/>
                  <a:gd name="T30" fmla="*/ 2147483647 w 426"/>
                  <a:gd name="T31" fmla="*/ 2147483647 h 180"/>
                  <a:gd name="T32" fmla="*/ 2147483647 w 426"/>
                  <a:gd name="T33" fmla="*/ 2147483647 h 180"/>
                  <a:gd name="T34" fmla="*/ 2147483647 w 426"/>
                  <a:gd name="T35" fmla="*/ 2147483647 h 180"/>
                  <a:gd name="T36" fmla="*/ 2147483647 w 426"/>
                  <a:gd name="T37" fmla="*/ 2147483647 h 180"/>
                  <a:gd name="T38" fmla="*/ 2147483647 w 426"/>
                  <a:gd name="T39" fmla="*/ 2147483647 h 180"/>
                  <a:gd name="T40" fmla="*/ 2147483647 w 426"/>
                  <a:gd name="T41" fmla="*/ 2147483647 h 180"/>
                  <a:gd name="T42" fmla="*/ 2147483647 w 426"/>
                  <a:gd name="T43" fmla="*/ 2147483647 h 180"/>
                  <a:gd name="T44" fmla="*/ 2147483647 w 426"/>
                  <a:gd name="T45" fmla="*/ 2147483647 h 180"/>
                  <a:gd name="T46" fmla="*/ 2147483647 w 426"/>
                  <a:gd name="T47" fmla="*/ 2147483647 h 180"/>
                  <a:gd name="T48" fmla="*/ 2147483647 w 426"/>
                  <a:gd name="T49" fmla="*/ 2147483647 h 180"/>
                  <a:gd name="T50" fmla="*/ 2147483647 w 426"/>
                  <a:gd name="T51" fmla="*/ 2147483647 h 180"/>
                  <a:gd name="T52" fmla="*/ 2147483647 w 426"/>
                  <a:gd name="T53" fmla="*/ 2147483647 h 180"/>
                  <a:gd name="T54" fmla="*/ 2147483647 w 426"/>
                  <a:gd name="T55" fmla="*/ 2147483647 h 180"/>
                  <a:gd name="T56" fmla="*/ 2147483647 w 426"/>
                  <a:gd name="T57" fmla="*/ 2147483647 h 180"/>
                  <a:gd name="T58" fmla="*/ 2147483647 w 426"/>
                  <a:gd name="T59" fmla="*/ 2147483647 h 180"/>
                  <a:gd name="T60" fmla="*/ 2147483647 w 426"/>
                  <a:gd name="T61" fmla="*/ 0 h 180"/>
                  <a:gd name="T62" fmla="*/ 2147483647 w 426"/>
                  <a:gd name="T63" fmla="*/ 2147483647 h 180"/>
                  <a:gd name="T64" fmla="*/ 2147483647 w 426"/>
                  <a:gd name="T65" fmla="*/ 2147483647 h 180"/>
                  <a:gd name="T66" fmla="*/ 2147483647 w 426"/>
                  <a:gd name="T67" fmla="*/ 2147483647 h 180"/>
                  <a:gd name="T68" fmla="*/ 2147483647 w 426"/>
                  <a:gd name="T69" fmla="*/ 2147483647 h 180"/>
                  <a:gd name="T70" fmla="*/ 2147483647 w 426"/>
                  <a:gd name="T71" fmla="*/ 2147483647 h 180"/>
                  <a:gd name="T72" fmla="*/ 2147483647 w 426"/>
                  <a:gd name="T73" fmla="*/ 2147483647 h 180"/>
                  <a:gd name="T74" fmla="*/ 2147483647 w 426"/>
                  <a:gd name="T75" fmla="*/ 2147483647 h 180"/>
                  <a:gd name="T76" fmla="*/ 2147483647 w 426"/>
                  <a:gd name="T77" fmla="*/ 2147483647 h 180"/>
                  <a:gd name="T78" fmla="*/ 2147483647 w 426"/>
                  <a:gd name="T79" fmla="*/ 2147483647 h 180"/>
                  <a:gd name="T80" fmla="*/ 2147483647 w 426"/>
                  <a:gd name="T81" fmla="*/ 2147483647 h 180"/>
                  <a:gd name="T82" fmla="*/ 2147483647 w 426"/>
                  <a:gd name="T83" fmla="*/ 2147483647 h 180"/>
                  <a:gd name="T84" fmla="*/ 0 w 426"/>
                  <a:gd name="T85" fmla="*/ 2147483647 h 180"/>
                  <a:gd name="T86" fmla="*/ 2147483647 w 426"/>
                  <a:gd name="T87" fmla="*/ 2147483647 h 1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6"/>
                  <a:gd name="T133" fmla="*/ 0 h 180"/>
                  <a:gd name="T134" fmla="*/ 426 w 426"/>
                  <a:gd name="T135" fmla="*/ 180 h 1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6" h="180">
                    <a:moveTo>
                      <a:pt x="6" y="144"/>
                    </a:moveTo>
                    <a:lnTo>
                      <a:pt x="6" y="138"/>
                    </a:lnTo>
                    <a:lnTo>
                      <a:pt x="12" y="138"/>
                    </a:lnTo>
                    <a:lnTo>
                      <a:pt x="24" y="132"/>
                    </a:lnTo>
                    <a:lnTo>
                      <a:pt x="66" y="132"/>
                    </a:lnTo>
                    <a:lnTo>
                      <a:pt x="78" y="120"/>
                    </a:lnTo>
                    <a:lnTo>
                      <a:pt x="96" y="120"/>
                    </a:lnTo>
                    <a:lnTo>
                      <a:pt x="102" y="126"/>
                    </a:lnTo>
                    <a:lnTo>
                      <a:pt x="108" y="126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2"/>
                    </a:lnTo>
                    <a:lnTo>
                      <a:pt x="180" y="132"/>
                    </a:lnTo>
                    <a:lnTo>
                      <a:pt x="186" y="138"/>
                    </a:lnTo>
                    <a:lnTo>
                      <a:pt x="204" y="138"/>
                    </a:lnTo>
                    <a:lnTo>
                      <a:pt x="216" y="126"/>
                    </a:lnTo>
                    <a:lnTo>
                      <a:pt x="228" y="126"/>
                    </a:lnTo>
                    <a:lnTo>
                      <a:pt x="234" y="132"/>
                    </a:lnTo>
                    <a:lnTo>
                      <a:pt x="240" y="144"/>
                    </a:lnTo>
                    <a:lnTo>
                      <a:pt x="270" y="144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300" y="162"/>
                    </a:lnTo>
                    <a:lnTo>
                      <a:pt x="318" y="174"/>
                    </a:lnTo>
                    <a:lnTo>
                      <a:pt x="336" y="180"/>
                    </a:lnTo>
                    <a:lnTo>
                      <a:pt x="360" y="168"/>
                    </a:lnTo>
                    <a:lnTo>
                      <a:pt x="378" y="168"/>
                    </a:lnTo>
                    <a:lnTo>
                      <a:pt x="384" y="174"/>
                    </a:lnTo>
                    <a:lnTo>
                      <a:pt x="390" y="168"/>
                    </a:lnTo>
                    <a:lnTo>
                      <a:pt x="396" y="168"/>
                    </a:lnTo>
                    <a:lnTo>
                      <a:pt x="402" y="162"/>
                    </a:lnTo>
                    <a:lnTo>
                      <a:pt x="408" y="150"/>
                    </a:lnTo>
                    <a:lnTo>
                      <a:pt x="414" y="144"/>
                    </a:lnTo>
                    <a:lnTo>
                      <a:pt x="420" y="150"/>
                    </a:lnTo>
                    <a:lnTo>
                      <a:pt x="426" y="150"/>
                    </a:lnTo>
                    <a:lnTo>
                      <a:pt x="426" y="126"/>
                    </a:lnTo>
                    <a:lnTo>
                      <a:pt x="414" y="114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78" y="90"/>
                    </a:lnTo>
                    <a:lnTo>
                      <a:pt x="384" y="72"/>
                    </a:lnTo>
                    <a:lnTo>
                      <a:pt x="402" y="72"/>
                    </a:lnTo>
                    <a:lnTo>
                      <a:pt x="402" y="66"/>
                    </a:lnTo>
                    <a:lnTo>
                      <a:pt x="396" y="60"/>
                    </a:lnTo>
                    <a:lnTo>
                      <a:pt x="384" y="54"/>
                    </a:lnTo>
                    <a:lnTo>
                      <a:pt x="372" y="42"/>
                    </a:lnTo>
                    <a:lnTo>
                      <a:pt x="354" y="42"/>
                    </a:lnTo>
                    <a:lnTo>
                      <a:pt x="348" y="36"/>
                    </a:lnTo>
                    <a:lnTo>
                      <a:pt x="330" y="36"/>
                    </a:lnTo>
                    <a:lnTo>
                      <a:pt x="324" y="42"/>
                    </a:lnTo>
                    <a:lnTo>
                      <a:pt x="306" y="42"/>
                    </a:lnTo>
                    <a:lnTo>
                      <a:pt x="288" y="24"/>
                    </a:lnTo>
                    <a:lnTo>
                      <a:pt x="276" y="18"/>
                    </a:lnTo>
                    <a:lnTo>
                      <a:pt x="270" y="12"/>
                    </a:lnTo>
                    <a:lnTo>
                      <a:pt x="246" y="0"/>
                    </a:lnTo>
                    <a:lnTo>
                      <a:pt x="216" y="0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6" y="42"/>
                    </a:lnTo>
                    <a:lnTo>
                      <a:pt x="186" y="60"/>
                    </a:lnTo>
                    <a:lnTo>
                      <a:pt x="192" y="66"/>
                    </a:lnTo>
                    <a:lnTo>
                      <a:pt x="186" y="78"/>
                    </a:lnTo>
                    <a:lnTo>
                      <a:pt x="156" y="78"/>
                    </a:lnTo>
                    <a:lnTo>
                      <a:pt x="138" y="72"/>
                    </a:lnTo>
                    <a:lnTo>
                      <a:pt x="126" y="72"/>
                    </a:lnTo>
                    <a:lnTo>
                      <a:pt x="114" y="54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0" y="30"/>
                    </a:lnTo>
                    <a:lnTo>
                      <a:pt x="48" y="30"/>
                    </a:lnTo>
                    <a:lnTo>
                      <a:pt x="36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18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6" y="150"/>
                    </a:lnTo>
                    <a:lnTo>
                      <a:pt x="6" y="14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0" name="Ital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14BFE63-8803-2854-000D-B3FAAECCF5A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18630" y="2210026"/>
                <a:ext cx="349420" cy="374302"/>
              </a:xfrm>
              <a:custGeom>
                <a:avLst/>
                <a:gdLst>
                  <a:gd name="T0" fmla="*/ 2147483647 w 780"/>
                  <a:gd name="T1" fmla="*/ 2147483647 h 828"/>
                  <a:gd name="T2" fmla="*/ 2147483647 w 780"/>
                  <a:gd name="T3" fmla="*/ 2147483647 h 828"/>
                  <a:gd name="T4" fmla="*/ 2147483647 w 780"/>
                  <a:gd name="T5" fmla="*/ 2147483647 h 828"/>
                  <a:gd name="T6" fmla="*/ 2147483647 w 780"/>
                  <a:gd name="T7" fmla="*/ 2147483647 h 828"/>
                  <a:gd name="T8" fmla="*/ 2147483647 w 780"/>
                  <a:gd name="T9" fmla="*/ 2147483647 h 828"/>
                  <a:gd name="T10" fmla="*/ 2147483647 w 780"/>
                  <a:gd name="T11" fmla="*/ 2147483647 h 828"/>
                  <a:gd name="T12" fmla="*/ 2147483647 w 780"/>
                  <a:gd name="T13" fmla="*/ 2147483647 h 828"/>
                  <a:gd name="T14" fmla="*/ 2147483647 w 780"/>
                  <a:gd name="T15" fmla="*/ 2147483647 h 828"/>
                  <a:gd name="T16" fmla="*/ 2147483647 w 780"/>
                  <a:gd name="T17" fmla="*/ 2147483647 h 828"/>
                  <a:gd name="T18" fmla="*/ 2147483647 w 780"/>
                  <a:gd name="T19" fmla="*/ 2147483647 h 828"/>
                  <a:gd name="T20" fmla="*/ 2147483647 w 780"/>
                  <a:gd name="T21" fmla="*/ 2147483647 h 828"/>
                  <a:gd name="T22" fmla="*/ 2147483647 w 780"/>
                  <a:gd name="T23" fmla="*/ 2147483647 h 828"/>
                  <a:gd name="T24" fmla="*/ 2147483647 w 780"/>
                  <a:gd name="T25" fmla="*/ 2147483647 h 828"/>
                  <a:gd name="T26" fmla="*/ 2147483647 w 780"/>
                  <a:gd name="T27" fmla="*/ 2147483647 h 828"/>
                  <a:gd name="T28" fmla="*/ 2147483647 w 780"/>
                  <a:gd name="T29" fmla="*/ 2147483647 h 828"/>
                  <a:gd name="T30" fmla="*/ 2147483647 w 780"/>
                  <a:gd name="T31" fmla="*/ 2147483647 h 828"/>
                  <a:gd name="T32" fmla="*/ 2147483647 w 780"/>
                  <a:gd name="T33" fmla="*/ 2147483647 h 828"/>
                  <a:gd name="T34" fmla="*/ 2147483647 w 780"/>
                  <a:gd name="T35" fmla="*/ 2147483647 h 828"/>
                  <a:gd name="T36" fmla="*/ 2147483647 w 780"/>
                  <a:gd name="T37" fmla="*/ 2147483647 h 828"/>
                  <a:gd name="T38" fmla="*/ 2147483647 w 780"/>
                  <a:gd name="T39" fmla="*/ 2147483647 h 828"/>
                  <a:gd name="T40" fmla="*/ 2147483647 w 780"/>
                  <a:gd name="T41" fmla="*/ 2147483647 h 828"/>
                  <a:gd name="T42" fmla="*/ 2147483647 w 780"/>
                  <a:gd name="T43" fmla="*/ 2147483647 h 828"/>
                  <a:gd name="T44" fmla="*/ 2147483647 w 780"/>
                  <a:gd name="T45" fmla="*/ 2147483647 h 828"/>
                  <a:gd name="T46" fmla="*/ 2147483647 w 780"/>
                  <a:gd name="T47" fmla="*/ 2147483647 h 828"/>
                  <a:gd name="T48" fmla="*/ 2147483647 w 780"/>
                  <a:gd name="T49" fmla="*/ 2147483647 h 828"/>
                  <a:gd name="T50" fmla="*/ 2147483647 w 780"/>
                  <a:gd name="T51" fmla="*/ 2147483647 h 828"/>
                  <a:gd name="T52" fmla="*/ 2147483647 w 780"/>
                  <a:gd name="T53" fmla="*/ 2147483647 h 828"/>
                  <a:gd name="T54" fmla="*/ 2147483647 w 780"/>
                  <a:gd name="T55" fmla="*/ 2147483647 h 828"/>
                  <a:gd name="T56" fmla="*/ 2147483647 w 780"/>
                  <a:gd name="T57" fmla="*/ 2147483647 h 828"/>
                  <a:gd name="T58" fmla="*/ 2147483647 w 780"/>
                  <a:gd name="T59" fmla="*/ 2147483647 h 828"/>
                  <a:gd name="T60" fmla="*/ 2147483647 w 780"/>
                  <a:gd name="T61" fmla="*/ 2147483647 h 828"/>
                  <a:gd name="T62" fmla="*/ 2147483647 w 780"/>
                  <a:gd name="T63" fmla="*/ 2147483647 h 828"/>
                  <a:gd name="T64" fmla="*/ 2147483647 w 780"/>
                  <a:gd name="T65" fmla="*/ 2147483647 h 828"/>
                  <a:gd name="T66" fmla="*/ 2147483647 w 780"/>
                  <a:gd name="T67" fmla="*/ 2147483647 h 828"/>
                  <a:gd name="T68" fmla="*/ 2147483647 w 780"/>
                  <a:gd name="T69" fmla="*/ 2147483647 h 828"/>
                  <a:gd name="T70" fmla="*/ 2147483647 w 780"/>
                  <a:gd name="T71" fmla="*/ 2147483647 h 828"/>
                  <a:gd name="T72" fmla="*/ 2147483647 w 780"/>
                  <a:gd name="T73" fmla="*/ 2147483647 h 828"/>
                  <a:gd name="T74" fmla="*/ 2147483647 w 780"/>
                  <a:gd name="T75" fmla="*/ 2147483647 h 828"/>
                  <a:gd name="T76" fmla="*/ 2147483647 w 780"/>
                  <a:gd name="T77" fmla="*/ 2147483647 h 828"/>
                  <a:gd name="T78" fmla="*/ 2147483647 w 780"/>
                  <a:gd name="T79" fmla="*/ 2147483647 h 828"/>
                  <a:gd name="T80" fmla="*/ 2147483647 w 780"/>
                  <a:gd name="T81" fmla="*/ 2147483647 h 828"/>
                  <a:gd name="T82" fmla="*/ 2147483647 w 780"/>
                  <a:gd name="T83" fmla="*/ 2147483647 h 828"/>
                  <a:gd name="T84" fmla="*/ 2147483647 w 780"/>
                  <a:gd name="T85" fmla="*/ 2147483647 h 828"/>
                  <a:gd name="T86" fmla="*/ 2147483647 w 780"/>
                  <a:gd name="T87" fmla="*/ 2147483647 h 828"/>
                  <a:gd name="T88" fmla="*/ 2147483647 w 780"/>
                  <a:gd name="T89" fmla="*/ 2147483647 h 828"/>
                  <a:gd name="T90" fmla="*/ 2147483647 w 780"/>
                  <a:gd name="T91" fmla="*/ 2147483647 h 828"/>
                  <a:gd name="T92" fmla="*/ 2147483647 w 780"/>
                  <a:gd name="T93" fmla="*/ 2147483647 h 828"/>
                  <a:gd name="T94" fmla="*/ 2147483647 w 780"/>
                  <a:gd name="T95" fmla="*/ 2147483647 h 828"/>
                  <a:gd name="T96" fmla="*/ 2147483647 w 780"/>
                  <a:gd name="T97" fmla="*/ 2147483647 h 828"/>
                  <a:gd name="T98" fmla="*/ 2147483647 w 780"/>
                  <a:gd name="T99" fmla="*/ 2147483647 h 828"/>
                  <a:gd name="T100" fmla="*/ 2147483647 w 780"/>
                  <a:gd name="T101" fmla="*/ 2147483647 h 828"/>
                  <a:gd name="T102" fmla="*/ 2147483647 w 780"/>
                  <a:gd name="T103" fmla="*/ 2147483647 h 828"/>
                  <a:gd name="T104" fmla="*/ 2147483647 w 780"/>
                  <a:gd name="T105" fmla="*/ 2147483647 h 828"/>
                  <a:gd name="T106" fmla="*/ 2147483647 w 780"/>
                  <a:gd name="T107" fmla="*/ 2147483647 h 828"/>
                  <a:gd name="T108" fmla="*/ 2147483647 w 780"/>
                  <a:gd name="T109" fmla="*/ 2147483647 h 828"/>
                  <a:gd name="T110" fmla="*/ 2147483647 w 780"/>
                  <a:gd name="T111" fmla="*/ 2147483647 h 828"/>
                  <a:gd name="T112" fmla="*/ 2147483647 w 780"/>
                  <a:gd name="T113" fmla="*/ 2147483647 h 82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0"/>
                  <a:gd name="T172" fmla="*/ 0 h 828"/>
                  <a:gd name="T173" fmla="*/ 780 w 780"/>
                  <a:gd name="T174" fmla="*/ 828 h 82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0" h="828">
                    <a:moveTo>
                      <a:pt x="570" y="720"/>
                    </a:moveTo>
                    <a:lnTo>
                      <a:pt x="558" y="714"/>
                    </a:lnTo>
                    <a:lnTo>
                      <a:pt x="552" y="708"/>
                    </a:lnTo>
                    <a:lnTo>
                      <a:pt x="540" y="708"/>
                    </a:lnTo>
                    <a:lnTo>
                      <a:pt x="534" y="714"/>
                    </a:lnTo>
                    <a:lnTo>
                      <a:pt x="522" y="720"/>
                    </a:lnTo>
                    <a:lnTo>
                      <a:pt x="516" y="726"/>
                    </a:lnTo>
                    <a:lnTo>
                      <a:pt x="468" y="726"/>
                    </a:lnTo>
                    <a:lnTo>
                      <a:pt x="456" y="720"/>
                    </a:lnTo>
                    <a:lnTo>
                      <a:pt x="444" y="708"/>
                    </a:lnTo>
                    <a:lnTo>
                      <a:pt x="438" y="708"/>
                    </a:lnTo>
                    <a:lnTo>
                      <a:pt x="420" y="726"/>
                    </a:lnTo>
                    <a:lnTo>
                      <a:pt x="402" y="714"/>
                    </a:lnTo>
                    <a:lnTo>
                      <a:pt x="396" y="714"/>
                    </a:lnTo>
                    <a:lnTo>
                      <a:pt x="384" y="726"/>
                    </a:lnTo>
                    <a:lnTo>
                      <a:pt x="384" y="738"/>
                    </a:lnTo>
                    <a:lnTo>
                      <a:pt x="396" y="750"/>
                    </a:lnTo>
                    <a:lnTo>
                      <a:pt x="420" y="762"/>
                    </a:lnTo>
                    <a:lnTo>
                      <a:pt x="426" y="762"/>
                    </a:lnTo>
                    <a:lnTo>
                      <a:pt x="444" y="780"/>
                    </a:lnTo>
                    <a:lnTo>
                      <a:pt x="444" y="786"/>
                    </a:lnTo>
                    <a:lnTo>
                      <a:pt x="456" y="786"/>
                    </a:lnTo>
                    <a:lnTo>
                      <a:pt x="468" y="798"/>
                    </a:lnTo>
                    <a:lnTo>
                      <a:pt x="480" y="804"/>
                    </a:lnTo>
                    <a:lnTo>
                      <a:pt x="498" y="798"/>
                    </a:lnTo>
                    <a:lnTo>
                      <a:pt x="504" y="804"/>
                    </a:lnTo>
                    <a:lnTo>
                      <a:pt x="516" y="810"/>
                    </a:lnTo>
                    <a:lnTo>
                      <a:pt x="522" y="822"/>
                    </a:lnTo>
                    <a:lnTo>
                      <a:pt x="534" y="828"/>
                    </a:lnTo>
                    <a:lnTo>
                      <a:pt x="558" y="828"/>
                    </a:lnTo>
                    <a:lnTo>
                      <a:pt x="570" y="816"/>
                    </a:lnTo>
                    <a:lnTo>
                      <a:pt x="570" y="792"/>
                    </a:lnTo>
                    <a:lnTo>
                      <a:pt x="564" y="780"/>
                    </a:lnTo>
                    <a:lnTo>
                      <a:pt x="564" y="768"/>
                    </a:lnTo>
                    <a:lnTo>
                      <a:pt x="570" y="750"/>
                    </a:lnTo>
                    <a:lnTo>
                      <a:pt x="576" y="738"/>
                    </a:lnTo>
                    <a:lnTo>
                      <a:pt x="582" y="732"/>
                    </a:lnTo>
                    <a:lnTo>
                      <a:pt x="582" y="714"/>
                    </a:lnTo>
                    <a:lnTo>
                      <a:pt x="576" y="702"/>
                    </a:lnTo>
                    <a:lnTo>
                      <a:pt x="570" y="720"/>
                    </a:lnTo>
                    <a:close/>
                    <a:moveTo>
                      <a:pt x="180" y="468"/>
                    </a:moveTo>
                    <a:lnTo>
                      <a:pt x="156" y="480"/>
                    </a:lnTo>
                    <a:lnTo>
                      <a:pt x="150" y="486"/>
                    </a:lnTo>
                    <a:lnTo>
                      <a:pt x="138" y="492"/>
                    </a:lnTo>
                    <a:lnTo>
                      <a:pt x="132" y="498"/>
                    </a:lnTo>
                    <a:lnTo>
                      <a:pt x="126" y="498"/>
                    </a:lnTo>
                    <a:lnTo>
                      <a:pt x="114" y="492"/>
                    </a:lnTo>
                    <a:lnTo>
                      <a:pt x="102" y="480"/>
                    </a:lnTo>
                    <a:lnTo>
                      <a:pt x="96" y="498"/>
                    </a:lnTo>
                    <a:lnTo>
                      <a:pt x="102" y="504"/>
                    </a:lnTo>
                    <a:lnTo>
                      <a:pt x="114" y="510"/>
                    </a:lnTo>
                    <a:lnTo>
                      <a:pt x="120" y="522"/>
                    </a:lnTo>
                    <a:lnTo>
                      <a:pt x="120" y="540"/>
                    </a:lnTo>
                    <a:lnTo>
                      <a:pt x="114" y="558"/>
                    </a:lnTo>
                    <a:lnTo>
                      <a:pt x="114" y="570"/>
                    </a:lnTo>
                    <a:lnTo>
                      <a:pt x="126" y="582"/>
                    </a:lnTo>
                    <a:lnTo>
                      <a:pt x="114" y="588"/>
                    </a:lnTo>
                    <a:lnTo>
                      <a:pt x="120" y="636"/>
                    </a:lnTo>
                    <a:lnTo>
                      <a:pt x="108" y="636"/>
                    </a:lnTo>
                    <a:lnTo>
                      <a:pt x="126" y="654"/>
                    </a:lnTo>
                    <a:lnTo>
                      <a:pt x="138" y="654"/>
                    </a:lnTo>
                    <a:lnTo>
                      <a:pt x="144" y="642"/>
                    </a:lnTo>
                    <a:lnTo>
                      <a:pt x="156" y="630"/>
                    </a:lnTo>
                    <a:lnTo>
                      <a:pt x="156" y="618"/>
                    </a:lnTo>
                    <a:lnTo>
                      <a:pt x="168" y="630"/>
                    </a:lnTo>
                    <a:lnTo>
                      <a:pt x="180" y="636"/>
                    </a:lnTo>
                    <a:lnTo>
                      <a:pt x="186" y="636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198" y="594"/>
                    </a:lnTo>
                    <a:lnTo>
                      <a:pt x="204" y="582"/>
                    </a:lnTo>
                    <a:lnTo>
                      <a:pt x="204" y="558"/>
                    </a:lnTo>
                    <a:lnTo>
                      <a:pt x="198" y="552"/>
                    </a:lnTo>
                    <a:lnTo>
                      <a:pt x="192" y="552"/>
                    </a:lnTo>
                    <a:lnTo>
                      <a:pt x="192" y="546"/>
                    </a:lnTo>
                    <a:lnTo>
                      <a:pt x="198" y="540"/>
                    </a:lnTo>
                    <a:lnTo>
                      <a:pt x="204" y="540"/>
                    </a:lnTo>
                    <a:lnTo>
                      <a:pt x="210" y="534"/>
                    </a:lnTo>
                    <a:lnTo>
                      <a:pt x="210" y="522"/>
                    </a:lnTo>
                    <a:lnTo>
                      <a:pt x="204" y="510"/>
                    </a:lnTo>
                    <a:lnTo>
                      <a:pt x="204" y="492"/>
                    </a:lnTo>
                    <a:lnTo>
                      <a:pt x="198" y="480"/>
                    </a:lnTo>
                    <a:lnTo>
                      <a:pt x="186" y="474"/>
                    </a:lnTo>
                    <a:lnTo>
                      <a:pt x="180" y="468"/>
                    </a:lnTo>
                    <a:close/>
                    <a:moveTo>
                      <a:pt x="774" y="546"/>
                    </a:moveTo>
                    <a:lnTo>
                      <a:pt x="768" y="534"/>
                    </a:lnTo>
                    <a:lnTo>
                      <a:pt x="756" y="528"/>
                    </a:lnTo>
                    <a:lnTo>
                      <a:pt x="738" y="51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74"/>
                    </a:lnTo>
                    <a:lnTo>
                      <a:pt x="648" y="474"/>
                    </a:lnTo>
                    <a:lnTo>
                      <a:pt x="630" y="468"/>
                    </a:lnTo>
                    <a:lnTo>
                      <a:pt x="606" y="456"/>
                    </a:lnTo>
                    <a:lnTo>
                      <a:pt x="606" y="450"/>
                    </a:lnTo>
                    <a:lnTo>
                      <a:pt x="612" y="438"/>
                    </a:lnTo>
                    <a:lnTo>
                      <a:pt x="624" y="426"/>
                    </a:lnTo>
                    <a:lnTo>
                      <a:pt x="624" y="420"/>
                    </a:lnTo>
                    <a:lnTo>
                      <a:pt x="618" y="414"/>
                    </a:lnTo>
                    <a:lnTo>
                      <a:pt x="612" y="414"/>
                    </a:lnTo>
                    <a:lnTo>
                      <a:pt x="594" y="408"/>
                    </a:lnTo>
                    <a:lnTo>
                      <a:pt x="552" y="408"/>
                    </a:lnTo>
                    <a:lnTo>
                      <a:pt x="540" y="402"/>
                    </a:lnTo>
                    <a:lnTo>
                      <a:pt x="534" y="396"/>
                    </a:lnTo>
                    <a:lnTo>
                      <a:pt x="516" y="384"/>
                    </a:lnTo>
                    <a:lnTo>
                      <a:pt x="492" y="360"/>
                    </a:lnTo>
                    <a:lnTo>
                      <a:pt x="480" y="342"/>
                    </a:lnTo>
                    <a:lnTo>
                      <a:pt x="474" y="336"/>
                    </a:lnTo>
                    <a:lnTo>
                      <a:pt x="468" y="324"/>
                    </a:lnTo>
                    <a:lnTo>
                      <a:pt x="468" y="312"/>
                    </a:lnTo>
                    <a:lnTo>
                      <a:pt x="450" y="276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20" y="258"/>
                    </a:lnTo>
                    <a:lnTo>
                      <a:pt x="414" y="252"/>
                    </a:lnTo>
                    <a:lnTo>
                      <a:pt x="378" y="222"/>
                    </a:lnTo>
                    <a:lnTo>
                      <a:pt x="372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66" y="180"/>
                    </a:lnTo>
                    <a:lnTo>
                      <a:pt x="384" y="180"/>
                    </a:lnTo>
                    <a:lnTo>
                      <a:pt x="384" y="174"/>
                    </a:lnTo>
                    <a:lnTo>
                      <a:pt x="372" y="162"/>
                    </a:lnTo>
                    <a:lnTo>
                      <a:pt x="366" y="150"/>
                    </a:lnTo>
                    <a:lnTo>
                      <a:pt x="366" y="138"/>
                    </a:lnTo>
                    <a:lnTo>
                      <a:pt x="402" y="120"/>
                    </a:lnTo>
                    <a:lnTo>
                      <a:pt x="408" y="114"/>
                    </a:lnTo>
                    <a:lnTo>
                      <a:pt x="414" y="114"/>
                    </a:lnTo>
                    <a:lnTo>
                      <a:pt x="438" y="108"/>
                    </a:lnTo>
                    <a:lnTo>
                      <a:pt x="444" y="72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2"/>
                    </a:lnTo>
                    <a:lnTo>
                      <a:pt x="384" y="42"/>
                    </a:lnTo>
                    <a:lnTo>
                      <a:pt x="378" y="24"/>
                    </a:lnTo>
                    <a:lnTo>
                      <a:pt x="366" y="24"/>
                    </a:lnTo>
                    <a:lnTo>
                      <a:pt x="366" y="6"/>
                    </a:lnTo>
                    <a:lnTo>
                      <a:pt x="360" y="0"/>
                    </a:lnTo>
                    <a:lnTo>
                      <a:pt x="342" y="0"/>
                    </a:lnTo>
                    <a:lnTo>
                      <a:pt x="336" y="6"/>
                    </a:lnTo>
                    <a:lnTo>
                      <a:pt x="336" y="12"/>
                    </a:lnTo>
                    <a:lnTo>
                      <a:pt x="294" y="12"/>
                    </a:lnTo>
                    <a:lnTo>
                      <a:pt x="282" y="30"/>
                    </a:lnTo>
                    <a:lnTo>
                      <a:pt x="270" y="24"/>
                    </a:lnTo>
                    <a:lnTo>
                      <a:pt x="252" y="24"/>
                    </a:lnTo>
                    <a:lnTo>
                      <a:pt x="246" y="42"/>
                    </a:lnTo>
                    <a:lnTo>
                      <a:pt x="222" y="42"/>
                    </a:lnTo>
                    <a:lnTo>
                      <a:pt x="222" y="48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0" y="60"/>
                    </a:lnTo>
                    <a:lnTo>
                      <a:pt x="192" y="66"/>
                    </a:lnTo>
                    <a:lnTo>
                      <a:pt x="180" y="48"/>
                    </a:lnTo>
                    <a:lnTo>
                      <a:pt x="174" y="72"/>
                    </a:lnTo>
                    <a:lnTo>
                      <a:pt x="162" y="84"/>
                    </a:lnTo>
                    <a:lnTo>
                      <a:pt x="162" y="102"/>
                    </a:lnTo>
                    <a:lnTo>
                      <a:pt x="138" y="78"/>
                    </a:lnTo>
                    <a:lnTo>
                      <a:pt x="132" y="78"/>
                    </a:lnTo>
                    <a:lnTo>
                      <a:pt x="132" y="72"/>
                    </a:lnTo>
                    <a:lnTo>
                      <a:pt x="126" y="66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84" y="96"/>
                    </a:lnTo>
                    <a:lnTo>
                      <a:pt x="78" y="96"/>
                    </a:lnTo>
                    <a:lnTo>
                      <a:pt x="66" y="84"/>
                    </a:lnTo>
                    <a:lnTo>
                      <a:pt x="54" y="84"/>
                    </a:lnTo>
                    <a:lnTo>
                      <a:pt x="42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42" y="132"/>
                    </a:lnTo>
                    <a:lnTo>
                      <a:pt x="42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12" y="174"/>
                    </a:lnTo>
                    <a:lnTo>
                      <a:pt x="24" y="174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24" y="198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22"/>
                    </a:lnTo>
                    <a:lnTo>
                      <a:pt x="36" y="228"/>
                    </a:lnTo>
                    <a:lnTo>
                      <a:pt x="42" y="228"/>
                    </a:lnTo>
                    <a:lnTo>
                      <a:pt x="42" y="234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2" y="246"/>
                    </a:lnTo>
                    <a:lnTo>
                      <a:pt x="54" y="264"/>
                    </a:lnTo>
                    <a:lnTo>
                      <a:pt x="54" y="270"/>
                    </a:lnTo>
                    <a:lnTo>
                      <a:pt x="66" y="270"/>
                    </a:lnTo>
                    <a:lnTo>
                      <a:pt x="90" y="258"/>
                    </a:lnTo>
                    <a:lnTo>
                      <a:pt x="120" y="228"/>
                    </a:lnTo>
                    <a:lnTo>
                      <a:pt x="144" y="216"/>
                    </a:lnTo>
                    <a:lnTo>
                      <a:pt x="156" y="216"/>
                    </a:lnTo>
                    <a:lnTo>
                      <a:pt x="168" y="222"/>
                    </a:lnTo>
                    <a:lnTo>
                      <a:pt x="204" y="234"/>
                    </a:lnTo>
                    <a:lnTo>
                      <a:pt x="216" y="240"/>
                    </a:lnTo>
                    <a:lnTo>
                      <a:pt x="228" y="252"/>
                    </a:lnTo>
                    <a:lnTo>
                      <a:pt x="234" y="264"/>
                    </a:lnTo>
                    <a:lnTo>
                      <a:pt x="234" y="276"/>
                    </a:lnTo>
                    <a:lnTo>
                      <a:pt x="240" y="282"/>
                    </a:lnTo>
                    <a:lnTo>
                      <a:pt x="240" y="288"/>
                    </a:lnTo>
                    <a:lnTo>
                      <a:pt x="252" y="300"/>
                    </a:lnTo>
                    <a:lnTo>
                      <a:pt x="252" y="306"/>
                    </a:lnTo>
                    <a:lnTo>
                      <a:pt x="246" y="318"/>
                    </a:lnTo>
                    <a:lnTo>
                      <a:pt x="246" y="324"/>
                    </a:lnTo>
                    <a:lnTo>
                      <a:pt x="258" y="336"/>
                    </a:lnTo>
                    <a:lnTo>
                      <a:pt x="282" y="348"/>
                    </a:lnTo>
                    <a:lnTo>
                      <a:pt x="288" y="354"/>
                    </a:lnTo>
                    <a:lnTo>
                      <a:pt x="294" y="354"/>
                    </a:lnTo>
                    <a:lnTo>
                      <a:pt x="300" y="372"/>
                    </a:lnTo>
                    <a:lnTo>
                      <a:pt x="330" y="372"/>
                    </a:lnTo>
                    <a:lnTo>
                      <a:pt x="348" y="390"/>
                    </a:lnTo>
                    <a:lnTo>
                      <a:pt x="354" y="402"/>
                    </a:lnTo>
                    <a:lnTo>
                      <a:pt x="366" y="414"/>
                    </a:lnTo>
                    <a:lnTo>
                      <a:pt x="378" y="420"/>
                    </a:lnTo>
                    <a:lnTo>
                      <a:pt x="384" y="432"/>
                    </a:lnTo>
                    <a:lnTo>
                      <a:pt x="420" y="468"/>
                    </a:lnTo>
                    <a:lnTo>
                      <a:pt x="456" y="468"/>
                    </a:lnTo>
                    <a:lnTo>
                      <a:pt x="462" y="474"/>
                    </a:lnTo>
                    <a:lnTo>
                      <a:pt x="468" y="486"/>
                    </a:lnTo>
                    <a:lnTo>
                      <a:pt x="492" y="498"/>
                    </a:lnTo>
                    <a:lnTo>
                      <a:pt x="510" y="504"/>
                    </a:lnTo>
                    <a:lnTo>
                      <a:pt x="528" y="504"/>
                    </a:lnTo>
                    <a:lnTo>
                      <a:pt x="540" y="510"/>
                    </a:lnTo>
                    <a:lnTo>
                      <a:pt x="546" y="510"/>
                    </a:lnTo>
                    <a:lnTo>
                      <a:pt x="552" y="522"/>
                    </a:lnTo>
                    <a:lnTo>
                      <a:pt x="552" y="534"/>
                    </a:lnTo>
                    <a:lnTo>
                      <a:pt x="564" y="558"/>
                    </a:lnTo>
                    <a:lnTo>
                      <a:pt x="570" y="564"/>
                    </a:lnTo>
                    <a:lnTo>
                      <a:pt x="582" y="564"/>
                    </a:lnTo>
                    <a:lnTo>
                      <a:pt x="594" y="558"/>
                    </a:lnTo>
                    <a:lnTo>
                      <a:pt x="600" y="558"/>
                    </a:lnTo>
                    <a:lnTo>
                      <a:pt x="600" y="570"/>
                    </a:lnTo>
                    <a:lnTo>
                      <a:pt x="606" y="582"/>
                    </a:lnTo>
                    <a:lnTo>
                      <a:pt x="606" y="606"/>
                    </a:lnTo>
                    <a:lnTo>
                      <a:pt x="612" y="618"/>
                    </a:lnTo>
                    <a:lnTo>
                      <a:pt x="630" y="636"/>
                    </a:lnTo>
                    <a:lnTo>
                      <a:pt x="630" y="666"/>
                    </a:lnTo>
                    <a:lnTo>
                      <a:pt x="612" y="666"/>
                    </a:lnTo>
                    <a:lnTo>
                      <a:pt x="612" y="690"/>
                    </a:lnTo>
                    <a:lnTo>
                      <a:pt x="606" y="696"/>
                    </a:lnTo>
                    <a:lnTo>
                      <a:pt x="600" y="708"/>
                    </a:lnTo>
                    <a:lnTo>
                      <a:pt x="594" y="714"/>
                    </a:lnTo>
                    <a:lnTo>
                      <a:pt x="594" y="732"/>
                    </a:lnTo>
                    <a:lnTo>
                      <a:pt x="606" y="732"/>
                    </a:lnTo>
                    <a:lnTo>
                      <a:pt x="618" y="726"/>
                    </a:lnTo>
                    <a:lnTo>
                      <a:pt x="624" y="726"/>
                    </a:lnTo>
                    <a:lnTo>
                      <a:pt x="636" y="702"/>
                    </a:lnTo>
                    <a:lnTo>
                      <a:pt x="654" y="696"/>
                    </a:lnTo>
                    <a:lnTo>
                      <a:pt x="654" y="666"/>
                    </a:lnTo>
                    <a:lnTo>
                      <a:pt x="666" y="654"/>
                    </a:lnTo>
                    <a:lnTo>
                      <a:pt x="678" y="654"/>
                    </a:lnTo>
                    <a:lnTo>
                      <a:pt x="684" y="648"/>
                    </a:lnTo>
                    <a:lnTo>
                      <a:pt x="696" y="648"/>
                    </a:lnTo>
                    <a:lnTo>
                      <a:pt x="696" y="636"/>
                    </a:lnTo>
                    <a:lnTo>
                      <a:pt x="690" y="630"/>
                    </a:lnTo>
                    <a:lnTo>
                      <a:pt x="690" y="618"/>
                    </a:lnTo>
                    <a:lnTo>
                      <a:pt x="678" y="606"/>
                    </a:lnTo>
                    <a:lnTo>
                      <a:pt x="666" y="606"/>
                    </a:lnTo>
                    <a:lnTo>
                      <a:pt x="648" y="588"/>
                    </a:lnTo>
                    <a:lnTo>
                      <a:pt x="654" y="582"/>
                    </a:lnTo>
                    <a:lnTo>
                      <a:pt x="660" y="570"/>
                    </a:lnTo>
                    <a:lnTo>
                      <a:pt x="666" y="552"/>
                    </a:lnTo>
                    <a:lnTo>
                      <a:pt x="672" y="540"/>
                    </a:lnTo>
                    <a:lnTo>
                      <a:pt x="684" y="528"/>
                    </a:lnTo>
                    <a:lnTo>
                      <a:pt x="690" y="534"/>
                    </a:lnTo>
                    <a:lnTo>
                      <a:pt x="702" y="534"/>
                    </a:lnTo>
                    <a:lnTo>
                      <a:pt x="708" y="540"/>
                    </a:lnTo>
                    <a:lnTo>
                      <a:pt x="738" y="540"/>
                    </a:lnTo>
                    <a:lnTo>
                      <a:pt x="738" y="552"/>
                    </a:lnTo>
                    <a:lnTo>
                      <a:pt x="744" y="558"/>
                    </a:lnTo>
                    <a:lnTo>
                      <a:pt x="744" y="564"/>
                    </a:lnTo>
                    <a:lnTo>
                      <a:pt x="750" y="576"/>
                    </a:lnTo>
                    <a:lnTo>
                      <a:pt x="762" y="576"/>
                    </a:lnTo>
                    <a:lnTo>
                      <a:pt x="774" y="570"/>
                    </a:lnTo>
                    <a:lnTo>
                      <a:pt x="780" y="564"/>
                    </a:lnTo>
                    <a:lnTo>
                      <a:pt x="780" y="558"/>
                    </a:lnTo>
                    <a:lnTo>
                      <a:pt x="774" y="54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1" name="Ir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ACF78E7-5C6A-E3E8-9E64-81E1971F678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9239" y="1926196"/>
                <a:ext cx="125933" cy="133046"/>
              </a:xfrm>
              <a:custGeom>
                <a:avLst/>
                <a:gdLst>
                  <a:gd name="T0" fmla="*/ 2147483647 w 282"/>
                  <a:gd name="T1" fmla="*/ 2147483647 h 300"/>
                  <a:gd name="T2" fmla="*/ 2147483647 w 282"/>
                  <a:gd name="T3" fmla="*/ 2147483647 h 300"/>
                  <a:gd name="T4" fmla="*/ 2147483647 w 282"/>
                  <a:gd name="T5" fmla="*/ 2147483647 h 300"/>
                  <a:gd name="T6" fmla="*/ 2147483647 w 282"/>
                  <a:gd name="T7" fmla="*/ 2147483647 h 300"/>
                  <a:gd name="T8" fmla="*/ 2147483647 w 282"/>
                  <a:gd name="T9" fmla="*/ 2147483647 h 300"/>
                  <a:gd name="T10" fmla="*/ 2147483647 w 282"/>
                  <a:gd name="T11" fmla="*/ 2147483647 h 300"/>
                  <a:gd name="T12" fmla="*/ 2147483647 w 282"/>
                  <a:gd name="T13" fmla="*/ 2147483647 h 300"/>
                  <a:gd name="T14" fmla="*/ 2147483647 w 282"/>
                  <a:gd name="T15" fmla="*/ 2147483647 h 300"/>
                  <a:gd name="T16" fmla="*/ 2147483647 w 282"/>
                  <a:gd name="T17" fmla="*/ 2147483647 h 300"/>
                  <a:gd name="T18" fmla="*/ 2147483647 w 282"/>
                  <a:gd name="T19" fmla="*/ 2147483647 h 300"/>
                  <a:gd name="T20" fmla="*/ 2147483647 w 282"/>
                  <a:gd name="T21" fmla="*/ 2147483647 h 300"/>
                  <a:gd name="T22" fmla="*/ 2147483647 w 282"/>
                  <a:gd name="T23" fmla="*/ 2147483647 h 300"/>
                  <a:gd name="T24" fmla="*/ 2147483647 w 282"/>
                  <a:gd name="T25" fmla="*/ 0 h 300"/>
                  <a:gd name="T26" fmla="*/ 2147483647 w 282"/>
                  <a:gd name="T27" fmla="*/ 2147483647 h 300"/>
                  <a:gd name="T28" fmla="*/ 2147483647 w 282"/>
                  <a:gd name="T29" fmla="*/ 2147483647 h 300"/>
                  <a:gd name="T30" fmla="*/ 2147483647 w 282"/>
                  <a:gd name="T31" fmla="*/ 2147483647 h 300"/>
                  <a:gd name="T32" fmla="*/ 2147483647 w 282"/>
                  <a:gd name="T33" fmla="*/ 2147483647 h 300"/>
                  <a:gd name="T34" fmla="*/ 2147483647 w 282"/>
                  <a:gd name="T35" fmla="*/ 2147483647 h 300"/>
                  <a:gd name="T36" fmla="*/ 2147483647 w 282"/>
                  <a:gd name="T37" fmla="*/ 2147483647 h 300"/>
                  <a:gd name="T38" fmla="*/ 2147483647 w 282"/>
                  <a:gd name="T39" fmla="*/ 2147483647 h 300"/>
                  <a:gd name="T40" fmla="*/ 2147483647 w 282"/>
                  <a:gd name="T41" fmla="*/ 2147483647 h 300"/>
                  <a:gd name="T42" fmla="*/ 2147483647 w 282"/>
                  <a:gd name="T43" fmla="*/ 2147483647 h 300"/>
                  <a:gd name="T44" fmla="*/ 2147483647 w 282"/>
                  <a:gd name="T45" fmla="*/ 2147483647 h 300"/>
                  <a:gd name="T46" fmla="*/ 2147483647 w 282"/>
                  <a:gd name="T47" fmla="*/ 2147483647 h 300"/>
                  <a:gd name="T48" fmla="*/ 2147483647 w 282"/>
                  <a:gd name="T49" fmla="*/ 2147483647 h 300"/>
                  <a:gd name="T50" fmla="*/ 2147483647 w 282"/>
                  <a:gd name="T51" fmla="*/ 2147483647 h 300"/>
                  <a:gd name="T52" fmla="*/ 2147483647 w 282"/>
                  <a:gd name="T53" fmla="*/ 2147483647 h 300"/>
                  <a:gd name="T54" fmla="*/ 2147483647 w 282"/>
                  <a:gd name="T55" fmla="*/ 2147483647 h 300"/>
                  <a:gd name="T56" fmla="*/ 2147483647 w 282"/>
                  <a:gd name="T57" fmla="*/ 2147483647 h 300"/>
                  <a:gd name="T58" fmla="*/ 2147483647 w 282"/>
                  <a:gd name="T59" fmla="*/ 2147483647 h 300"/>
                  <a:gd name="T60" fmla="*/ 2147483647 w 282"/>
                  <a:gd name="T61" fmla="*/ 2147483647 h 300"/>
                  <a:gd name="T62" fmla="*/ 2147483647 w 282"/>
                  <a:gd name="T63" fmla="*/ 2147483647 h 300"/>
                  <a:gd name="T64" fmla="*/ 2147483647 w 282"/>
                  <a:gd name="T65" fmla="*/ 2147483647 h 300"/>
                  <a:gd name="T66" fmla="*/ 2147483647 w 282"/>
                  <a:gd name="T67" fmla="*/ 2147483647 h 300"/>
                  <a:gd name="T68" fmla="*/ 2147483647 w 282"/>
                  <a:gd name="T69" fmla="*/ 2147483647 h 300"/>
                  <a:gd name="T70" fmla="*/ 2147483647 w 282"/>
                  <a:gd name="T71" fmla="*/ 2147483647 h 300"/>
                  <a:gd name="T72" fmla="*/ 2147483647 w 282"/>
                  <a:gd name="T73" fmla="*/ 2147483647 h 300"/>
                  <a:gd name="T74" fmla="*/ 2147483647 w 282"/>
                  <a:gd name="T75" fmla="*/ 2147483647 h 300"/>
                  <a:gd name="T76" fmla="*/ 2147483647 w 282"/>
                  <a:gd name="T77" fmla="*/ 2147483647 h 300"/>
                  <a:gd name="T78" fmla="*/ 2147483647 w 282"/>
                  <a:gd name="T79" fmla="*/ 2147483647 h 300"/>
                  <a:gd name="T80" fmla="*/ 0 w 282"/>
                  <a:gd name="T81" fmla="*/ 2147483647 h 300"/>
                  <a:gd name="T82" fmla="*/ 2147483647 w 282"/>
                  <a:gd name="T83" fmla="*/ 2147483647 h 300"/>
                  <a:gd name="T84" fmla="*/ 2147483647 w 282"/>
                  <a:gd name="T85" fmla="*/ 2147483647 h 300"/>
                  <a:gd name="T86" fmla="*/ 2147483647 w 282"/>
                  <a:gd name="T87" fmla="*/ 2147483647 h 300"/>
                  <a:gd name="T88" fmla="*/ 2147483647 w 282"/>
                  <a:gd name="T89" fmla="*/ 2147483647 h 300"/>
                  <a:gd name="T90" fmla="*/ 2147483647 w 282"/>
                  <a:gd name="T91" fmla="*/ 2147483647 h 300"/>
                  <a:gd name="T92" fmla="*/ 2147483647 w 282"/>
                  <a:gd name="T93" fmla="*/ 2147483647 h 300"/>
                  <a:gd name="T94" fmla="*/ 2147483647 w 282"/>
                  <a:gd name="T95" fmla="*/ 2147483647 h 300"/>
                  <a:gd name="T96" fmla="*/ 2147483647 w 282"/>
                  <a:gd name="T97" fmla="*/ 2147483647 h 300"/>
                  <a:gd name="T98" fmla="*/ 2147483647 w 282"/>
                  <a:gd name="T99" fmla="*/ 2147483647 h 300"/>
                  <a:gd name="T100" fmla="*/ 2147483647 w 282"/>
                  <a:gd name="T101" fmla="*/ 2147483647 h 300"/>
                  <a:gd name="T102" fmla="*/ 2147483647 w 282"/>
                  <a:gd name="T103" fmla="*/ 2147483647 h 300"/>
                  <a:gd name="T104" fmla="*/ 2147483647 w 282"/>
                  <a:gd name="T105" fmla="*/ 2147483647 h 300"/>
                  <a:gd name="T106" fmla="*/ 2147483647 w 282"/>
                  <a:gd name="T107" fmla="*/ 2147483647 h 300"/>
                  <a:gd name="T108" fmla="*/ 2147483647 w 282"/>
                  <a:gd name="T109" fmla="*/ 2147483647 h 300"/>
                  <a:gd name="T110" fmla="*/ 2147483647 w 282"/>
                  <a:gd name="T111" fmla="*/ 2147483647 h 3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2"/>
                  <a:gd name="T169" fmla="*/ 0 h 300"/>
                  <a:gd name="T170" fmla="*/ 282 w 282"/>
                  <a:gd name="T171" fmla="*/ 300 h 3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2" h="300">
                    <a:moveTo>
                      <a:pt x="276" y="156"/>
                    </a:moveTo>
                    <a:lnTo>
                      <a:pt x="276" y="144"/>
                    </a:lnTo>
                    <a:lnTo>
                      <a:pt x="270" y="132"/>
                    </a:lnTo>
                    <a:lnTo>
                      <a:pt x="264" y="126"/>
                    </a:lnTo>
                    <a:lnTo>
                      <a:pt x="264" y="114"/>
                    </a:lnTo>
                    <a:lnTo>
                      <a:pt x="258" y="108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46" y="90"/>
                    </a:lnTo>
                    <a:lnTo>
                      <a:pt x="228" y="66"/>
                    </a:lnTo>
                    <a:lnTo>
                      <a:pt x="204" y="90"/>
                    </a:lnTo>
                    <a:lnTo>
                      <a:pt x="192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74" y="60"/>
                    </a:lnTo>
                    <a:lnTo>
                      <a:pt x="180" y="60"/>
                    </a:lnTo>
                    <a:lnTo>
                      <a:pt x="186" y="54"/>
                    </a:lnTo>
                    <a:lnTo>
                      <a:pt x="192" y="54"/>
                    </a:lnTo>
                    <a:lnTo>
                      <a:pt x="192" y="42"/>
                    </a:lnTo>
                    <a:lnTo>
                      <a:pt x="234" y="18"/>
                    </a:lnTo>
                    <a:lnTo>
                      <a:pt x="240" y="12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28" y="0"/>
                    </a:lnTo>
                    <a:lnTo>
                      <a:pt x="222" y="0"/>
                    </a:lnTo>
                    <a:lnTo>
                      <a:pt x="210" y="6"/>
                    </a:lnTo>
                    <a:lnTo>
                      <a:pt x="204" y="18"/>
                    </a:lnTo>
                    <a:lnTo>
                      <a:pt x="198" y="6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26" y="42"/>
                    </a:lnTo>
                    <a:lnTo>
                      <a:pt x="120" y="48"/>
                    </a:lnTo>
                    <a:lnTo>
                      <a:pt x="120" y="54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44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26" y="84"/>
                    </a:lnTo>
                    <a:lnTo>
                      <a:pt x="102" y="84"/>
                    </a:lnTo>
                    <a:lnTo>
                      <a:pt x="102" y="90"/>
                    </a:lnTo>
                    <a:lnTo>
                      <a:pt x="90" y="78"/>
                    </a:lnTo>
                    <a:lnTo>
                      <a:pt x="42" y="78"/>
                    </a:lnTo>
                    <a:lnTo>
                      <a:pt x="42" y="102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0" y="132"/>
                    </a:lnTo>
                    <a:lnTo>
                      <a:pt x="30" y="138"/>
                    </a:lnTo>
                    <a:lnTo>
                      <a:pt x="42" y="150"/>
                    </a:lnTo>
                    <a:lnTo>
                      <a:pt x="54" y="156"/>
                    </a:lnTo>
                    <a:lnTo>
                      <a:pt x="60" y="162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96" y="156"/>
                    </a:lnTo>
                    <a:lnTo>
                      <a:pt x="96" y="168"/>
                    </a:lnTo>
                    <a:lnTo>
                      <a:pt x="90" y="174"/>
                    </a:lnTo>
                    <a:lnTo>
                      <a:pt x="72" y="174"/>
                    </a:lnTo>
                    <a:lnTo>
                      <a:pt x="72" y="192"/>
                    </a:lnTo>
                    <a:lnTo>
                      <a:pt x="54" y="192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2" y="234"/>
                    </a:lnTo>
                    <a:lnTo>
                      <a:pt x="18" y="234"/>
                    </a:lnTo>
                    <a:lnTo>
                      <a:pt x="12" y="240"/>
                    </a:lnTo>
                    <a:lnTo>
                      <a:pt x="6" y="240"/>
                    </a:lnTo>
                    <a:lnTo>
                      <a:pt x="6" y="246"/>
                    </a:lnTo>
                    <a:lnTo>
                      <a:pt x="12" y="246"/>
                    </a:lnTo>
                    <a:lnTo>
                      <a:pt x="18" y="252"/>
                    </a:lnTo>
                    <a:lnTo>
                      <a:pt x="6" y="252"/>
                    </a:lnTo>
                    <a:lnTo>
                      <a:pt x="0" y="258"/>
                    </a:lnTo>
                    <a:lnTo>
                      <a:pt x="0" y="270"/>
                    </a:lnTo>
                    <a:lnTo>
                      <a:pt x="42" y="270"/>
                    </a:lnTo>
                    <a:lnTo>
                      <a:pt x="24" y="288"/>
                    </a:lnTo>
                    <a:lnTo>
                      <a:pt x="30" y="282"/>
                    </a:lnTo>
                    <a:lnTo>
                      <a:pt x="48" y="282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36" y="294"/>
                    </a:lnTo>
                    <a:lnTo>
                      <a:pt x="30" y="294"/>
                    </a:lnTo>
                    <a:lnTo>
                      <a:pt x="36" y="300"/>
                    </a:lnTo>
                    <a:lnTo>
                      <a:pt x="60" y="300"/>
                    </a:lnTo>
                    <a:lnTo>
                      <a:pt x="96" y="288"/>
                    </a:lnTo>
                    <a:lnTo>
                      <a:pt x="108" y="282"/>
                    </a:lnTo>
                    <a:lnTo>
                      <a:pt x="120" y="270"/>
                    </a:lnTo>
                    <a:lnTo>
                      <a:pt x="120" y="264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50" y="264"/>
                    </a:lnTo>
                    <a:lnTo>
                      <a:pt x="162" y="252"/>
                    </a:lnTo>
                    <a:lnTo>
                      <a:pt x="180" y="246"/>
                    </a:lnTo>
                    <a:lnTo>
                      <a:pt x="204" y="246"/>
                    </a:lnTo>
                    <a:lnTo>
                      <a:pt x="210" y="240"/>
                    </a:lnTo>
                    <a:lnTo>
                      <a:pt x="252" y="240"/>
                    </a:lnTo>
                    <a:lnTo>
                      <a:pt x="246" y="222"/>
                    </a:lnTo>
                    <a:lnTo>
                      <a:pt x="264" y="222"/>
                    </a:lnTo>
                    <a:lnTo>
                      <a:pt x="264" y="198"/>
                    </a:lnTo>
                    <a:lnTo>
                      <a:pt x="270" y="192"/>
                    </a:lnTo>
                    <a:lnTo>
                      <a:pt x="270" y="180"/>
                    </a:lnTo>
                    <a:lnTo>
                      <a:pt x="276" y="168"/>
                    </a:lnTo>
                    <a:lnTo>
                      <a:pt x="276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2" name="Iraq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29BB052-3D04-AE8A-0947-558C420FB24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92393" y="2563041"/>
                <a:ext cx="308625" cy="296249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3" name="Hungar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42448B5-62E6-DDDA-8AA8-E1C3706F578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93552" y="2160356"/>
                <a:ext cx="191560" cy="99341"/>
              </a:xfrm>
              <a:custGeom>
                <a:avLst/>
                <a:gdLst>
                  <a:gd name="T0" fmla="*/ 2147483647 w 426"/>
                  <a:gd name="T1" fmla="*/ 2147483647 h 222"/>
                  <a:gd name="T2" fmla="*/ 2147483647 w 426"/>
                  <a:gd name="T3" fmla="*/ 2147483647 h 222"/>
                  <a:gd name="T4" fmla="*/ 2147483647 w 426"/>
                  <a:gd name="T5" fmla="*/ 2147483647 h 222"/>
                  <a:gd name="T6" fmla="*/ 0 w 426"/>
                  <a:gd name="T7" fmla="*/ 2147483647 h 222"/>
                  <a:gd name="T8" fmla="*/ 2147483647 w 426"/>
                  <a:gd name="T9" fmla="*/ 2147483647 h 222"/>
                  <a:gd name="T10" fmla="*/ 2147483647 w 426"/>
                  <a:gd name="T11" fmla="*/ 2147483647 h 222"/>
                  <a:gd name="T12" fmla="*/ 2147483647 w 426"/>
                  <a:gd name="T13" fmla="*/ 2147483647 h 222"/>
                  <a:gd name="T14" fmla="*/ 2147483647 w 426"/>
                  <a:gd name="T15" fmla="*/ 2147483647 h 222"/>
                  <a:gd name="T16" fmla="*/ 2147483647 w 426"/>
                  <a:gd name="T17" fmla="*/ 2147483647 h 222"/>
                  <a:gd name="T18" fmla="*/ 2147483647 w 426"/>
                  <a:gd name="T19" fmla="*/ 2147483647 h 222"/>
                  <a:gd name="T20" fmla="*/ 2147483647 w 426"/>
                  <a:gd name="T21" fmla="*/ 2147483647 h 222"/>
                  <a:gd name="T22" fmla="*/ 2147483647 w 426"/>
                  <a:gd name="T23" fmla="*/ 2147483647 h 222"/>
                  <a:gd name="T24" fmla="*/ 2147483647 w 426"/>
                  <a:gd name="T25" fmla="*/ 2147483647 h 222"/>
                  <a:gd name="T26" fmla="*/ 2147483647 w 426"/>
                  <a:gd name="T27" fmla="*/ 2147483647 h 222"/>
                  <a:gd name="T28" fmla="*/ 2147483647 w 426"/>
                  <a:gd name="T29" fmla="*/ 2147483647 h 222"/>
                  <a:gd name="T30" fmla="*/ 2147483647 w 426"/>
                  <a:gd name="T31" fmla="*/ 2147483647 h 222"/>
                  <a:gd name="T32" fmla="*/ 2147483647 w 426"/>
                  <a:gd name="T33" fmla="*/ 2147483647 h 222"/>
                  <a:gd name="T34" fmla="*/ 2147483647 w 426"/>
                  <a:gd name="T35" fmla="*/ 2147483647 h 222"/>
                  <a:gd name="T36" fmla="*/ 2147483647 w 426"/>
                  <a:gd name="T37" fmla="*/ 2147483647 h 222"/>
                  <a:gd name="T38" fmla="*/ 2147483647 w 426"/>
                  <a:gd name="T39" fmla="*/ 2147483647 h 222"/>
                  <a:gd name="T40" fmla="*/ 2147483647 w 426"/>
                  <a:gd name="T41" fmla="*/ 2147483647 h 222"/>
                  <a:gd name="T42" fmla="*/ 2147483647 w 426"/>
                  <a:gd name="T43" fmla="*/ 2147483647 h 222"/>
                  <a:gd name="T44" fmla="*/ 2147483647 w 426"/>
                  <a:gd name="T45" fmla="*/ 2147483647 h 222"/>
                  <a:gd name="T46" fmla="*/ 2147483647 w 426"/>
                  <a:gd name="T47" fmla="*/ 2147483647 h 222"/>
                  <a:gd name="T48" fmla="*/ 2147483647 w 426"/>
                  <a:gd name="T49" fmla="*/ 0 h 222"/>
                  <a:gd name="T50" fmla="*/ 2147483647 w 426"/>
                  <a:gd name="T51" fmla="*/ 2147483647 h 222"/>
                  <a:gd name="T52" fmla="*/ 2147483647 w 426"/>
                  <a:gd name="T53" fmla="*/ 0 h 222"/>
                  <a:gd name="T54" fmla="*/ 2147483647 w 426"/>
                  <a:gd name="T55" fmla="*/ 2147483647 h 222"/>
                  <a:gd name="T56" fmla="*/ 2147483647 w 426"/>
                  <a:gd name="T57" fmla="*/ 2147483647 h 222"/>
                  <a:gd name="T58" fmla="*/ 2147483647 w 426"/>
                  <a:gd name="T59" fmla="*/ 2147483647 h 222"/>
                  <a:gd name="T60" fmla="*/ 2147483647 w 426"/>
                  <a:gd name="T61" fmla="*/ 2147483647 h 222"/>
                  <a:gd name="T62" fmla="*/ 2147483647 w 426"/>
                  <a:gd name="T63" fmla="*/ 2147483647 h 222"/>
                  <a:gd name="T64" fmla="*/ 2147483647 w 426"/>
                  <a:gd name="T65" fmla="*/ 2147483647 h 222"/>
                  <a:gd name="T66" fmla="*/ 2147483647 w 426"/>
                  <a:gd name="T67" fmla="*/ 2147483647 h 222"/>
                  <a:gd name="T68" fmla="*/ 2147483647 w 426"/>
                  <a:gd name="T69" fmla="*/ 2147483647 h 222"/>
                  <a:gd name="T70" fmla="*/ 2147483647 w 426"/>
                  <a:gd name="T71" fmla="*/ 2147483647 h 2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26"/>
                  <a:gd name="T109" fmla="*/ 0 h 222"/>
                  <a:gd name="T110" fmla="*/ 426 w 426"/>
                  <a:gd name="T111" fmla="*/ 222 h 2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26" h="222">
                    <a:moveTo>
                      <a:pt x="42" y="66"/>
                    </a:moveTo>
                    <a:lnTo>
                      <a:pt x="24" y="66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18" y="96"/>
                    </a:lnTo>
                    <a:lnTo>
                      <a:pt x="18" y="120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50"/>
                    </a:lnTo>
                    <a:lnTo>
                      <a:pt x="30" y="162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60" y="192"/>
                    </a:lnTo>
                    <a:lnTo>
                      <a:pt x="72" y="198"/>
                    </a:lnTo>
                    <a:lnTo>
                      <a:pt x="78" y="204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14" y="222"/>
                    </a:lnTo>
                    <a:lnTo>
                      <a:pt x="156" y="216"/>
                    </a:lnTo>
                    <a:lnTo>
                      <a:pt x="168" y="210"/>
                    </a:lnTo>
                    <a:lnTo>
                      <a:pt x="174" y="204"/>
                    </a:lnTo>
                    <a:lnTo>
                      <a:pt x="198" y="204"/>
                    </a:lnTo>
                    <a:lnTo>
                      <a:pt x="216" y="186"/>
                    </a:lnTo>
                    <a:lnTo>
                      <a:pt x="240" y="186"/>
                    </a:lnTo>
                    <a:lnTo>
                      <a:pt x="258" y="198"/>
                    </a:lnTo>
                    <a:lnTo>
                      <a:pt x="288" y="192"/>
                    </a:lnTo>
                    <a:lnTo>
                      <a:pt x="288" y="174"/>
                    </a:lnTo>
                    <a:lnTo>
                      <a:pt x="306" y="180"/>
                    </a:lnTo>
                    <a:lnTo>
                      <a:pt x="312" y="174"/>
                    </a:lnTo>
                    <a:lnTo>
                      <a:pt x="324" y="168"/>
                    </a:lnTo>
                    <a:lnTo>
                      <a:pt x="330" y="162"/>
                    </a:lnTo>
                    <a:lnTo>
                      <a:pt x="330" y="144"/>
                    </a:lnTo>
                    <a:lnTo>
                      <a:pt x="336" y="138"/>
                    </a:lnTo>
                    <a:lnTo>
                      <a:pt x="348" y="132"/>
                    </a:lnTo>
                    <a:lnTo>
                      <a:pt x="366" y="114"/>
                    </a:lnTo>
                    <a:lnTo>
                      <a:pt x="366" y="72"/>
                    </a:lnTo>
                    <a:lnTo>
                      <a:pt x="378" y="60"/>
                    </a:lnTo>
                    <a:lnTo>
                      <a:pt x="408" y="60"/>
                    </a:lnTo>
                    <a:lnTo>
                      <a:pt x="426" y="42"/>
                    </a:lnTo>
                    <a:lnTo>
                      <a:pt x="420" y="36"/>
                    </a:lnTo>
                    <a:lnTo>
                      <a:pt x="408" y="36"/>
                    </a:lnTo>
                    <a:lnTo>
                      <a:pt x="402" y="30"/>
                    </a:lnTo>
                    <a:lnTo>
                      <a:pt x="396" y="30"/>
                    </a:lnTo>
                    <a:lnTo>
                      <a:pt x="372" y="6"/>
                    </a:lnTo>
                    <a:lnTo>
                      <a:pt x="348" y="6"/>
                    </a:lnTo>
                    <a:lnTo>
                      <a:pt x="336" y="12"/>
                    </a:lnTo>
                    <a:lnTo>
                      <a:pt x="324" y="12"/>
                    </a:lnTo>
                    <a:lnTo>
                      <a:pt x="324" y="0"/>
                    </a:lnTo>
                    <a:lnTo>
                      <a:pt x="312" y="0"/>
                    </a:lnTo>
                    <a:lnTo>
                      <a:pt x="312" y="18"/>
                    </a:lnTo>
                    <a:lnTo>
                      <a:pt x="294" y="12"/>
                    </a:lnTo>
                    <a:lnTo>
                      <a:pt x="294" y="0"/>
                    </a:lnTo>
                    <a:lnTo>
                      <a:pt x="270" y="0"/>
                    </a:lnTo>
                    <a:lnTo>
                      <a:pt x="264" y="12"/>
                    </a:lnTo>
                    <a:lnTo>
                      <a:pt x="252" y="24"/>
                    </a:lnTo>
                    <a:lnTo>
                      <a:pt x="246" y="24"/>
                    </a:lnTo>
                    <a:lnTo>
                      <a:pt x="234" y="30"/>
                    </a:lnTo>
                    <a:lnTo>
                      <a:pt x="210" y="30"/>
                    </a:lnTo>
                    <a:lnTo>
                      <a:pt x="204" y="42"/>
                    </a:lnTo>
                    <a:lnTo>
                      <a:pt x="168" y="36"/>
                    </a:lnTo>
                    <a:lnTo>
                      <a:pt x="156" y="60"/>
                    </a:lnTo>
                    <a:lnTo>
                      <a:pt x="144" y="60"/>
                    </a:lnTo>
                    <a:lnTo>
                      <a:pt x="126" y="66"/>
                    </a:lnTo>
                    <a:lnTo>
                      <a:pt x="84" y="66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42"/>
                    </a:lnTo>
                    <a:lnTo>
                      <a:pt x="54" y="60"/>
                    </a:lnTo>
                    <a:lnTo>
                      <a:pt x="42" y="54"/>
                    </a:lnTo>
                    <a:lnTo>
                      <a:pt x="42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4" name="Gree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9BFA8DE-4C14-E4B1-F6F7-05C2534300E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3035" y="2401612"/>
                <a:ext cx="239450" cy="248353"/>
              </a:xfrm>
              <a:custGeom>
                <a:avLst/>
                <a:gdLst>
                  <a:gd name="T0" fmla="*/ 0 w 534"/>
                  <a:gd name="T1" fmla="*/ 2147483647 h 552"/>
                  <a:gd name="T2" fmla="*/ 2147483647 w 534"/>
                  <a:gd name="T3" fmla="*/ 2147483647 h 552"/>
                  <a:gd name="T4" fmla="*/ 2147483647 w 534"/>
                  <a:gd name="T5" fmla="*/ 2147483647 h 552"/>
                  <a:gd name="T6" fmla="*/ 2147483647 w 534"/>
                  <a:gd name="T7" fmla="*/ 2147483647 h 552"/>
                  <a:gd name="T8" fmla="*/ 2147483647 w 534"/>
                  <a:gd name="T9" fmla="*/ 2147483647 h 552"/>
                  <a:gd name="T10" fmla="*/ 2147483647 w 534"/>
                  <a:gd name="T11" fmla="*/ 2147483647 h 552"/>
                  <a:gd name="T12" fmla="*/ 2147483647 w 534"/>
                  <a:gd name="T13" fmla="*/ 2147483647 h 552"/>
                  <a:gd name="T14" fmla="*/ 2147483647 w 534"/>
                  <a:gd name="T15" fmla="*/ 2147483647 h 552"/>
                  <a:gd name="T16" fmla="*/ 2147483647 w 534"/>
                  <a:gd name="T17" fmla="*/ 2147483647 h 552"/>
                  <a:gd name="T18" fmla="*/ 2147483647 w 534"/>
                  <a:gd name="T19" fmla="*/ 2147483647 h 552"/>
                  <a:gd name="T20" fmla="*/ 2147483647 w 534"/>
                  <a:gd name="T21" fmla="*/ 2147483647 h 552"/>
                  <a:gd name="T22" fmla="*/ 2147483647 w 534"/>
                  <a:gd name="T23" fmla="*/ 2147483647 h 552"/>
                  <a:gd name="T24" fmla="*/ 2147483647 w 534"/>
                  <a:gd name="T25" fmla="*/ 2147483647 h 552"/>
                  <a:gd name="T26" fmla="*/ 2147483647 w 534"/>
                  <a:gd name="T27" fmla="*/ 2147483647 h 552"/>
                  <a:gd name="T28" fmla="*/ 2147483647 w 534"/>
                  <a:gd name="T29" fmla="*/ 2147483647 h 552"/>
                  <a:gd name="T30" fmla="*/ 2147483647 w 534"/>
                  <a:gd name="T31" fmla="*/ 2147483647 h 552"/>
                  <a:gd name="T32" fmla="*/ 2147483647 w 534"/>
                  <a:gd name="T33" fmla="*/ 2147483647 h 552"/>
                  <a:gd name="T34" fmla="*/ 2147483647 w 534"/>
                  <a:gd name="T35" fmla="*/ 2147483647 h 552"/>
                  <a:gd name="T36" fmla="*/ 2147483647 w 534"/>
                  <a:gd name="T37" fmla="*/ 2147483647 h 552"/>
                  <a:gd name="T38" fmla="*/ 2147483647 w 534"/>
                  <a:gd name="T39" fmla="*/ 2147483647 h 552"/>
                  <a:gd name="T40" fmla="*/ 2147483647 w 534"/>
                  <a:gd name="T41" fmla="*/ 2147483647 h 552"/>
                  <a:gd name="T42" fmla="*/ 2147483647 w 534"/>
                  <a:gd name="T43" fmla="*/ 2147483647 h 552"/>
                  <a:gd name="T44" fmla="*/ 2147483647 w 534"/>
                  <a:gd name="T45" fmla="*/ 2147483647 h 552"/>
                  <a:gd name="T46" fmla="*/ 2147483647 w 534"/>
                  <a:gd name="T47" fmla="*/ 2147483647 h 552"/>
                  <a:gd name="T48" fmla="*/ 2147483647 w 534"/>
                  <a:gd name="T49" fmla="*/ 2147483647 h 552"/>
                  <a:gd name="T50" fmla="*/ 2147483647 w 534"/>
                  <a:gd name="T51" fmla="*/ 2147483647 h 552"/>
                  <a:gd name="T52" fmla="*/ 2147483647 w 534"/>
                  <a:gd name="T53" fmla="*/ 2147483647 h 552"/>
                  <a:gd name="T54" fmla="*/ 2147483647 w 534"/>
                  <a:gd name="T55" fmla="*/ 2147483647 h 552"/>
                  <a:gd name="T56" fmla="*/ 2147483647 w 534"/>
                  <a:gd name="T57" fmla="*/ 2147483647 h 552"/>
                  <a:gd name="T58" fmla="*/ 2147483647 w 534"/>
                  <a:gd name="T59" fmla="*/ 2147483647 h 552"/>
                  <a:gd name="T60" fmla="*/ 2147483647 w 534"/>
                  <a:gd name="T61" fmla="*/ 2147483647 h 552"/>
                  <a:gd name="T62" fmla="*/ 2147483647 w 534"/>
                  <a:gd name="T63" fmla="*/ 2147483647 h 552"/>
                  <a:gd name="T64" fmla="*/ 2147483647 w 534"/>
                  <a:gd name="T65" fmla="*/ 2147483647 h 552"/>
                  <a:gd name="T66" fmla="*/ 2147483647 w 534"/>
                  <a:gd name="T67" fmla="*/ 2147483647 h 552"/>
                  <a:gd name="T68" fmla="*/ 2147483647 w 534"/>
                  <a:gd name="T69" fmla="*/ 2147483647 h 552"/>
                  <a:gd name="T70" fmla="*/ 2147483647 w 534"/>
                  <a:gd name="T71" fmla="*/ 2147483647 h 552"/>
                  <a:gd name="T72" fmla="*/ 2147483647 w 534"/>
                  <a:gd name="T73" fmla="*/ 2147483647 h 552"/>
                  <a:gd name="T74" fmla="*/ 2147483647 w 534"/>
                  <a:gd name="T75" fmla="*/ 2147483647 h 552"/>
                  <a:gd name="T76" fmla="*/ 2147483647 w 534"/>
                  <a:gd name="T77" fmla="*/ 2147483647 h 552"/>
                  <a:gd name="T78" fmla="*/ 2147483647 w 534"/>
                  <a:gd name="T79" fmla="*/ 2147483647 h 552"/>
                  <a:gd name="T80" fmla="*/ 2147483647 w 534"/>
                  <a:gd name="T81" fmla="*/ 2147483647 h 552"/>
                  <a:gd name="T82" fmla="*/ 2147483647 w 534"/>
                  <a:gd name="T83" fmla="*/ 2147483647 h 552"/>
                  <a:gd name="T84" fmla="*/ 2147483647 w 534"/>
                  <a:gd name="T85" fmla="*/ 2147483647 h 552"/>
                  <a:gd name="T86" fmla="*/ 2147483647 w 534"/>
                  <a:gd name="T87" fmla="*/ 2147483647 h 552"/>
                  <a:gd name="T88" fmla="*/ 2147483647 w 534"/>
                  <a:gd name="T89" fmla="*/ 2147483647 h 552"/>
                  <a:gd name="T90" fmla="*/ 2147483647 w 534"/>
                  <a:gd name="T91" fmla="*/ 2147483647 h 552"/>
                  <a:gd name="T92" fmla="*/ 2147483647 w 534"/>
                  <a:gd name="T93" fmla="*/ 2147483647 h 552"/>
                  <a:gd name="T94" fmla="*/ 2147483647 w 534"/>
                  <a:gd name="T95" fmla="*/ 2147483647 h 552"/>
                  <a:gd name="T96" fmla="*/ 2147483647 w 534"/>
                  <a:gd name="T97" fmla="*/ 2147483647 h 552"/>
                  <a:gd name="T98" fmla="*/ 2147483647 w 534"/>
                  <a:gd name="T99" fmla="*/ 2147483647 h 552"/>
                  <a:gd name="T100" fmla="*/ 2147483647 w 534"/>
                  <a:gd name="T101" fmla="*/ 2147483647 h 552"/>
                  <a:gd name="T102" fmla="*/ 2147483647 w 534"/>
                  <a:gd name="T103" fmla="*/ 2147483647 h 552"/>
                  <a:gd name="T104" fmla="*/ 2147483647 w 534"/>
                  <a:gd name="T105" fmla="*/ 2147483647 h 552"/>
                  <a:gd name="T106" fmla="*/ 2147483647 w 534"/>
                  <a:gd name="T107" fmla="*/ 2147483647 h 5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34"/>
                  <a:gd name="T163" fmla="*/ 0 h 552"/>
                  <a:gd name="T164" fmla="*/ 534 w 534"/>
                  <a:gd name="T165" fmla="*/ 552 h 5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34" h="552">
                    <a:moveTo>
                      <a:pt x="240" y="108"/>
                    </a:moveTo>
                    <a:lnTo>
                      <a:pt x="270" y="126"/>
                    </a:lnTo>
                    <a:lnTo>
                      <a:pt x="282" y="120"/>
                    </a:lnTo>
                    <a:lnTo>
                      <a:pt x="240" y="108"/>
                    </a:lnTo>
                    <a:close/>
                    <a:moveTo>
                      <a:pt x="24" y="258"/>
                    </a:moveTo>
                    <a:lnTo>
                      <a:pt x="0" y="282"/>
                    </a:lnTo>
                    <a:lnTo>
                      <a:pt x="42" y="294"/>
                    </a:lnTo>
                    <a:lnTo>
                      <a:pt x="24" y="258"/>
                    </a:lnTo>
                    <a:close/>
                    <a:moveTo>
                      <a:pt x="312" y="414"/>
                    </a:moveTo>
                    <a:lnTo>
                      <a:pt x="312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18" y="408"/>
                    </a:lnTo>
                    <a:lnTo>
                      <a:pt x="312" y="408"/>
                    </a:lnTo>
                    <a:lnTo>
                      <a:pt x="312" y="414"/>
                    </a:lnTo>
                    <a:close/>
                    <a:moveTo>
                      <a:pt x="306" y="390"/>
                    </a:moveTo>
                    <a:lnTo>
                      <a:pt x="300" y="378"/>
                    </a:lnTo>
                    <a:lnTo>
                      <a:pt x="294" y="390"/>
                    </a:lnTo>
                    <a:lnTo>
                      <a:pt x="306" y="390"/>
                    </a:lnTo>
                    <a:close/>
                    <a:moveTo>
                      <a:pt x="294" y="294"/>
                    </a:moveTo>
                    <a:lnTo>
                      <a:pt x="318" y="336"/>
                    </a:lnTo>
                    <a:lnTo>
                      <a:pt x="330" y="318"/>
                    </a:lnTo>
                    <a:lnTo>
                      <a:pt x="294" y="294"/>
                    </a:lnTo>
                    <a:close/>
                    <a:moveTo>
                      <a:pt x="108" y="264"/>
                    </a:moveTo>
                    <a:lnTo>
                      <a:pt x="138" y="264"/>
                    </a:lnTo>
                    <a:lnTo>
                      <a:pt x="144" y="270"/>
                    </a:lnTo>
                    <a:lnTo>
                      <a:pt x="156" y="270"/>
                    </a:lnTo>
                    <a:lnTo>
                      <a:pt x="180" y="282"/>
                    </a:lnTo>
                    <a:lnTo>
                      <a:pt x="192" y="282"/>
                    </a:lnTo>
                    <a:lnTo>
                      <a:pt x="198" y="288"/>
                    </a:lnTo>
                    <a:lnTo>
                      <a:pt x="204" y="288"/>
                    </a:lnTo>
                    <a:lnTo>
                      <a:pt x="216" y="300"/>
                    </a:lnTo>
                    <a:lnTo>
                      <a:pt x="228" y="306"/>
                    </a:lnTo>
                    <a:lnTo>
                      <a:pt x="234" y="312"/>
                    </a:lnTo>
                    <a:lnTo>
                      <a:pt x="246" y="312"/>
                    </a:lnTo>
                    <a:lnTo>
                      <a:pt x="252" y="306"/>
                    </a:lnTo>
                    <a:lnTo>
                      <a:pt x="252" y="288"/>
                    </a:lnTo>
                    <a:lnTo>
                      <a:pt x="228" y="264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46"/>
                    </a:lnTo>
                    <a:lnTo>
                      <a:pt x="186" y="246"/>
                    </a:lnTo>
                    <a:lnTo>
                      <a:pt x="174" y="234"/>
                    </a:lnTo>
                    <a:lnTo>
                      <a:pt x="168" y="234"/>
                    </a:lnTo>
                    <a:lnTo>
                      <a:pt x="174" y="228"/>
                    </a:lnTo>
                    <a:lnTo>
                      <a:pt x="192" y="228"/>
                    </a:lnTo>
                    <a:lnTo>
                      <a:pt x="198" y="240"/>
                    </a:lnTo>
                    <a:lnTo>
                      <a:pt x="222" y="252"/>
                    </a:lnTo>
                    <a:lnTo>
                      <a:pt x="234" y="264"/>
                    </a:lnTo>
                    <a:lnTo>
                      <a:pt x="258" y="264"/>
                    </a:lnTo>
                    <a:lnTo>
                      <a:pt x="270" y="252"/>
                    </a:lnTo>
                    <a:lnTo>
                      <a:pt x="258" y="240"/>
                    </a:lnTo>
                    <a:lnTo>
                      <a:pt x="246" y="240"/>
                    </a:lnTo>
                    <a:lnTo>
                      <a:pt x="234" y="234"/>
                    </a:lnTo>
                    <a:lnTo>
                      <a:pt x="222" y="234"/>
                    </a:lnTo>
                    <a:lnTo>
                      <a:pt x="210" y="228"/>
                    </a:lnTo>
                    <a:lnTo>
                      <a:pt x="204" y="216"/>
                    </a:lnTo>
                    <a:lnTo>
                      <a:pt x="198" y="210"/>
                    </a:lnTo>
                    <a:lnTo>
                      <a:pt x="198" y="204"/>
                    </a:lnTo>
                    <a:lnTo>
                      <a:pt x="192" y="192"/>
                    </a:lnTo>
                    <a:lnTo>
                      <a:pt x="186" y="186"/>
                    </a:lnTo>
                    <a:lnTo>
                      <a:pt x="174" y="162"/>
                    </a:lnTo>
                    <a:lnTo>
                      <a:pt x="168" y="156"/>
                    </a:lnTo>
                    <a:lnTo>
                      <a:pt x="162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44" y="114"/>
                    </a:lnTo>
                    <a:lnTo>
                      <a:pt x="144" y="102"/>
                    </a:lnTo>
                    <a:lnTo>
                      <a:pt x="150" y="96"/>
                    </a:lnTo>
                    <a:lnTo>
                      <a:pt x="156" y="96"/>
                    </a:lnTo>
                    <a:lnTo>
                      <a:pt x="162" y="102"/>
                    </a:lnTo>
                    <a:lnTo>
                      <a:pt x="162" y="108"/>
                    </a:lnTo>
                    <a:lnTo>
                      <a:pt x="168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6" y="120"/>
                    </a:lnTo>
                    <a:lnTo>
                      <a:pt x="198" y="132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16" y="138"/>
                    </a:lnTo>
                    <a:lnTo>
                      <a:pt x="204" y="120"/>
                    </a:lnTo>
                    <a:lnTo>
                      <a:pt x="210" y="120"/>
                    </a:lnTo>
                    <a:lnTo>
                      <a:pt x="234" y="132"/>
                    </a:lnTo>
                    <a:lnTo>
                      <a:pt x="222" y="114"/>
                    </a:lnTo>
                    <a:lnTo>
                      <a:pt x="228" y="108"/>
                    </a:lnTo>
                    <a:lnTo>
                      <a:pt x="228" y="84"/>
                    </a:lnTo>
                    <a:lnTo>
                      <a:pt x="240" y="72"/>
                    </a:lnTo>
                    <a:lnTo>
                      <a:pt x="270" y="72"/>
                    </a:lnTo>
                    <a:lnTo>
                      <a:pt x="276" y="78"/>
                    </a:lnTo>
                    <a:lnTo>
                      <a:pt x="276" y="90"/>
                    </a:lnTo>
                    <a:lnTo>
                      <a:pt x="288" y="90"/>
                    </a:lnTo>
                    <a:lnTo>
                      <a:pt x="294" y="84"/>
                    </a:lnTo>
                    <a:lnTo>
                      <a:pt x="300" y="72"/>
                    </a:lnTo>
                    <a:lnTo>
                      <a:pt x="306" y="66"/>
                    </a:lnTo>
                    <a:lnTo>
                      <a:pt x="342" y="66"/>
                    </a:lnTo>
                    <a:lnTo>
                      <a:pt x="360" y="72"/>
                    </a:lnTo>
                    <a:lnTo>
                      <a:pt x="372" y="72"/>
                    </a:lnTo>
                    <a:lnTo>
                      <a:pt x="378" y="78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90" y="60"/>
                    </a:lnTo>
                    <a:lnTo>
                      <a:pt x="390" y="48"/>
                    </a:lnTo>
                    <a:lnTo>
                      <a:pt x="384" y="42"/>
                    </a:lnTo>
                    <a:lnTo>
                      <a:pt x="384" y="36"/>
                    </a:lnTo>
                    <a:lnTo>
                      <a:pt x="390" y="30"/>
                    </a:lnTo>
                    <a:lnTo>
                      <a:pt x="408" y="30"/>
                    </a:lnTo>
                    <a:lnTo>
                      <a:pt x="408" y="18"/>
                    </a:lnTo>
                    <a:lnTo>
                      <a:pt x="402" y="12"/>
                    </a:lnTo>
                    <a:lnTo>
                      <a:pt x="402" y="6"/>
                    </a:lnTo>
                    <a:lnTo>
                      <a:pt x="390" y="6"/>
                    </a:lnTo>
                    <a:lnTo>
                      <a:pt x="384" y="0"/>
                    </a:lnTo>
                    <a:lnTo>
                      <a:pt x="366" y="6"/>
                    </a:lnTo>
                    <a:lnTo>
                      <a:pt x="372" y="12"/>
                    </a:lnTo>
                    <a:lnTo>
                      <a:pt x="372" y="30"/>
                    </a:lnTo>
                    <a:lnTo>
                      <a:pt x="366" y="36"/>
                    </a:lnTo>
                    <a:lnTo>
                      <a:pt x="348" y="36"/>
                    </a:lnTo>
                    <a:lnTo>
                      <a:pt x="336" y="24"/>
                    </a:lnTo>
                    <a:lnTo>
                      <a:pt x="324" y="36"/>
                    </a:lnTo>
                    <a:lnTo>
                      <a:pt x="312" y="36"/>
                    </a:lnTo>
                    <a:lnTo>
                      <a:pt x="300" y="24"/>
                    </a:lnTo>
                    <a:lnTo>
                      <a:pt x="294" y="30"/>
                    </a:lnTo>
                    <a:lnTo>
                      <a:pt x="282" y="30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34" y="12"/>
                    </a:lnTo>
                    <a:lnTo>
                      <a:pt x="228" y="30"/>
                    </a:lnTo>
                    <a:lnTo>
                      <a:pt x="204" y="24"/>
                    </a:lnTo>
                    <a:lnTo>
                      <a:pt x="198" y="30"/>
                    </a:lnTo>
                    <a:lnTo>
                      <a:pt x="186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62" y="30"/>
                    </a:lnTo>
                    <a:lnTo>
                      <a:pt x="150" y="36"/>
                    </a:lnTo>
                    <a:lnTo>
                      <a:pt x="138" y="48"/>
                    </a:lnTo>
                    <a:lnTo>
                      <a:pt x="126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72"/>
                    </a:lnTo>
                    <a:lnTo>
                      <a:pt x="72" y="72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48" y="72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42" y="102"/>
                    </a:lnTo>
                    <a:lnTo>
                      <a:pt x="24" y="102"/>
                    </a:lnTo>
                    <a:lnTo>
                      <a:pt x="24" y="126"/>
                    </a:lnTo>
                    <a:lnTo>
                      <a:pt x="12" y="132"/>
                    </a:lnTo>
                    <a:lnTo>
                      <a:pt x="0" y="132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30" y="228"/>
                    </a:lnTo>
                    <a:lnTo>
                      <a:pt x="36" y="234"/>
                    </a:lnTo>
                    <a:lnTo>
                      <a:pt x="42" y="246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84" y="270"/>
                    </a:lnTo>
                    <a:lnTo>
                      <a:pt x="96" y="264"/>
                    </a:lnTo>
                    <a:lnTo>
                      <a:pt x="108" y="264"/>
                    </a:lnTo>
                    <a:close/>
                    <a:moveTo>
                      <a:pt x="396" y="252"/>
                    </a:moveTo>
                    <a:lnTo>
                      <a:pt x="372" y="252"/>
                    </a:lnTo>
                    <a:lnTo>
                      <a:pt x="372" y="270"/>
                    </a:lnTo>
                    <a:lnTo>
                      <a:pt x="384" y="294"/>
                    </a:lnTo>
                    <a:lnTo>
                      <a:pt x="396" y="252"/>
                    </a:lnTo>
                    <a:close/>
                    <a:moveTo>
                      <a:pt x="24" y="312"/>
                    </a:moveTo>
                    <a:lnTo>
                      <a:pt x="18" y="318"/>
                    </a:lnTo>
                    <a:lnTo>
                      <a:pt x="24" y="324"/>
                    </a:lnTo>
                    <a:lnTo>
                      <a:pt x="30" y="324"/>
                    </a:lnTo>
                    <a:lnTo>
                      <a:pt x="36" y="330"/>
                    </a:lnTo>
                    <a:lnTo>
                      <a:pt x="42" y="324"/>
                    </a:lnTo>
                    <a:lnTo>
                      <a:pt x="42" y="318"/>
                    </a:lnTo>
                    <a:lnTo>
                      <a:pt x="30" y="306"/>
                    </a:lnTo>
                    <a:lnTo>
                      <a:pt x="24" y="312"/>
                    </a:lnTo>
                    <a:close/>
                    <a:moveTo>
                      <a:pt x="378" y="390"/>
                    </a:moveTo>
                    <a:lnTo>
                      <a:pt x="378" y="408"/>
                    </a:lnTo>
                    <a:lnTo>
                      <a:pt x="390" y="390"/>
                    </a:lnTo>
                    <a:lnTo>
                      <a:pt x="378" y="390"/>
                    </a:lnTo>
                    <a:close/>
                    <a:moveTo>
                      <a:pt x="408" y="330"/>
                    </a:moveTo>
                    <a:lnTo>
                      <a:pt x="396" y="330"/>
                    </a:lnTo>
                    <a:lnTo>
                      <a:pt x="384" y="336"/>
                    </a:lnTo>
                    <a:lnTo>
                      <a:pt x="384" y="342"/>
                    </a:lnTo>
                    <a:lnTo>
                      <a:pt x="396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30"/>
                    </a:lnTo>
                    <a:close/>
                    <a:moveTo>
                      <a:pt x="396" y="192"/>
                    </a:moveTo>
                    <a:lnTo>
                      <a:pt x="372" y="198"/>
                    </a:lnTo>
                    <a:lnTo>
                      <a:pt x="372" y="210"/>
                    </a:lnTo>
                    <a:lnTo>
                      <a:pt x="390" y="210"/>
                    </a:lnTo>
                    <a:lnTo>
                      <a:pt x="396" y="216"/>
                    </a:lnTo>
                    <a:lnTo>
                      <a:pt x="396" y="222"/>
                    </a:lnTo>
                    <a:lnTo>
                      <a:pt x="414" y="222"/>
                    </a:lnTo>
                    <a:lnTo>
                      <a:pt x="414" y="210"/>
                    </a:lnTo>
                    <a:lnTo>
                      <a:pt x="396" y="192"/>
                    </a:lnTo>
                    <a:close/>
                    <a:moveTo>
                      <a:pt x="342" y="372"/>
                    </a:moveTo>
                    <a:lnTo>
                      <a:pt x="342" y="378"/>
                    </a:lnTo>
                    <a:lnTo>
                      <a:pt x="348" y="384"/>
                    </a:lnTo>
                    <a:lnTo>
                      <a:pt x="360" y="384"/>
                    </a:lnTo>
                    <a:lnTo>
                      <a:pt x="366" y="378"/>
                    </a:lnTo>
                    <a:lnTo>
                      <a:pt x="366" y="372"/>
                    </a:lnTo>
                    <a:lnTo>
                      <a:pt x="360" y="366"/>
                    </a:lnTo>
                    <a:lnTo>
                      <a:pt x="342" y="366"/>
                    </a:lnTo>
                    <a:lnTo>
                      <a:pt x="342" y="372"/>
                    </a:lnTo>
                    <a:close/>
                    <a:moveTo>
                      <a:pt x="444" y="312"/>
                    </a:moveTo>
                    <a:lnTo>
                      <a:pt x="432" y="312"/>
                    </a:lnTo>
                    <a:lnTo>
                      <a:pt x="432" y="330"/>
                    </a:lnTo>
                    <a:lnTo>
                      <a:pt x="444" y="336"/>
                    </a:lnTo>
                    <a:lnTo>
                      <a:pt x="450" y="330"/>
                    </a:lnTo>
                    <a:lnTo>
                      <a:pt x="450" y="318"/>
                    </a:lnTo>
                    <a:lnTo>
                      <a:pt x="444" y="312"/>
                    </a:lnTo>
                    <a:close/>
                    <a:moveTo>
                      <a:pt x="444" y="372"/>
                    </a:moveTo>
                    <a:lnTo>
                      <a:pt x="456" y="354"/>
                    </a:lnTo>
                    <a:lnTo>
                      <a:pt x="438" y="354"/>
                    </a:lnTo>
                    <a:lnTo>
                      <a:pt x="444" y="372"/>
                    </a:lnTo>
                    <a:close/>
                    <a:moveTo>
                      <a:pt x="276" y="222"/>
                    </a:moveTo>
                    <a:lnTo>
                      <a:pt x="276" y="240"/>
                    </a:lnTo>
                    <a:lnTo>
                      <a:pt x="288" y="240"/>
                    </a:lnTo>
                    <a:lnTo>
                      <a:pt x="276" y="222"/>
                    </a:lnTo>
                    <a:close/>
                    <a:moveTo>
                      <a:pt x="534" y="420"/>
                    </a:moveTo>
                    <a:lnTo>
                      <a:pt x="522" y="420"/>
                    </a:lnTo>
                    <a:lnTo>
                      <a:pt x="516" y="426"/>
                    </a:lnTo>
                    <a:lnTo>
                      <a:pt x="510" y="438"/>
                    </a:lnTo>
                    <a:lnTo>
                      <a:pt x="510" y="468"/>
                    </a:lnTo>
                    <a:lnTo>
                      <a:pt x="516" y="468"/>
                    </a:lnTo>
                    <a:lnTo>
                      <a:pt x="522" y="456"/>
                    </a:lnTo>
                    <a:lnTo>
                      <a:pt x="528" y="450"/>
                    </a:lnTo>
                    <a:lnTo>
                      <a:pt x="534" y="438"/>
                    </a:lnTo>
                    <a:lnTo>
                      <a:pt x="534" y="420"/>
                    </a:lnTo>
                    <a:close/>
                    <a:moveTo>
                      <a:pt x="462" y="384"/>
                    </a:moveTo>
                    <a:lnTo>
                      <a:pt x="456" y="408"/>
                    </a:lnTo>
                    <a:lnTo>
                      <a:pt x="498" y="378"/>
                    </a:lnTo>
                    <a:lnTo>
                      <a:pt x="486" y="372"/>
                    </a:lnTo>
                    <a:lnTo>
                      <a:pt x="462" y="384"/>
                    </a:lnTo>
                    <a:close/>
                    <a:moveTo>
                      <a:pt x="462" y="510"/>
                    </a:moveTo>
                    <a:lnTo>
                      <a:pt x="480" y="510"/>
                    </a:lnTo>
                    <a:lnTo>
                      <a:pt x="468" y="468"/>
                    </a:lnTo>
                    <a:lnTo>
                      <a:pt x="462" y="510"/>
                    </a:lnTo>
                    <a:close/>
                    <a:moveTo>
                      <a:pt x="276" y="330"/>
                    </a:moveTo>
                    <a:lnTo>
                      <a:pt x="270" y="336"/>
                    </a:lnTo>
                    <a:lnTo>
                      <a:pt x="270" y="348"/>
                    </a:lnTo>
                    <a:lnTo>
                      <a:pt x="276" y="348"/>
                    </a:lnTo>
                    <a:lnTo>
                      <a:pt x="288" y="336"/>
                    </a:lnTo>
                    <a:lnTo>
                      <a:pt x="282" y="330"/>
                    </a:lnTo>
                    <a:lnTo>
                      <a:pt x="276" y="330"/>
                    </a:lnTo>
                    <a:close/>
                    <a:moveTo>
                      <a:pt x="186" y="432"/>
                    </a:move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198" y="444"/>
                    </a:lnTo>
                    <a:lnTo>
                      <a:pt x="198" y="438"/>
                    </a:lnTo>
                    <a:lnTo>
                      <a:pt x="192" y="432"/>
                    </a:lnTo>
                    <a:lnTo>
                      <a:pt x="186" y="432"/>
                    </a:lnTo>
                    <a:close/>
                    <a:moveTo>
                      <a:pt x="384" y="528"/>
                    </a:moveTo>
                    <a:lnTo>
                      <a:pt x="378" y="528"/>
                    </a:lnTo>
                    <a:lnTo>
                      <a:pt x="378" y="516"/>
                    </a:lnTo>
                    <a:lnTo>
                      <a:pt x="372" y="510"/>
                    </a:lnTo>
                    <a:lnTo>
                      <a:pt x="342" y="510"/>
                    </a:lnTo>
                    <a:lnTo>
                      <a:pt x="306" y="504"/>
                    </a:lnTo>
                    <a:lnTo>
                      <a:pt x="276" y="504"/>
                    </a:lnTo>
                    <a:lnTo>
                      <a:pt x="246" y="486"/>
                    </a:lnTo>
                    <a:lnTo>
                      <a:pt x="228" y="504"/>
                    </a:lnTo>
                    <a:lnTo>
                      <a:pt x="234" y="510"/>
                    </a:lnTo>
                    <a:lnTo>
                      <a:pt x="246" y="516"/>
                    </a:lnTo>
                    <a:lnTo>
                      <a:pt x="252" y="522"/>
                    </a:lnTo>
                    <a:lnTo>
                      <a:pt x="258" y="516"/>
                    </a:lnTo>
                    <a:lnTo>
                      <a:pt x="264" y="528"/>
                    </a:lnTo>
                    <a:lnTo>
                      <a:pt x="300" y="528"/>
                    </a:lnTo>
                    <a:lnTo>
                      <a:pt x="312" y="552"/>
                    </a:lnTo>
                    <a:lnTo>
                      <a:pt x="354" y="546"/>
                    </a:lnTo>
                    <a:lnTo>
                      <a:pt x="354" y="540"/>
                    </a:lnTo>
                    <a:lnTo>
                      <a:pt x="402" y="540"/>
                    </a:lnTo>
                    <a:lnTo>
                      <a:pt x="414" y="528"/>
                    </a:lnTo>
                    <a:lnTo>
                      <a:pt x="414" y="522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84" y="528"/>
                    </a:lnTo>
                    <a:close/>
                    <a:moveTo>
                      <a:pt x="420" y="408"/>
                    </a:moveTo>
                    <a:lnTo>
                      <a:pt x="408" y="408"/>
                    </a:lnTo>
                    <a:lnTo>
                      <a:pt x="408" y="420"/>
                    </a:lnTo>
                    <a:lnTo>
                      <a:pt x="420" y="420"/>
                    </a:lnTo>
                    <a:lnTo>
                      <a:pt x="426" y="414"/>
                    </a:lnTo>
                    <a:lnTo>
                      <a:pt x="420" y="408"/>
                    </a:lnTo>
                    <a:close/>
                    <a:moveTo>
                      <a:pt x="114" y="276"/>
                    </a:moveTo>
                    <a:lnTo>
                      <a:pt x="90" y="288"/>
                    </a:lnTo>
                    <a:lnTo>
                      <a:pt x="84" y="288"/>
                    </a:lnTo>
                    <a:lnTo>
                      <a:pt x="66" y="312"/>
                    </a:lnTo>
                    <a:lnTo>
                      <a:pt x="96" y="336"/>
                    </a:lnTo>
                    <a:lnTo>
                      <a:pt x="96" y="348"/>
                    </a:lnTo>
                    <a:lnTo>
                      <a:pt x="90" y="366"/>
                    </a:lnTo>
                    <a:lnTo>
                      <a:pt x="90" y="384"/>
                    </a:lnTo>
                    <a:lnTo>
                      <a:pt x="96" y="390"/>
                    </a:lnTo>
                    <a:lnTo>
                      <a:pt x="108" y="396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26" y="378"/>
                    </a:lnTo>
                    <a:lnTo>
                      <a:pt x="132" y="378"/>
                    </a:lnTo>
                    <a:lnTo>
                      <a:pt x="156" y="420"/>
                    </a:lnTo>
                    <a:lnTo>
                      <a:pt x="162" y="390"/>
                    </a:lnTo>
                    <a:lnTo>
                      <a:pt x="180" y="414"/>
                    </a:lnTo>
                    <a:lnTo>
                      <a:pt x="204" y="420"/>
                    </a:lnTo>
                    <a:lnTo>
                      <a:pt x="186" y="402"/>
                    </a:lnTo>
                    <a:lnTo>
                      <a:pt x="192" y="396"/>
                    </a:lnTo>
                    <a:lnTo>
                      <a:pt x="192" y="372"/>
                    </a:lnTo>
                    <a:lnTo>
                      <a:pt x="186" y="366"/>
                    </a:lnTo>
                    <a:lnTo>
                      <a:pt x="180" y="354"/>
                    </a:lnTo>
                    <a:lnTo>
                      <a:pt x="174" y="348"/>
                    </a:lnTo>
                    <a:lnTo>
                      <a:pt x="168" y="336"/>
                    </a:lnTo>
                    <a:lnTo>
                      <a:pt x="168" y="330"/>
                    </a:lnTo>
                    <a:lnTo>
                      <a:pt x="186" y="330"/>
                    </a:lnTo>
                    <a:lnTo>
                      <a:pt x="198" y="336"/>
                    </a:lnTo>
                    <a:lnTo>
                      <a:pt x="210" y="348"/>
                    </a:lnTo>
                    <a:lnTo>
                      <a:pt x="222" y="342"/>
                    </a:lnTo>
                    <a:lnTo>
                      <a:pt x="210" y="336"/>
                    </a:lnTo>
                    <a:lnTo>
                      <a:pt x="204" y="324"/>
                    </a:lnTo>
                    <a:lnTo>
                      <a:pt x="192" y="318"/>
                    </a:lnTo>
                    <a:lnTo>
                      <a:pt x="186" y="312"/>
                    </a:lnTo>
                    <a:lnTo>
                      <a:pt x="174" y="306"/>
                    </a:lnTo>
                    <a:lnTo>
                      <a:pt x="156" y="294"/>
                    </a:lnTo>
                    <a:lnTo>
                      <a:pt x="138" y="288"/>
                    </a:lnTo>
                    <a:lnTo>
                      <a:pt x="126" y="282"/>
                    </a:lnTo>
                    <a:lnTo>
                      <a:pt x="120" y="276"/>
                    </a:lnTo>
                    <a:lnTo>
                      <a:pt x="114" y="27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5" name="Georg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F92FFFF-15BE-4746-CBCB-362C97CC338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87072" y="2335976"/>
                <a:ext cx="207523" cy="94019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6" name="Fran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67C61E9-4E6A-863E-11C0-528ECF07106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95815" y="2066337"/>
                <a:ext cx="409726" cy="353014"/>
              </a:xfrm>
              <a:custGeom>
                <a:avLst/>
                <a:gdLst>
                  <a:gd name="T0" fmla="*/ 2147483647 w 230"/>
                  <a:gd name="T1" fmla="*/ 2147483647 h 198"/>
                  <a:gd name="T2" fmla="*/ 2147483647 w 230"/>
                  <a:gd name="T3" fmla="*/ 2147483647 h 198"/>
                  <a:gd name="T4" fmla="*/ 2147483647 w 230"/>
                  <a:gd name="T5" fmla="*/ 2147483647 h 198"/>
                  <a:gd name="T6" fmla="*/ 2147483647 w 230"/>
                  <a:gd name="T7" fmla="*/ 2147483647 h 198"/>
                  <a:gd name="T8" fmla="*/ 2147483647 w 230"/>
                  <a:gd name="T9" fmla="*/ 2147483647 h 198"/>
                  <a:gd name="T10" fmla="*/ 2147483647 w 230"/>
                  <a:gd name="T11" fmla="*/ 2147483647 h 198"/>
                  <a:gd name="T12" fmla="*/ 2147483647 w 230"/>
                  <a:gd name="T13" fmla="*/ 2147483647 h 198"/>
                  <a:gd name="T14" fmla="*/ 2147483647 w 230"/>
                  <a:gd name="T15" fmla="*/ 2147483647 h 198"/>
                  <a:gd name="T16" fmla="*/ 2147483647 w 230"/>
                  <a:gd name="T17" fmla="*/ 2147483647 h 198"/>
                  <a:gd name="T18" fmla="*/ 2147483647 w 230"/>
                  <a:gd name="T19" fmla="*/ 2147483647 h 198"/>
                  <a:gd name="T20" fmla="*/ 2147483647 w 230"/>
                  <a:gd name="T21" fmla="*/ 2147483647 h 198"/>
                  <a:gd name="T22" fmla="*/ 2147483647 w 230"/>
                  <a:gd name="T23" fmla="*/ 2147483647 h 198"/>
                  <a:gd name="T24" fmla="*/ 2147483647 w 230"/>
                  <a:gd name="T25" fmla="*/ 2147483647 h 198"/>
                  <a:gd name="T26" fmla="*/ 2147483647 w 230"/>
                  <a:gd name="T27" fmla="*/ 2147483647 h 198"/>
                  <a:gd name="T28" fmla="*/ 2147483647 w 230"/>
                  <a:gd name="T29" fmla="*/ 2147483647 h 198"/>
                  <a:gd name="T30" fmla="*/ 2147483647 w 230"/>
                  <a:gd name="T31" fmla="*/ 2147483647 h 198"/>
                  <a:gd name="T32" fmla="*/ 2147483647 w 230"/>
                  <a:gd name="T33" fmla="*/ 2147483647 h 198"/>
                  <a:gd name="T34" fmla="*/ 2147483647 w 230"/>
                  <a:gd name="T35" fmla="*/ 2147483647 h 198"/>
                  <a:gd name="T36" fmla="*/ 2147483647 w 230"/>
                  <a:gd name="T37" fmla="*/ 2147483647 h 198"/>
                  <a:gd name="T38" fmla="*/ 2147483647 w 230"/>
                  <a:gd name="T39" fmla="*/ 2147483647 h 198"/>
                  <a:gd name="T40" fmla="*/ 2147483647 w 230"/>
                  <a:gd name="T41" fmla="*/ 2147483647 h 198"/>
                  <a:gd name="T42" fmla="*/ 2147483647 w 230"/>
                  <a:gd name="T43" fmla="*/ 2147483647 h 198"/>
                  <a:gd name="T44" fmla="*/ 2147483647 w 230"/>
                  <a:gd name="T45" fmla="*/ 2147483647 h 198"/>
                  <a:gd name="T46" fmla="*/ 2147483647 w 230"/>
                  <a:gd name="T47" fmla="*/ 2147483647 h 198"/>
                  <a:gd name="T48" fmla="*/ 2147483647 w 230"/>
                  <a:gd name="T49" fmla="*/ 2147483647 h 198"/>
                  <a:gd name="T50" fmla="*/ 2147483647 w 230"/>
                  <a:gd name="T51" fmla="*/ 2147483647 h 198"/>
                  <a:gd name="T52" fmla="*/ 2147483647 w 230"/>
                  <a:gd name="T53" fmla="*/ 2147483647 h 198"/>
                  <a:gd name="T54" fmla="*/ 2147483647 w 230"/>
                  <a:gd name="T55" fmla="*/ 2147483647 h 198"/>
                  <a:gd name="T56" fmla="*/ 2147483647 w 230"/>
                  <a:gd name="T57" fmla="*/ 2147483647 h 198"/>
                  <a:gd name="T58" fmla="*/ 2147483647 w 230"/>
                  <a:gd name="T59" fmla="*/ 2147483647 h 198"/>
                  <a:gd name="T60" fmla="*/ 2147483647 w 230"/>
                  <a:gd name="T61" fmla="*/ 2147483647 h 198"/>
                  <a:gd name="T62" fmla="*/ 2147483647 w 230"/>
                  <a:gd name="T63" fmla="*/ 2147483647 h 198"/>
                  <a:gd name="T64" fmla="*/ 2147483647 w 230"/>
                  <a:gd name="T65" fmla="*/ 2147483647 h 198"/>
                  <a:gd name="T66" fmla="*/ 2147483647 w 230"/>
                  <a:gd name="T67" fmla="*/ 2147483647 h 198"/>
                  <a:gd name="T68" fmla="*/ 2147483647 w 230"/>
                  <a:gd name="T69" fmla="*/ 2147483647 h 198"/>
                  <a:gd name="T70" fmla="*/ 2147483647 w 230"/>
                  <a:gd name="T71" fmla="*/ 2147483647 h 198"/>
                  <a:gd name="T72" fmla="*/ 2147483647 w 230"/>
                  <a:gd name="T73" fmla="*/ 2147483647 h 198"/>
                  <a:gd name="T74" fmla="*/ 2147483647 w 230"/>
                  <a:gd name="T75" fmla="*/ 2147483647 h 198"/>
                  <a:gd name="T76" fmla="*/ 2147483647 w 230"/>
                  <a:gd name="T77" fmla="*/ 2147483647 h 198"/>
                  <a:gd name="T78" fmla="*/ 2147483647 w 230"/>
                  <a:gd name="T79" fmla="*/ 2147483647 h 198"/>
                  <a:gd name="T80" fmla="*/ 2147483647 w 230"/>
                  <a:gd name="T81" fmla="*/ 2147483647 h 198"/>
                  <a:gd name="T82" fmla="*/ 2147483647 w 230"/>
                  <a:gd name="T83" fmla="*/ 2147483647 h 198"/>
                  <a:gd name="T84" fmla="*/ 2147483647 w 230"/>
                  <a:gd name="T85" fmla="*/ 2147483647 h 198"/>
                  <a:gd name="T86" fmla="*/ 2147483647 w 230"/>
                  <a:gd name="T87" fmla="*/ 2147483647 h 198"/>
                  <a:gd name="T88" fmla="*/ 2147483647 w 230"/>
                  <a:gd name="T89" fmla="*/ 2147483647 h 198"/>
                  <a:gd name="T90" fmla="*/ 2147483647 w 230"/>
                  <a:gd name="T91" fmla="*/ 2147483647 h 198"/>
                  <a:gd name="T92" fmla="*/ 2147483647 w 230"/>
                  <a:gd name="T93" fmla="*/ 2147483647 h 198"/>
                  <a:gd name="T94" fmla="*/ 2147483647 w 230"/>
                  <a:gd name="T95" fmla="*/ 2147483647 h 198"/>
                  <a:gd name="T96" fmla="*/ 2147483647 w 230"/>
                  <a:gd name="T97" fmla="*/ 2147483647 h 198"/>
                  <a:gd name="T98" fmla="*/ 2147483647 w 230"/>
                  <a:gd name="T99" fmla="*/ 2147483647 h 198"/>
                  <a:gd name="T100" fmla="*/ 2147483647 w 230"/>
                  <a:gd name="T101" fmla="*/ 2147483647 h 198"/>
                  <a:gd name="T102" fmla="*/ 2147483647 w 230"/>
                  <a:gd name="T103" fmla="*/ 2147483647 h 198"/>
                  <a:gd name="T104" fmla="*/ 2147483647 w 230"/>
                  <a:gd name="T105" fmla="*/ 2147483647 h 198"/>
                  <a:gd name="T106" fmla="*/ 2147483647 w 230"/>
                  <a:gd name="T107" fmla="*/ 2147483647 h 198"/>
                  <a:gd name="T108" fmla="*/ 2147483647 w 230"/>
                  <a:gd name="T109" fmla="*/ 2147483647 h 198"/>
                  <a:gd name="T110" fmla="*/ 2147483647 w 230"/>
                  <a:gd name="T111" fmla="*/ 2147483647 h 198"/>
                  <a:gd name="T112" fmla="*/ 2147483647 w 230"/>
                  <a:gd name="T113" fmla="*/ 2147483647 h 198"/>
                  <a:gd name="T114" fmla="*/ 2147483647 w 230"/>
                  <a:gd name="T115" fmla="*/ 2147483647 h 198"/>
                  <a:gd name="T116" fmla="*/ 2147483647 w 230"/>
                  <a:gd name="T117" fmla="*/ 2147483647 h 198"/>
                  <a:gd name="T118" fmla="*/ 2147483647 w 230"/>
                  <a:gd name="T119" fmla="*/ 2147483647 h 198"/>
                  <a:gd name="T120" fmla="*/ 2147483647 w 230"/>
                  <a:gd name="T121" fmla="*/ 2147483647 h 1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0"/>
                  <a:gd name="T184" fmla="*/ 0 h 198"/>
                  <a:gd name="T185" fmla="*/ 230 w 230"/>
                  <a:gd name="T186" fmla="*/ 198 h 1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0" h="198">
                    <a:moveTo>
                      <a:pt x="230" y="172"/>
                    </a:moveTo>
                    <a:lnTo>
                      <a:pt x="230" y="172"/>
                    </a:lnTo>
                    <a:lnTo>
                      <a:pt x="230" y="166"/>
                    </a:lnTo>
                    <a:lnTo>
                      <a:pt x="228" y="166"/>
                    </a:lnTo>
                    <a:lnTo>
                      <a:pt x="224" y="168"/>
                    </a:lnTo>
                    <a:lnTo>
                      <a:pt x="224" y="170"/>
                    </a:lnTo>
                    <a:lnTo>
                      <a:pt x="220" y="172"/>
                    </a:lnTo>
                    <a:lnTo>
                      <a:pt x="218" y="174"/>
                    </a:lnTo>
                    <a:lnTo>
                      <a:pt x="216" y="178"/>
                    </a:lnTo>
                    <a:lnTo>
                      <a:pt x="216" y="182"/>
                    </a:lnTo>
                    <a:lnTo>
                      <a:pt x="218" y="186"/>
                    </a:lnTo>
                    <a:lnTo>
                      <a:pt x="218" y="190"/>
                    </a:lnTo>
                    <a:lnTo>
                      <a:pt x="218" y="192"/>
                    </a:lnTo>
                    <a:lnTo>
                      <a:pt x="218" y="194"/>
                    </a:lnTo>
                    <a:lnTo>
                      <a:pt x="222" y="196"/>
                    </a:lnTo>
                    <a:lnTo>
                      <a:pt x="224" y="198"/>
                    </a:lnTo>
                    <a:lnTo>
                      <a:pt x="230" y="192"/>
                    </a:lnTo>
                    <a:lnTo>
                      <a:pt x="230" y="186"/>
                    </a:lnTo>
                    <a:lnTo>
                      <a:pt x="228" y="186"/>
                    </a:lnTo>
                    <a:lnTo>
                      <a:pt x="230" y="184"/>
                    </a:lnTo>
                    <a:lnTo>
                      <a:pt x="230" y="172"/>
                    </a:lnTo>
                    <a:close/>
                    <a:moveTo>
                      <a:pt x="198" y="40"/>
                    </a:moveTo>
                    <a:lnTo>
                      <a:pt x="198" y="40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90" y="40"/>
                    </a:lnTo>
                    <a:lnTo>
                      <a:pt x="184" y="40"/>
                    </a:lnTo>
                    <a:lnTo>
                      <a:pt x="184" y="34"/>
                    </a:lnTo>
                    <a:lnTo>
                      <a:pt x="182" y="34"/>
                    </a:lnTo>
                    <a:lnTo>
                      <a:pt x="182" y="32"/>
                    </a:lnTo>
                    <a:lnTo>
                      <a:pt x="178" y="30"/>
                    </a:lnTo>
                    <a:lnTo>
                      <a:pt x="174" y="34"/>
                    </a:lnTo>
                    <a:lnTo>
                      <a:pt x="172" y="32"/>
                    </a:lnTo>
                    <a:lnTo>
                      <a:pt x="166" y="32"/>
                    </a:lnTo>
                    <a:lnTo>
                      <a:pt x="164" y="28"/>
                    </a:lnTo>
                    <a:lnTo>
                      <a:pt x="162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2"/>
                    </a:lnTo>
                    <a:lnTo>
                      <a:pt x="152" y="24"/>
                    </a:lnTo>
                    <a:lnTo>
                      <a:pt x="146" y="24"/>
                    </a:lnTo>
                    <a:lnTo>
                      <a:pt x="146" y="18"/>
                    </a:lnTo>
                    <a:lnTo>
                      <a:pt x="144" y="16"/>
                    </a:lnTo>
                    <a:lnTo>
                      <a:pt x="142" y="14"/>
                    </a:lnTo>
                    <a:lnTo>
                      <a:pt x="136" y="14"/>
                    </a:lnTo>
                    <a:lnTo>
                      <a:pt x="132" y="12"/>
                    </a:lnTo>
                    <a:lnTo>
                      <a:pt x="126" y="1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0" y="4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6" y="14"/>
                    </a:lnTo>
                    <a:lnTo>
                      <a:pt x="106" y="20"/>
                    </a:lnTo>
                    <a:lnTo>
                      <a:pt x="104" y="22"/>
                    </a:lnTo>
                    <a:lnTo>
                      <a:pt x="98" y="24"/>
                    </a:lnTo>
                    <a:lnTo>
                      <a:pt x="92" y="24"/>
                    </a:lnTo>
                    <a:lnTo>
                      <a:pt x="82" y="32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2" y="34"/>
                    </a:lnTo>
                    <a:lnTo>
                      <a:pt x="76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58" y="30"/>
                    </a:lnTo>
                    <a:lnTo>
                      <a:pt x="56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4" y="34"/>
                    </a:lnTo>
                    <a:lnTo>
                      <a:pt x="56" y="38"/>
                    </a:lnTo>
                    <a:lnTo>
                      <a:pt x="58" y="40"/>
                    </a:lnTo>
                    <a:lnTo>
                      <a:pt x="58" y="46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38" y="48"/>
                    </a:lnTo>
                    <a:lnTo>
                      <a:pt x="38" y="54"/>
                    </a:lnTo>
                    <a:lnTo>
                      <a:pt x="36" y="52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4"/>
                    </a:lnTo>
                    <a:lnTo>
                      <a:pt x="26" y="72"/>
                    </a:lnTo>
                    <a:lnTo>
                      <a:pt x="32" y="72"/>
                    </a:lnTo>
                    <a:lnTo>
                      <a:pt x="38" y="76"/>
                    </a:lnTo>
                    <a:lnTo>
                      <a:pt x="48" y="76"/>
                    </a:lnTo>
                    <a:lnTo>
                      <a:pt x="40" y="80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6" y="92"/>
                    </a:lnTo>
                    <a:lnTo>
                      <a:pt x="52" y="96"/>
                    </a:lnTo>
                    <a:lnTo>
                      <a:pt x="58" y="96"/>
                    </a:lnTo>
                    <a:lnTo>
                      <a:pt x="58" y="106"/>
                    </a:lnTo>
                    <a:lnTo>
                      <a:pt x="62" y="114"/>
                    </a:lnTo>
                    <a:lnTo>
                      <a:pt x="66" y="124"/>
                    </a:lnTo>
                    <a:lnTo>
                      <a:pt x="58" y="114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32"/>
                    </a:lnTo>
                    <a:lnTo>
                      <a:pt x="54" y="134"/>
                    </a:lnTo>
                    <a:lnTo>
                      <a:pt x="52" y="144"/>
                    </a:lnTo>
                    <a:lnTo>
                      <a:pt x="52" y="146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48" y="152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52" y="160"/>
                    </a:lnTo>
                    <a:lnTo>
                      <a:pt x="52" y="162"/>
                    </a:lnTo>
                    <a:lnTo>
                      <a:pt x="50" y="164"/>
                    </a:lnTo>
                    <a:lnTo>
                      <a:pt x="60" y="164"/>
                    </a:lnTo>
                    <a:lnTo>
                      <a:pt x="64" y="168"/>
                    </a:lnTo>
                    <a:lnTo>
                      <a:pt x="66" y="166"/>
                    </a:lnTo>
                    <a:lnTo>
                      <a:pt x="68" y="166"/>
                    </a:lnTo>
                    <a:lnTo>
                      <a:pt x="72" y="170"/>
                    </a:lnTo>
                    <a:lnTo>
                      <a:pt x="78" y="170"/>
                    </a:lnTo>
                    <a:lnTo>
                      <a:pt x="78" y="172"/>
                    </a:lnTo>
                    <a:lnTo>
                      <a:pt x="84" y="172"/>
                    </a:lnTo>
                    <a:lnTo>
                      <a:pt x="84" y="168"/>
                    </a:lnTo>
                    <a:lnTo>
                      <a:pt x="86" y="166"/>
                    </a:lnTo>
                    <a:lnTo>
                      <a:pt x="90" y="166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6" y="170"/>
                    </a:lnTo>
                    <a:lnTo>
                      <a:pt x="96" y="172"/>
                    </a:lnTo>
                    <a:lnTo>
                      <a:pt x="104" y="172"/>
                    </a:lnTo>
                    <a:lnTo>
                      <a:pt x="104" y="174"/>
                    </a:lnTo>
                    <a:lnTo>
                      <a:pt x="104" y="176"/>
                    </a:lnTo>
                    <a:lnTo>
                      <a:pt x="112" y="176"/>
                    </a:lnTo>
                    <a:lnTo>
                      <a:pt x="112" y="178"/>
                    </a:lnTo>
                    <a:lnTo>
                      <a:pt x="118" y="178"/>
                    </a:lnTo>
                    <a:lnTo>
                      <a:pt x="118" y="176"/>
                    </a:lnTo>
                    <a:lnTo>
                      <a:pt x="118" y="174"/>
                    </a:lnTo>
                    <a:lnTo>
                      <a:pt x="122" y="174"/>
                    </a:lnTo>
                    <a:lnTo>
                      <a:pt x="122" y="170"/>
                    </a:lnTo>
                    <a:lnTo>
                      <a:pt x="126" y="164"/>
                    </a:lnTo>
                    <a:lnTo>
                      <a:pt x="130" y="160"/>
                    </a:lnTo>
                    <a:lnTo>
                      <a:pt x="132" y="158"/>
                    </a:lnTo>
                    <a:lnTo>
                      <a:pt x="134" y="156"/>
                    </a:lnTo>
                    <a:lnTo>
                      <a:pt x="138" y="154"/>
                    </a:lnTo>
                    <a:lnTo>
                      <a:pt x="140" y="152"/>
                    </a:lnTo>
                    <a:lnTo>
                      <a:pt x="144" y="152"/>
                    </a:lnTo>
                    <a:lnTo>
                      <a:pt x="146" y="154"/>
                    </a:lnTo>
                    <a:lnTo>
                      <a:pt x="150" y="154"/>
                    </a:lnTo>
                    <a:lnTo>
                      <a:pt x="152" y="156"/>
                    </a:lnTo>
                    <a:lnTo>
                      <a:pt x="162" y="156"/>
                    </a:lnTo>
                    <a:lnTo>
                      <a:pt x="166" y="160"/>
                    </a:lnTo>
                    <a:lnTo>
                      <a:pt x="166" y="162"/>
                    </a:lnTo>
                    <a:lnTo>
                      <a:pt x="170" y="162"/>
                    </a:lnTo>
                    <a:lnTo>
                      <a:pt x="172" y="164"/>
                    </a:lnTo>
                    <a:lnTo>
                      <a:pt x="178" y="164"/>
                    </a:lnTo>
                    <a:lnTo>
                      <a:pt x="182" y="162"/>
                    </a:lnTo>
                    <a:lnTo>
                      <a:pt x="184" y="160"/>
                    </a:lnTo>
                    <a:lnTo>
                      <a:pt x="186" y="154"/>
                    </a:lnTo>
                    <a:lnTo>
                      <a:pt x="192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200" y="144"/>
                    </a:lnTo>
                    <a:lnTo>
                      <a:pt x="200" y="142"/>
                    </a:lnTo>
                    <a:lnTo>
                      <a:pt x="198" y="140"/>
                    </a:lnTo>
                    <a:lnTo>
                      <a:pt x="192" y="140"/>
                    </a:lnTo>
                    <a:lnTo>
                      <a:pt x="188" y="138"/>
                    </a:lnTo>
                    <a:lnTo>
                      <a:pt x="186" y="136"/>
                    </a:lnTo>
                    <a:lnTo>
                      <a:pt x="186" y="134"/>
                    </a:lnTo>
                    <a:lnTo>
                      <a:pt x="188" y="132"/>
                    </a:lnTo>
                    <a:lnTo>
                      <a:pt x="190" y="130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0"/>
                    </a:lnTo>
                    <a:lnTo>
                      <a:pt x="188" y="120"/>
                    </a:lnTo>
                    <a:lnTo>
                      <a:pt x="192" y="116"/>
                    </a:lnTo>
                    <a:lnTo>
                      <a:pt x="192" y="114"/>
                    </a:lnTo>
                    <a:lnTo>
                      <a:pt x="186" y="108"/>
                    </a:lnTo>
                    <a:lnTo>
                      <a:pt x="188" y="106"/>
                    </a:lnTo>
                    <a:lnTo>
                      <a:pt x="190" y="106"/>
                    </a:lnTo>
                    <a:lnTo>
                      <a:pt x="190" y="104"/>
                    </a:lnTo>
                    <a:lnTo>
                      <a:pt x="186" y="100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2" y="94"/>
                    </a:lnTo>
                    <a:lnTo>
                      <a:pt x="176" y="100"/>
                    </a:lnTo>
                    <a:lnTo>
                      <a:pt x="174" y="100"/>
                    </a:lnTo>
                    <a:lnTo>
                      <a:pt x="174" y="98"/>
                    </a:lnTo>
                    <a:lnTo>
                      <a:pt x="176" y="96"/>
                    </a:lnTo>
                    <a:lnTo>
                      <a:pt x="174" y="94"/>
                    </a:lnTo>
                    <a:lnTo>
                      <a:pt x="178" y="92"/>
                    </a:lnTo>
                    <a:lnTo>
                      <a:pt x="178" y="88"/>
                    </a:lnTo>
                    <a:lnTo>
                      <a:pt x="182" y="86"/>
                    </a:lnTo>
                    <a:lnTo>
                      <a:pt x="182" y="82"/>
                    </a:lnTo>
                    <a:lnTo>
                      <a:pt x="186" y="82"/>
                    </a:lnTo>
                    <a:lnTo>
                      <a:pt x="188" y="80"/>
                    </a:lnTo>
                    <a:lnTo>
                      <a:pt x="190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8" y="76"/>
                    </a:lnTo>
                    <a:lnTo>
                      <a:pt x="198" y="72"/>
                    </a:lnTo>
                    <a:lnTo>
                      <a:pt x="198" y="60"/>
                    </a:lnTo>
                    <a:lnTo>
                      <a:pt x="200" y="58"/>
                    </a:lnTo>
                    <a:lnTo>
                      <a:pt x="202" y="56"/>
                    </a:lnTo>
                    <a:lnTo>
                      <a:pt x="204" y="54"/>
                    </a:lnTo>
                    <a:lnTo>
                      <a:pt x="204" y="50"/>
                    </a:lnTo>
                    <a:lnTo>
                      <a:pt x="208" y="46"/>
                    </a:lnTo>
                    <a:lnTo>
                      <a:pt x="210" y="42"/>
                    </a:lnTo>
                    <a:lnTo>
                      <a:pt x="204" y="40"/>
                    </a:lnTo>
                    <a:lnTo>
                      <a:pt x="198" y="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7" name="Fi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39F2A31-A30F-1800-2849-2946741850F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8048" y="1447232"/>
                <a:ext cx="283793" cy="322858"/>
              </a:xfrm>
              <a:custGeom>
                <a:avLst/>
                <a:gdLst>
                  <a:gd name="T0" fmla="*/ 2147483647 w 630"/>
                  <a:gd name="T1" fmla="*/ 2147483647 h 714"/>
                  <a:gd name="T2" fmla="*/ 2147483647 w 630"/>
                  <a:gd name="T3" fmla="*/ 2147483647 h 714"/>
                  <a:gd name="T4" fmla="*/ 2147483647 w 630"/>
                  <a:gd name="T5" fmla="*/ 2147483647 h 714"/>
                  <a:gd name="T6" fmla="*/ 2147483647 w 630"/>
                  <a:gd name="T7" fmla="*/ 2147483647 h 714"/>
                  <a:gd name="T8" fmla="*/ 2147483647 w 630"/>
                  <a:gd name="T9" fmla="*/ 2147483647 h 714"/>
                  <a:gd name="T10" fmla="*/ 2147483647 w 630"/>
                  <a:gd name="T11" fmla="*/ 2147483647 h 714"/>
                  <a:gd name="T12" fmla="*/ 2147483647 w 630"/>
                  <a:gd name="T13" fmla="*/ 2147483647 h 714"/>
                  <a:gd name="T14" fmla="*/ 2147483647 w 630"/>
                  <a:gd name="T15" fmla="*/ 2147483647 h 714"/>
                  <a:gd name="T16" fmla="*/ 2147483647 w 630"/>
                  <a:gd name="T17" fmla="*/ 2147483647 h 714"/>
                  <a:gd name="T18" fmla="*/ 2147483647 w 630"/>
                  <a:gd name="T19" fmla="*/ 2147483647 h 714"/>
                  <a:gd name="T20" fmla="*/ 2147483647 w 630"/>
                  <a:gd name="T21" fmla="*/ 2147483647 h 714"/>
                  <a:gd name="T22" fmla="*/ 2147483647 w 630"/>
                  <a:gd name="T23" fmla="*/ 2147483647 h 714"/>
                  <a:gd name="T24" fmla="*/ 2147483647 w 630"/>
                  <a:gd name="T25" fmla="*/ 2147483647 h 714"/>
                  <a:gd name="T26" fmla="*/ 2147483647 w 630"/>
                  <a:gd name="T27" fmla="*/ 2147483647 h 714"/>
                  <a:gd name="T28" fmla="*/ 2147483647 w 630"/>
                  <a:gd name="T29" fmla="*/ 2147483647 h 714"/>
                  <a:gd name="T30" fmla="*/ 2147483647 w 630"/>
                  <a:gd name="T31" fmla="*/ 2147483647 h 714"/>
                  <a:gd name="T32" fmla="*/ 2147483647 w 630"/>
                  <a:gd name="T33" fmla="*/ 2147483647 h 714"/>
                  <a:gd name="T34" fmla="*/ 2147483647 w 630"/>
                  <a:gd name="T35" fmla="*/ 2147483647 h 714"/>
                  <a:gd name="T36" fmla="*/ 2147483647 w 630"/>
                  <a:gd name="T37" fmla="*/ 2147483647 h 714"/>
                  <a:gd name="T38" fmla="*/ 2147483647 w 630"/>
                  <a:gd name="T39" fmla="*/ 2147483647 h 714"/>
                  <a:gd name="T40" fmla="*/ 2147483647 w 630"/>
                  <a:gd name="T41" fmla="*/ 2147483647 h 714"/>
                  <a:gd name="T42" fmla="*/ 2147483647 w 630"/>
                  <a:gd name="T43" fmla="*/ 2147483647 h 714"/>
                  <a:gd name="T44" fmla="*/ 2147483647 w 630"/>
                  <a:gd name="T45" fmla="*/ 2147483647 h 714"/>
                  <a:gd name="T46" fmla="*/ 2147483647 w 630"/>
                  <a:gd name="T47" fmla="*/ 2147483647 h 714"/>
                  <a:gd name="T48" fmla="*/ 2147483647 w 630"/>
                  <a:gd name="T49" fmla="*/ 2147483647 h 714"/>
                  <a:gd name="T50" fmla="*/ 2147483647 w 630"/>
                  <a:gd name="T51" fmla="*/ 2147483647 h 714"/>
                  <a:gd name="T52" fmla="*/ 2147483647 w 630"/>
                  <a:gd name="T53" fmla="*/ 2147483647 h 714"/>
                  <a:gd name="T54" fmla="*/ 2147483647 w 630"/>
                  <a:gd name="T55" fmla="*/ 2147483647 h 714"/>
                  <a:gd name="T56" fmla="*/ 2147483647 w 630"/>
                  <a:gd name="T57" fmla="*/ 2147483647 h 714"/>
                  <a:gd name="T58" fmla="*/ 2147483647 w 630"/>
                  <a:gd name="T59" fmla="*/ 2147483647 h 714"/>
                  <a:gd name="T60" fmla="*/ 2147483647 w 630"/>
                  <a:gd name="T61" fmla="*/ 2147483647 h 714"/>
                  <a:gd name="T62" fmla="*/ 2147483647 w 630"/>
                  <a:gd name="T63" fmla="*/ 2147483647 h 714"/>
                  <a:gd name="T64" fmla="*/ 2147483647 w 630"/>
                  <a:gd name="T65" fmla="*/ 2147483647 h 714"/>
                  <a:gd name="T66" fmla="*/ 2147483647 w 630"/>
                  <a:gd name="T67" fmla="*/ 2147483647 h 714"/>
                  <a:gd name="T68" fmla="*/ 2147483647 w 630"/>
                  <a:gd name="T69" fmla="*/ 2147483647 h 714"/>
                  <a:gd name="T70" fmla="*/ 2147483647 w 630"/>
                  <a:gd name="T71" fmla="*/ 2147483647 h 714"/>
                  <a:gd name="T72" fmla="*/ 2147483647 w 630"/>
                  <a:gd name="T73" fmla="*/ 2147483647 h 714"/>
                  <a:gd name="T74" fmla="*/ 2147483647 w 630"/>
                  <a:gd name="T75" fmla="*/ 2147483647 h 714"/>
                  <a:gd name="T76" fmla="*/ 2147483647 w 630"/>
                  <a:gd name="T77" fmla="*/ 2147483647 h 714"/>
                  <a:gd name="T78" fmla="*/ 2147483647 w 630"/>
                  <a:gd name="T79" fmla="*/ 2147483647 h 714"/>
                  <a:gd name="T80" fmla="*/ 2147483647 w 630"/>
                  <a:gd name="T81" fmla="*/ 2147483647 h 714"/>
                  <a:gd name="T82" fmla="*/ 2147483647 w 630"/>
                  <a:gd name="T83" fmla="*/ 2147483647 h 714"/>
                  <a:gd name="T84" fmla="*/ 2147483647 w 630"/>
                  <a:gd name="T85" fmla="*/ 2147483647 h 714"/>
                  <a:gd name="T86" fmla="*/ 2147483647 w 630"/>
                  <a:gd name="T87" fmla="*/ 2147483647 h 714"/>
                  <a:gd name="T88" fmla="*/ 2147483647 w 630"/>
                  <a:gd name="T89" fmla="*/ 2147483647 h 714"/>
                  <a:gd name="T90" fmla="*/ 2147483647 w 630"/>
                  <a:gd name="T91" fmla="*/ 2147483647 h 714"/>
                  <a:gd name="T92" fmla="*/ 2147483647 w 630"/>
                  <a:gd name="T93" fmla="*/ 2147483647 h 714"/>
                  <a:gd name="T94" fmla="*/ 2147483647 w 630"/>
                  <a:gd name="T95" fmla="*/ 2147483647 h 714"/>
                  <a:gd name="T96" fmla="*/ 2147483647 w 630"/>
                  <a:gd name="T97" fmla="*/ 2147483647 h 714"/>
                  <a:gd name="T98" fmla="*/ 2147483647 w 630"/>
                  <a:gd name="T99" fmla="*/ 2147483647 h 714"/>
                  <a:gd name="T100" fmla="*/ 2147483647 w 630"/>
                  <a:gd name="T101" fmla="*/ 2147483647 h 714"/>
                  <a:gd name="T102" fmla="*/ 2147483647 w 630"/>
                  <a:gd name="T103" fmla="*/ 2147483647 h 714"/>
                  <a:gd name="T104" fmla="*/ 2147483647 w 630"/>
                  <a:gd name="T105" fmla="*/ 2147483647 h 714"/>
                  <a:gd name="T106" fmla="*/ 2147483647 w 630"/>
                  <a:gd name="T107" fmla="*/ 0 h 714"/>
                  <a:gd name="T108" fmla="*/ 2147483647 w 630"/>
                  <a:gd name="T109" fmla="*/ 2147483647 h 714"/>
                  <a:gd name="T110" fmla="*/ 2147483647 w 630"/>
                  <a:gd name="T111" fmla="*/ 2147483647 h 714"/>
                  <a:gd name="T112" fmla="*/ 2147483647 w 630"/>
                  <a:gd name="T113" fmla="*/ 2147483647 h 714"/>
                  <a:gd name="T114" fmla="*/ 2147483647 w 630"/>
                  <a:gd name="T115" fmla="*/ 2147483647 h 714"/>
                  <a:gd name="T116" fmla="*/ 2147483647 w 630"/>
                  <a:gd name="T117" fmla="*/ 2147483647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714"/>
                  <a:gd name="T179" fmla="*/ 630 w 630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714">
                    <a:moveTo>
                      <a:pt x="162" y="84"/>
                    </a:moveTo>
                    <a:lnTo>
                      <a:pt x="156" y="90"/>
                    </a:lnTo>
                    <a:lnTo>
                      <a:pt x="144" y="96"/>
                    </a:lnTo>
                    <a:lnTo>
                      <a:pt x="132" y="96"/>
                    </a:lnTo>
                    <a:lnTo>
                      <a:pt x="126" y="90"/>
                    </a:lnTo>
                    <a:lnTo>
                      <a:pt x="108" y="90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2" y="72"/>
                    </a:lnTo>
                    <a:lnTo>
                      <a:pt x="60" y="66"/>
                    </a:lnTo>
                    <a:lnTo>
                      <a:pt x="54" y="54"/>
                    </a:lnTo>
                    <a:lnTo>
                      <a:pt x="48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6"/>
                    </a:lnTo>
                    <a:lnTo>
                      <a:pt x="60" y="96"/>
                    </a:lnTo>
                    <a:lnTo>
                      <a:pt x="72" y="108"/>
                    </a:lnTo>
                    <a:lnTo>
                      <a:pt x="108" y="108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56" y="132"/>
                    </a:lnTo>
                    <a:lnTo>
                      <a:pt x="162" y="132"/>
                    </a:lnTo>
                    <a:lnTo>
                      <a:pt x="162" y="156"/>
                    </a:lnTo>
                    <a:lnTo>
                      <a:pt x="156" y="162"/>
                    </a:lnTo>
                    <a:lnTo>
                      <a:pt x="156" y="168"/>
                    </a:lnTo>
                    <a:lnTo>
                      <a:pt x="168" y="174"/>
                    </a:lnTo>
                    <a:lnTo>
                      <a:pt x="162" y="198"/>
                    </a:lnTo>
                    <a:lnTo>
                      <a:pt x="186" y="210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68" y="240"/>
                    </a:lnTo>
                    <a:lnTo>
                      <a:pt x="168" y="246"/>
                    </a:lnTo>
                    <a:lnTo>
                      <a:pt x="180" y="258"/>
                    </a:lnTo>
                    <a:lnTo>
                      <a:pt x="192" y="264"/>
                    </a:lnTo>
                    <a:lnTo>
                      <a:pt x="198" y="270"/>
                    </a:lnTo>
                    <a:lnTo>
                      <a:pt x="210" y="306"/>
                    </a:lnTo>
                    <a:lnTo>
                      <a:pt x="222" y="294"/>
                    </a:lnTo>
                    <a:lnTo>
                      <a:pt x="228" y="294"/>
                    </a:lnTo>
                    <a:lnTo>
                      <a:pt x="234" y="300"/>
                    </a:lnTo>
                    <a:lnTo>
                      <a:pt x="246" y="300"/>
                    </a:lnTo>
                    <a:lnTo>
                      <a:pt x="270" y="324"/>
                    </a:lnTo>
                    <a:lnTo>
                      <a:pt x="270" y="336"/>
                    </a:lnTo>
                    <a:lnTo>
                      <a:pt x="276" y="348"/>
                    </a:lnTo>
                    <a:lnTo>
                      <a:pt x="276" y="354"/>
                    </a:lnTo>
                    <a:lnTo>
                      <a:pt x="264" y="348"/>
                    </a:lnTo>
                    <a:lnTo>
                      <a:pt x="246" y="348"/>
                    </a:lnTo>
                    <a:lnTo>
                      <a:pt x="240" y="354"/>
                    </a:lnTo>
                    <a:lnTo>
                      <a:pt x="234" y="366"/>
                    </a:lnTo>
                    <a:lnTo>
                      <a:pt x="228" y="372"/>
                    </a:lnTo>
                    <a:lnTo>
                      <a:pt x="222" y="384"/>
                    </a:lnTo>
                    <a:lnTo>
                      <a:pt x="216" y="390"/>
                    </a:lnTo>
                    <a:lnTo>
                      <a:pt x="180" y="420"/>
                    </a:lnTo>
                    <a:lnTo>
                      <a:pt x="144" y="432"/>
                    </a:lnTo>
                    <a:lnTo>
                      <a:pt x="138" y="438"/>
                    </a:lnTo>
                    <a:lnTo>
                      <a:pt x="126" y="444"/>
                    </a:lnTo>
                    <a:lnTo>
                      <a:pt x="120" y="456"/>
                    </a:lnTo>
                    <a:lnTo>
                      <a:pt x="120" y="462"/>
                    </a:lnTo>
                    <a:lnTo>
                      <a:pt x="108" y="474"/>
                    </a:lnTo>
                    <a:lnTo>
                      <a:pt x="90" y="474"/>
                    </a:lnTo>
                    <a:lnTo>
                      <a:pt x="66" y="504"/>
                    </a:lnTo>
                    <a:lnTo>
                      <a:pt x="66" y="534"/>
                    </a:lnTo>
                    <a:lnTo>
                      <a:pt x="72" y="540"/>
                    </a:lnTo>
                    <a:lnTo>
                      <a:pt x="72" y="570"/>
                    </a:lnTo>
                    <a:lnTo>
                      <a:pt x="96" y="588"/>
                    </a:lnTo>
                    <a:lnTo>
                      <a:pt x="96" y="594"/>
                    </a:lnTo>
                    <a:lnTo>
                      <a:pt x="90" y="600"/>
                    </a:lnTo>
                    <a:lnTo>
                      <a:pt x="90" y="612"/>
                    </a:lnTo>
                    <a:lnTo>
                      <a:pt x="84" y="630"/>
                    </a:lnTo>
                    <a:lnTo>
                      <a:pt x="84" y="648"/>
                    </a:lnTo>
                    <a:lnTo>
                      <a:pt x="90" y="654"/>
                    </a:lnTo>
                    <a:lnTo>
                      <a:pt x="96" y="666"/>
                    </a:lnTo>
                    <a:lnTo>
                      <a:pt x="108" y="678"/>
                    </a:lnTo>
                    <a:lnTo>
                      <a:pt x="132" y="690"/>
                    </a:lnTo>
                    <a:lnTo>
                      <a:pt x="174" y="690"/>
                    </a:lnTo>
                    <a:lnTo>
                      <a:pt x="174" y="696"/>
                    </a:lnTo>
                    <a:lnTo>
                      <a:pt x="168" y="702"/>
                    </a:lnTo>
                    <a:lnTo>
                      <a:pt x="168" y="708"/>
                    </a:lnTo>
                    <a:lnTo>
                      <a:pt x="174" y="714"/>
                    </a:lnTo>
                    <a:lnTo>
                      <a:pt x="240" y="714"/>
                    </a:lnTo>
                    <a:lnTo>
                      <a:pt x="252" y="708"/>
                    </a:lnTo>
                    <a:lnTo>
                      <a:pt x="270" y="708"/>
                    </a:lnTo>
                    <a:lnTo>
                      <a:pt x="300" y="696"/>
                    </a:lnTo>
                    <a:lnTo>
                      <a:pt x="336" y="696"/>
                    </a:lnTo>
                    <a:lnTo>
                      <a:pt x="384" y="672"/>
                    </a:lnTo>
                    <a:lnTo>
                      <a:pt x="462" y="672"/>
                    </a:lnTo>
                    <a:lnTo>
                      <a:pt x="456" y="660"/>
                    </a:lnTo>
                    <a:lnTo>
                      <a:pt x="516" y="630"/>
                    </a:lnTo>
                    <a:lnTo>
                      <a:pt x="576" y="570"/>
                    </a:lnTo>
                    <a:lnTo>
                      <a:pt x="582" y="570"/>
                    </a:lnTo>
                    <a:lnTo>
                      <a:pt x="618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30" y="504"/>
                    </a:lnTo>
                    <a:lnTo>
                      <a:pt x="624" y="492"/>
                    </a:lnTo>
                    <a:lnTo>
                      <a:pt x="618" y="486"/>
                    </a:lnTo>
                    <a:lnTo>
                      <a:pt x="612" y="474"/>
                    </a:lnTo>
                    <a:lnTo>
                      <a:pt x="540" y="438"/>
                    </a:lnTo>
                    <a:lnTo>
                      <a:pt x="546" y="438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52" y="396"/>
                    </a:lnTo>
                    <a:lnTo>
                      <a:pt x="528" y="390"/>
                    </a:lnTo>
                    <a:lnTo>
                      <a:pt x="534" y="378"/>
                    </a:lnTo>
                    <a:lnTo>
                      <a:pt x="540" y="372"/>
                    </a:lnTo>
                    <a:lnTo>
                      <a:pt x="540" y="366"/>
                    </a:lnTo>
                    <a:lnTo>
                      <a:pt x="534" y="360"/>
                    </a:lnTo>
                    <a:lnTo>
                      <a:pt x="528" y="360"/>
                    </a:lnTo>
                    <a:lnTo>
                      <a:pt x="522" y="354"/>
                    </a:lnTo>
                    <a:lnTo>
                      <a:pt x="510" y="354"/>
                    </a:lnTo>
                    <a:lnTo>
                      <a:pt x="510" y="342"/>
                    </a:lnTo>
                    <a:lnTo>
                      <a:pt x="498" y="330"/>
                    </a:lnTo>
                    <a:lnTo>
                      <a:pt x="504" y="300"/>
                    </a:lnTo>
                    <a:lnTo>
                      <a:pt x="510" y="300"/>
                    </a:lnTo>
                    <a:lnTo>
                      <a:pt x="522" y="306"/>
                    </a:lnTo>
                    <a:lnTo>
                      <a:pt x="534" y="306"/>
                    </a:lnTo>
                    <a:lnTo>
                      <a:pt x="540" y="300"/>
                    </a:lnTo>
                    <a:lnTo>
                      <a:pt x="540" y="294"/>
                    </a:lnTo>
                    <a:lnTo>
                      <a:pt x="534" y="288"/>
                    </a:lnTo>
                    <a:lnTo>
                      <a:pt x="522" y="282"/>
                    </a:lnTo>
                    <a:lnTo>
                      <a:pt x="498" y="258"/>
                    </a:lnTo>
                    <a:lnTo>
                      <a:pt x="486" y="252"/>
                    </a:lnTo>
                    <a:lnTo>
                      <a:pt x="480" y="240"/>
                    </a:lnTo>
                    <a:lnTo>
                      <a:pt x="468" y="234"/>
                    </a:lnTo>
                    <a:lnTo>
                      <a:pt x="450" y="216"/>
                    </a:lnTo>
                    <a:lnTo>
                      <a:pt x="456" y="210"/>
                    </a:lnTo>
                    <a:lnTo>
                      <a:pt x="468" y="204"/>
                    </a:lnTo>
                    <a:lnTo>
                      <a:pt x="474" y="204"/>
                    </a:lnTo>
                    <a:lnTo>
                      <a:pt x="474" y="192"/>
                    </a:lnTo>
                    <a:lnTo>
                      <a:pt x="480" y="192"/>
                    </a:lnTo>
                    <a:lnTo>
                      <a:pt x="492" y="186"/>
                    </a:lnTo>
                    <a:lnTo>
                      <a:pt x="498" y="186"/>
                    </a:lnTo>
                    <a:lnTo>
                      <a:pt x="498" y="174"/>
                    </a:lnTo>
                    <a:lnTo>
                      <a:pt x="450" y="126"/>
                    </a:lnTo>
                    <a:lnTo>
                      <a:pt x="432" y="126"/>
                    </a:lnTo>
                    <a:lnTo>
                      <a:pt x="426" y="132"/>
                    </a:lnTo>
                    <a:lnTo>
                      <a:pt x="420" y="132"/>
                    </a:lnTo>
                    <a:lnTo>
                      <a:pt x="414" y="126"/>
                    </a:lnTo>
                    <a:lnTo>
                      <a:pt x="414" y="120"/>
                    </a:lnTo>
                    <a:lnTo>
                      <a:pt x="408" y="108"/>
                    </a:lnTo>
                    <a:lnTo>
                      <a:pt x="408" y="96"/>
                    </a:lnTo>
                    <a:lnTo>
                      <a:pt x="426" y="96"/>
                    </a:lnTo>
                    <a:lnTo>
                      <a:pt x="426" y="90"/>
                    </a:lnTo>
                    <a:lnTo>
                      <a:pt x="414" y="78"/>
                    </a:lnTo>
                    <a:lnTo>
                      <a:pt x="420" y="54"/>
                    </a:lnTo>
                    <a:lnTo>
                      <a:pt x="426" y="54"/>
                    </a:lnTo>
                    <a:lnTo>
                      <a:pt x="426" y="60"/>
                    </a:lnTo>
                    <a:lnTo>
                      <a:pt x="432" y="60"/>
                    </a:lnTo>
                    <a:lnTo>
                      <a:pt x="432" y="42"/>
                    </a:lnTo>
                    <a:lnTo>
                      <a:pt x="426" y="30"/>
                    </a:lnTo>
                    <a:lnTo>
                      <a:pt x="414" y="18"/>
                    </a:lnTo>
                    <a:lnTo>
                      <a:pt x="408" y="18"/>
                    </a:lnTo>
                    <a:lnTo>
                      <a:pt x="372" y="12"/>
                    </a:lnTo>
                    <a:lnTo>
                      <a:pt x="372" y="0"/>
                    </a:lnTo>
                    <a:lnTo>
                      <a:pt x="336" y="0"/>
                    </a:lnTo>
                    <a:lnTo>
                      <a:pt x="324" y="6"/>
                    </a:lnTo>
                    <a:lnTo>
                      <a:pt x="294" y="6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64" y="18"/>
                    </a:lnTo>
                    <a:lnTo>
                      <a:pt x="264" y="30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28" y="8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204" y="90"/>
                    </a:lnTo>
                    <a:lnTo>
                      <a:pt x="192" y="84"/>
                    </a:lnTo>
                    <a:lnTo>
                      <a:pt x="162" y="8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8" name="Est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D671CD8-8ADE-FA1F-8E38-A524AE59B14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1780733"/>
                <a:ext cx="156086" cy="69184"/>
              </a:xfrm>
              <a:custGeom>
                <a:avLst/>
                <a:gdLst>
                  <a:gd name="T0" fmla="*/ 2147483647 w 348"/>
                  <a:gd name="T1" fmla="*/ 2147483647 h 156"/>
                  <a:gd name="T2" fmla="*/ 2147483647 w 348"/>
                  <a:gd name="T3" fmla="*/ 2147483647 h 156"/>
                  <a:gd name="T4" fmla="*/ 2147483647 w 348"/>
                  <a:gd name="T5" fmla="*/ 2147483647 h 156"/>
                  <a:gd name="T6" fmla="*/ 2147483647 w 348"/>
                  <a:gd name="T7" fmla="*/ 2147483647 h 156"/>
                  <a:gd name="T8" fmla="*/ 2147483647 w 348"/>
                  <a:gd name="T9" fmla="*/ 2147483647 h 156"/>
                  <a:gd name="T10" fmla="*/ 2147483647 w 348"/>
                  <a:gd name="T11" fmla="*/ 2147483647 h 156"/>
                  <a:gd name="T12" fmla="*/ 2147483647 w 348"/>
                  <a:gd name="T13" fmla="*/ 2147483647 h 156"/>
                  <a:gd name="T14" fmla="*/ 2147483647 w 348"/>
                  <a:gd name="T15" fmla="*/ 0 h 156"/>
                  <a:gd name="T16" fmla="*/ 2147483647 w 348"/>
                  <a:gd name="T17" fmla="*/ 2147483647 h 156"/>
                  <a:gd name="T18" fmla="*/ 2147483647 w 348"/>
                  <a:gd name="T19" fmla="*/ 2147483647 h 156"/>
                  <a:gd name="T20" fmla="*/ 2147483647 w 348"/>
                  <a:gd name="T21" fmla="*/ 2147483647 h 156"/>
                  <a:gd name="T22" fmla="*/ 2147483647 w 348"/>
                  <a:gd name="T23" fmla="*/ 2147483647 h 156"/>
                  <a:gd name="T24" fmla="*/ 2147483647 w 348"/>
                  <a:gd name="T25" fmla="*/ 2147483647 h 156"/>
                  <a:gd name="T26" fmla="*/ 2147483647 w 348"/>
                  <a:gd name="T27" fmla="*/ 2147483647 h 156"/>
                  <a:gd name="T28" fmla="*/ 2147483647 w 348"/>
                  <a:gd name="T29" fmla="*/ 2147483647 h 156"/>
                  <a:gd name="T30" fmla="*/ 2147483647 w 348"/>
                  <a:gd name="T31" fmla="*/ 2147483647 h 156"/>
                  <a:gd name="T32" fmla="*/ 2147483647 w 348"/>
                  <a:gd name="T33" fmla="*/ 2147483647 h 156"/>
                  <a:gd name="T34" fmla="*/ 2147483647 w 348"/>
                  <a:gd name="T35" fmla="*/ 2147483647 h 156"/>
                  <a:gd name="T36" fmla="*/ 2147483647 w 348"/>
                  <a:gd name="T37" fmla="*/ 2147483647 h 156"/>
                  <a:gd name="T38" fmla="*/ 2147483647 w 348"/>
                  <a:gd name="T39" fmla="*/ 2147483647 h 156"/>
                  <a:gd name="T40" fmla="*/ 2147483647 w 348"/>
                  <a:gd name="T41" fmla="*/ 2147483647 h 156"/>
                  <a:gd name="T42" fmla="*/ 2147483647 w 348"/>
                  <a:gd name="T43" fmla="*/ 2147483647 h 156"/>
                  <a:gd name="T44" fmla="*/ 2147483647 w 348"/>
                  <a:gd name="T45" fmla="*/ 2147483647 h 156"/>
                  <a:gd name="T46" fmla="*/ 2147483647 w 348"/>
                  <a:gd name="T47" fmla="*/ 2147483647 h 156"/>
                  <a:gd name="T48" fmla="*/ 0 w 348"/>
                  <a:gd name="T49" fmla="*/ 2147483647 h 156"/>
                  <a:gd name="T50" fmla="*/ 2147483647 w 348"/>
                  <a:gd name="T51" fmla="*/ 2147483647 h 156"/>
                  <a:gd name="T52" fmla="*/ 2147483647 w 348"/>
                  <a:gd name="T53" fmla="*/ 2147483647 h 156"/>
                  <a:gd name="T54" fmla="*/ 2147483647 w 348"/>
                  <a:gd name="T55" fmla="*/ 2147483647 h 156"/>
                  <a:gd name="T56" fmla="*/ 2147483647 w 348"/>
                  <a:gd name="T57" fmla="*/ 2147483647 h 156"/>
                  <a:gd name="T58" fmla="*/ 2147483647 w 348"/>
                  <a:gd name="T59" fmla="*/ 2147483647 h 156"/>
                  <a:gd name="T60" fmla="*/ 2147483647 w 348"/>
                  <a:gd name="T61" fmla="*/ 2147483647 h 156"/>
                  <a:gd name="T62" fmla="*/ 2147483647 w 348"/>
                  <a:gd name="T63" fmla="*/ 2147483647 h 156"/>
                  <a:gd name="T64" fmla="*/ 2147483647 w 348"/>
                  <a:gd name="T65" fmla="*/ 2147483647 h 156"/>
                  <a:gd name="T66" fmla="*/ 2147483647 w 348"/>
                  <a:gd name="T67" fmla="*/ 2147483647 h 156"/>
                  <a:gd name="T68" fmla="*/ 2147483647 w 348"/>
                  <a:gd name="T69" fmla="*/ 2147483647 h 156"/>
                  <a:gd name="T70" fmla="*/ 2147483647 w 348"/>
                  <a:gd name="T71" fmla="*/ 2147483647 h 15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8"/>
                  <a:gd name="T109" fmla="*/ 0 h 156"/>
                  <a:gd name="T110" fmla="*/ 348 w 348"/>
                  <a:gd name="T111" fmla="*/ 156 h 15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8" h="156">
                    <a:moveTo>
                      <a:pt x="336" y="114"/>
                    </a:moveTo>
                    <a:lnTo>
                      <a:pt x="324" y="108"/>
                    </a:lnTo>
                    <a:lnTo>
                      <a:pt x="336" y="84"/>
                    </a:lnTo>
                    <a:lnTo>
                      <a:pt x="318" y="78"/>
                    </a:lnTo>
                    <a:lnTo>
                      <a:pt x="318" y="60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2" y="42"/>
                    </a:lnTo>
                    <a:lnTo>
                      <a:pt x="336" y="30"/>
                    </a:lnTo>
                    <a:lnTo>
                      <a:pt x="342" y="18"/>
                    </a:lnTo>
                    <a:lnTo>
                      <a:pt x="330" y="12"/>
                    </a:lnTo>
                    <a:lnTo>
                      <a:pt x="312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04" y="0"/>
                    </a:lnTo>
                    <a:lnTo>
                      <a:pt x="192" y="6"/>
                    </a:lnTo>
                    <a:lnTo>
                      <a:pt x="156" y="6"/>
                    </a:lnTo>
                    <a:lnTo>
                      <a:pt x="150" y="12"/>
                    </a:lnTo>
                    <a:lnTo>
                      <a:pt x="126" y="24"/>
                    </a:lnTo>
                    <a:lnTo>
                      <a:pt x="108" y="30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90" y="60"/>
                    </a:lnTo>
                    <a:lnTo>
                      <a:pt x="90" y="72"/>
                    </a:lnTo>
                    <a:lnTo>
                      <a:pt x="96" y="78"/>
                    </a:lnTo>
                    <a:lnTo>
                      <a:pt x="96" y="84"/>
                    </a:lnTo>
                    <a:lnTo>
                      <a:pt x="150" y="90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80" y="114"/>
                    </a:lnTo>
                    <a:lnTo>
                      <a:pt x="210" y="114"/>
                    </a:lnTo>
                    <a:lnTo>
                      <a:pt x="234" y="126"/>
                    </a:lnTo>
                    <a:lnTo>
                      <a:pt x="240" y="132"/>
                    </a:lnTo>
                    <a:lnTo>
                      <a:pt x="252" y="138"/>
                    </a:lnTo>
                    <a:lnTo>
                      <a:pt x="270" y="156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50"/>
                    </a:lnTo>
                    <a:lnTo>
                      <a:pt x="318" y="156"/>
                    </a:lnTo>
                    <a:lnTo>
                      <a:pt x="330" y="156"/>
                    </a:lnTo>
                    <a:lnTo>
                      <a:pt x="330" y="144"/>
                    </a:lnTo>
                    <a:lnTo>
                      <a:pt x="348" y="132"/>
                    </a:lnTo>
                    <a:lnTo>
                      <a:pt x="336" y="114"/>
                    </a:lnTo>
                    <a:close/>
                    <a:moveTo>
                      <a:pt x="36" y="78"/>
                    </a:moveTo>
                    <a:lnTo>
                      <a:pt x="6" y="78"/>
                    </a:lnTo>
                    <a:lnTo>
                      <a:pt x="0" y="84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18" y="132"/>
                    </a:lnTo>
                    <a:lnTo>
                      <a:pt x="24" y="126"/>
                    </a:lnTo>
                    <a:lnTo>
                      <a:pt x="30" y="114"/>
                    </a:lnTo>
                    <a:lnTo>
                      <a:pt x="42" y="108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72" y="96"/>
                    </a:lnTo>
                    <a:lnTo>
                      <a:pt x="78" y="90"/>
                    </a:lnTo>
                    <a:lnTo>
                      <a:pt x="72" y="72"/>
                    </a:lnTo>
                    <a:lnTo>
                      <a:pt x="36" y="78"/>
                    </a:lnTo>
                    <a:close/>
                    <a:moveTo>
                      <a:pt x="36" y="66"/>
                    </a:moveTo>
                    <a:lnTo>
                      <a:pt x="48" y="66"/>
                    </a:lnTo>
                    <a:lnTo>
                      <a:pt x="54" y="54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36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24" y="60"/>
                    </a:lnTo>
                    <a:lnTo>
                      <a:pt x="30" y="66"/>
                    </a:lnTo>
                    <a:lnTo>
                      <a:pt x="36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59" name="Denmark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5D33D69-883A-6B69-F478-E8FD2657191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66519" y="1846368"/>
                <a:ext cx="124159" cy="106437"/>
              </a:xfrm>
              <a:custGeom>
                <a:avLst/>
                <a:gdLst>
                  <a:gd name="T0" fmla="*/ 2147483647 w 71"/>
                  <a:gd name="T1" fmla="*/ 2147483647 h 60"/>
                  <a:gd name="T2" fmla="*/ 2147483647 w 71"/>
                  <a:gd name="T3" fmla="*/ 2147483647 h 60"/>
                  <a:gd name="T4" fmla="*/ 2147483647 w 71"/>
                  <a:gd name="T5" fmla="*/ 2147483647 h 60"/>
                  <a:gd name="T6" fmla="*/ 2147483647 w 71"/>
                  <a:gd name="T7" fmla="*/ 2147483647 h 60"/>
                  <a:gd name="T8" fmla="*/ 2147483647 w 71"/>
                  <a:gd name="T9" fmla="*/ 2147483647 h 60"/>
                  <a:gd name="T10" fmla="*/ 2147483647 w 71"/>
                  <a:gd name="T11" fmla="*/ 2147483647 h 60"/>
                  <a:gd name="T12" fmla="*/ 2147483647 w 71"/>
                  <a:gd name="T13" fmla="*/ 2147483647 h 60"/>
                  <a:gd name="T14" fmla="*/ 2147483647 w 71"/>
                  <a:gd name="T15" fmla="*/ 2147483647 h 60"/>
                  <a:gd name="T16" fmla="*/ 2147483647 w 71"/>
                  <a:gd name="T17" fmla="*/ 2147483647 h 60"/>
                  <a:gd name="T18" fmla="*/ 2147483647 w 71"/>
                  <a:gd name="T19" fmla="*/ 2147483647 h 60"/>
                  <a:gd name="T20" fmla="*/ 2147483647 w 71"/>
                  <a:gd name="T21" fmla="*/ 2147483647 h 60"/>
                  <a:gd name="T22" fmla="*/ 2147483647 w 71"/>
                  <a:gd name="T23" fmla="*/ 2147483647 h 60"/>
                  <a:gd name="T24" fmla="*/ 2147483647 w 71"/>
                  <a:gd name="T25" fmla="*/ 2147483647 h 60"/>
                  <a:gd name="T26" fmla="*/ 2147483647 w 71"/>
                  <a:gd name="T27" fmla="*/ 2147483647 h 60"/>
                  <a:gd name="T28" fmla="*/ 2147483647 w 71"/>
                  <a:gd name="T29" fmla="*/ 2147483647 h 60"/>
                  <a:gd name="T30" fmla="*/ 2147483647 w 71"/>
                  <a:gd name="T31" fmla="*/ 2147483647 h 60"/>
                  <a:gd name="T32" fmla="*/ 2147483647 w 71"/>
                  <a:gd name="T33" fmla="*/ 2147483647 h 60"/>
                  <a:gd name="T34" fmla="*/ 2147483647 w 71"/>
                  <a:gd name="T35" fmla="*/ 2147483647 h 60"/>
                  <a:gd name="T36" fmla="*/ 2147483647 w 71"/>
                  <a:gd name="T37" fmla="*/ 2147483647 h 60"/>
                  <a:gd name="T38" fmla="*/ 2147483647 w 71"/>
                  <a:gd name="T39" fmla="*/ 2147483647 h 60"/>
                  <a:gd name="T40" fmla="*/ 2147483647 w 71"/>
                  <a:gd name="T41" fmla="*/ 2147483647 h 60"/>
                  <a:gd name="T42" fmla="*/ 2147483647 w 71"/>
                  <a:gd name="T43" fmla="*/ 2147483647 h 60"/>
                  <a:gd name="T44" fmla="*/ 2147483647 w 71"/>
                  <a:gd name="T45" fmla="*/ 2147483647 h 60"/>
                  <a:gd name="T46" fmla="*/ 2147483647 w 71"/>
                  <a:gd name="T47" fmla="*/ 2147483647 h 60"/>
                  <a:gd name="T48" fmla="*/ 2147483647 w 71"/>
                  <a:gd name="T49" fmla="*/ 2147483647 h 60"/>
                  <a:gd name="T50" fmla="*/ 2147483647 w 71"/>
                  <a:gd name="T51" fmla="*/ 2147483647 h 60"/>
                  <a:gd name="T52" fmla="*/ 2147483647 w 71"/>
                  <a:gd name="T53" fmla="*/ 2147483647 h 60"/>
                  <a:gd name="T54" fmla="*/ 2147483647 w 71"/>
                  <a:gd name="T55" fmla="*/ 2147483647 h 60"/>
                  <a:gd name="T56" fmla="*/ 2147483647 w 71"/>
                  <a:gd name="T57" fmla="*/ 2147483647 h 60"/>
                  <a:gd name="T58" fmla="*/ 2147483647 w 71"/>
                  <a:gd name="T59" fmla="*/ 2147483647 h 60"/>
                  <a:gd name="T60" fmla="*/ 2147483647 w 71"/>
                  <a:gd name="T61" fmla="*/ 2147483647 h 60"/>
                  <a:gd name="T62" fmla="*/ 2147483647 w 71"/>
                  <a:gd name="T63" fmla="*/ 0 h 60"/>
                  <a:gd name="T64" fmla="*/ 2147483647 w 71"/>
                  <a:gd name="T65" fmla="*/ 2147483647 h 60"/>
                  <a:gd name="T66" fmla="*/ 2147483647 w 71"/>
                  <a:gd name="T67" fmla="*/ 2147483647 h 60"/>
                  <a:gd name="T68" fmla="*/ 2147483647 w 71"/>
                  <a:gd name="T69" fmla="*/ 2147483647 h 60"/>
                  <a:gd name="T70" fmla="*/ 2147483647 w 71"/>
                  <a:gd name="T71" fmla="*/ 2147483647 h 60"/>
                  <a:gd name="T72" fmla="*/ 2147483647 w 71"/>
                  <a:gd name="T73" fmla="*/ 2147483647 h 60"/>
                  <a:gd name="T74" fmla="*/ 2147483647 w 71"/>
                  <a:gd name="T75" fmla="*/ 2147483647 h 60"/>
                  <a:gd name="T76" fmla="*/ 2147483647 w 71"/>
                  <a:gd name="T77" fmla="*/ 2147483647 h 60"/>
                  <a:gd name="T78" fmla="*/ 2147483647 w 71"/>
                  <a:gd name="T79" fmla="*/ 2147483647 h 60"/>
                  <a:gd name="T80" fmla="*/ 2147483647 w 71"/>
                  <a:gd name="T81" fmla="*/ 2147483647 h 60"/>
                  <a:gd name="T82" fmla="*/ 0 w 71"/>
                  <a:gd name="T83" fmla="*/ 2147483647 h 60"/>
                  <a:gd name="T84" fmla="*/ 0 w 71"/>
                  <a:gd name="T85" fmla="*/ 2147483647 h 60"/>
                  <a:gd name="T86" fmla="*/ 2147483647 w 71"/>
                  <a:gd name="T87" fmla="*/ 2147483647 h 60"/>
                  <a:gd name="T88" fmla="*/ 2147483647 w 71"/>
                  <a:gd name="T89" fmla="*/ 2147483647 h 60"/>
                  <a:gd name="T90" fmla="*/ 2147483647 w 71"/>
                  <a:gd name="T91" fmla="*/ 2147483647 h 60"/>
                  <a:gd name="T92" fmla="*/ 2147483647 w 71"/>
                  <a:gd name="T93" fmla="*/ 2147483647 h 60"/>
                  <a:gd name="T94" fmla="*/ 2147483647 w 71"/>
                  <a:gd name="T95" fmla="*/ 2147483647 h 60"/>
                  <a:gd name="T96" fmla="*/ 2147483647 w 71"/>
                  <a:gd name="T97" fmla="*/ 2147483647 h 60"/>
                  <a:gd name="T98" fmla="*/ 2147483647 w 71"/>
                  <a:gd name="T99" fmla="*/ 2147483647 h 60"/>
                  <a:gd name="T100" fmla="*/ 2147483647 w 71"/>
                  <a:gd name="T101" fmla="*/ 2147483647 h 60"/>
                  <a:gd name="T102" fmla="*/ 2147483647 w 71"/>
                  <a:gd name="T103" fmla="*/ 2147483647 h 60"/>
                  <a:gd name="T104" fmla="*/ 2147483647 w 71"/>
                  <a:gd name="T105" fmla="*/ 2147483647 h 60"/>
                  <a:gd name="T106" fmla="*/ 2147483647 w 71"/>
                  <a:gd name="T107" fmla="*/ 2147483647 h 60"/>
                  <a:gd name="T108" fmla="*/ 2147483647 w 71"/>
                  <a:gd name="T109" fmla="*/ 2147483647 h 60"/>
                  <a:gd name="T110" fmla="*/ 2147483647 w 71"/>
                  <a:gd name="T111" fmla="*/ 2147483647 h 60"/>
                  <a:gd name="T112" fmla="*/ 2147483647 w 71"/>
                  <a:gd name="T113" fmla="*/ 2147483647 h 60"/>
                  <a:gd name="T114" fmla="*/ 2147483647 w 71"/>
                  <a:gd name="T115" fmla="*/ 2147483647 h 60"/>
                  <a:gd name="T116" fmla="*/ 2147483647 w 71"/>
                  <a:gd name="T117" fmla="*/ 2147483647 h 60"/>
                  <a:gd name="T118" fmla="*/ 2147483647 w 71"/>
                  <a:gd name="T119" fmla="*/ 2147483647 h 60"/>
                  <a:gd name="T120" fmla="*/ 2147483647 w 71"/>
                  <a:gd name="T121" fmla="*/ 2147483647 h 6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1"/>
                  <a:gd name="T184" fmla="*/ 0 h 60"/>
                  <a:gd name="T185" fmla="*/ 71 w 71"/>
                  <a:gd name="T186" fmla="*/ 60 h 6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1" h="60">
                    <a:moveTo>
                      <a:pt x="62" y="48"/>
                    </a:moveTo>
                    <a:lnTo>
                      <a:pt x="67" y="46"/>
                    </a:lnTo>
                    <a:lnTo>
                      <a:pt x="69" y="46"/>
                    </a:lnTo>
                    <a:lnTo>
                      <a:pt x="69" y="43"/>
                    </a:lnTo>
                    <a:lnTo>
                      <a:pt x="67" y="43"/>
                    </a:lnTo>
                    <a:lnTo>
                      <a:pt x="62" y="41"/>
                    </a:lnTo>
                    <a:lnTo>
                      <a:pt x="62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7" y="34"/>
                    </a:lnTo>
                    <a:lnTo>
                      <a:pt x="67" y="29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60" y="31"/>
                    </a:lnTo>
                    <a:lnTo>
                      <a:pt x="60" y="34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45" y="38"/>
                    </a:lnTo>
                    <a:lnTo>
                      <a:pt x="48" y="38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60" y="53"/>
                    </a:lnTo>
                    <a:lnTo>
                      <a:pt x="60" y="55"/>
                    </a:lnTo>
                    <a:lnTo>
                      <a:pt x="62" y="55"/>
                    </a:lnTo>
                    <a:lnTo>
                      <a:pt x="62" y="53"/>
                    </a:lnTo>
                    <a:lnTo>
                      <a:pt x="62" y="48"/>
                    </a:lnTo>
                    <a:close/>
                    <a:moveTo>
                      <a:pt x="71" y="53"/>
                    </a:moveTo>
                    <a:lnTo>
                      <a:pt x="62" y="55"/>
                    </a:lnTo>
                    <a:lnTo>
                      <a:pt x="60" y="58"/>
                    </a:lnTo>
                    <a:lnTo>
                      <a:pt x="57" y="58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0" y="53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2" y="58"/>
                    </a:lnTo>
                    <a:lnTo>
                      <a:pt x="55" y="60"/>
                    </a:lnTo>
                    <a:lnTo>
                      <a:pt x="57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9" y="58"/>
                    </a:lnTo>
                    <a:lnTo>
                      <a:pt x="71" y="58"/>
                    </a:lnTo>
                    <a:lnTo>
                      <a:pt x="71" y="53"/>
                    </a:lnTo>
                    <a:close/>
                    <a:moveTo>
                      <a:pt x="31" y="12"/>
                    </a:moveTo>
                    <a:lnTo>
                      <a:pt x="36" y="7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26" y="0"/>
                    </a:lnTo>
                    <a:lnTo>
                      <a:pt x="26" y="3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9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2" y="22"/>
                    </a:lnTo>
                    <a:lnTo>
                      <a:pt x="5" y="19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5" y="43"/>
                    </a:lnTo>
                    <a:lnTo>
                      <a:pt x="7" y="43"/>
                    </a:lnTo>
                    <a:lnTo>
                      <a:pt x="7" y="48"/>
                    </a:lnTo>
                    <a:lnTo>
                      <a:pt x="5" y="53"/>
                    </a:lnTo>
                    <a:lnTo>
                      <a:pt x="7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4" y="55"/>
                    </a:lnTo>
                    <a:lnTo>
                      <a:pt x="26" y="58"/>
                    </a:lnTo>
                    <a:lnTo>
                      <a:pt x="26" y="55"/>
                    </a:lnTo>
                    <a:lnTo>
                      <a:pt x="24" y="53"/>
                    </a:lnTo>
                    <a:lnTo>
                      <a:pt x="24" y="48"/>
                    </a:lnTo>
                    <a:lnTo>
                      <a:pt x="26" y="43"/>
                    </a:lnTo>
                    <a:lnTo>
                      <a:pt x="24" y="41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31" y="34"/>
                    </a:lnTo>
                    <a:lnTo>
                      <a:pt x="33" y="26"/>
                    </a:lnTo>
                    <a:lnTo>
                      <a:pt x="38" y="26"/>
                    </a:lnTo>
                    <a:lnTo>
                      <a:pt x="41" y="19"/>
                    </a:lnTo>
                    <a:lnTo>
                      <a:pt x="31" y="19"/>
                    </a:lnTo>
                    <a:lnTo>
                      <a:pt x="31" y="12"/>
                    </a:lnTo>
                    <a:close/>
                    <a:moveTo>
                      <a:pt x="29" y="38"/>
                    </a:moveTo>
                    <a:lnTo>
                      <a:pt x="31" y="48"/>
                    </a:lnTo>
                    <a:lnTo>
                      <a:pt x="36" y="53"/>
                    </a:lnTo>
                    <a:lnTo>
                      <a:pt x="38" y="46"/>
                    </a:lnTo>
                    <a:lnTo>
                      <a:pt x="33" y="41"/>
                    </a:lnTo>
                    <a:lnTo>
                      <a:pt x="29" y="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0" name="Czech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422263C-8548-6182-77D6-BE0F67E31B1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76489" y="2073433"/>
                <a:ext cx="189786" cy="86923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1" name="Cyp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8A0EF66-09CE-3724-D0FD-0DF87D29581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686643" y="2623355"/>
                <a:ext cx="67401" cy="39028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2" name="Croat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B197DB7-BD17-D36A-ADD9-6A84E9E9539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22606" y="2233088"/>
                <a:ext cx="164954" cy="124176"/>
              </a:xfrm>
              <a:custGeom>
                <a:avLst/>
                <a:gdLst>
                  <a:gd name="T0" fmla="*/ 2147483647 w 366"/>
                  <a:gd name="T1" fmla="*/ 2147483647 h 276"/>
                  <a:gd name="T2" fmla="*/ 2147483647 w 366"/>
                  <a:gd name="T3" fmla="*/ 2147483647 h 276"/>
                  <a:gd name="T4" fmla="*/ 2147483647 w 366"/>
                  <a:gd name="T5" fmla="*/ 2147483647 h 276"/>
                  <a:gd name="T6" fmla="*/ 2147483647 w 366"/>
                  <a:gd name="T7" fmla="*/ 2147483647 h 276"/>
                  <a:gd name="T8" fmla="*/ 2147483647 w 366"/>
                  <a:gd name="T9" fmla="*/ 2147483647 h 276"/>
                  <a:gd name="T10" fmla="*/ 2147483647 w 366"/>
                  <a:gd name="T11" fmla="*/ 2147483647 h 276"/>
                  <a:gd name="T12" fmla="*/ 2147483647 w 366"/>
                  <a:gd name="T13" fmla="*/ 2147483647 h 276"/>
                  <a:gd name="T14" fmla="*/ 2147483647 w 366"/>
                  <a:gd name="T15" fmla="*/ 2147483647 h 276"/>
                  <a:gd name="T16" fmla="*/ 2147483647 w 366"/>
                  <a:gd name="T17" fmla="*/ 2147483647 h 276"/>
                  <a:gd name="T18" fmla="*/ 2147483647 w 366"/>
                  <a:gd name="T19" fmla="*/ 2147483647 h 276"/>
                  <a:gd name="T20" fmla="*/ 2147483647 w 366"/>
                  <a:gd name="T21" fmla="*/ 2147483647 h 276"/>
                  <a:gd name="T22" fmla="*/ 2147483647 w 366"/>
                  <a:gd name="T23" fmla="*/ 0 h 276"/>
                  <a:gd name="T24" fmla="*/ 2147483647 w 366"/>
                  <a:gd name="T25" fmla="*/ 2147483647 h 276"/>
                  <a:gd name="T26" fmla="*/ 2147483647 w 366"/>
                  <a:gd name="T27" fmla="*/ 2147483647 h 276"/>
                  <a:gd name="T28" fmla="*/ 2147483647 w 366"/>
                  <a:gd name="T29" fmla="*/ 2147483647 h 276"/>
                  <a:gd name="T30" fmla="*/ 2147483647 w 366"/>
                  <a:gd name="T31" fmla="*/ 2147483647 h 276"/>
                  <a:gd name="T32" fmla="*/ 2147483647 w 366"/>
                  <a:gd name="T33" fmla="*/ 2147483647 h 276"/>
                  <a:gd name="T34" fmla="*/ 2147483647 w 366"/>
                  <a:gd name="T35" fmla="*/ 2147483647 h 276"/>
                  <a:gd name="T36" fmla="*/ 2147483647 w 366"/>
                  <a:gd name="T37" fmla="*/ 2147483647 h 276"/>
                  <a:gd name="T38" fmla="*/ 2147483647 w 366"/>
                  <a:gd name="T39" fmla="*/ 2147483647 h 276"/>
                  <a:gd name="T40" fmla="*/ 0 w 366"/>
                  <a:gd name="T41" fmla="*/ 2147483647 h 276"/>
                  <a:gd name="T42" fmla="*/ 2147483647 w 366"/>
                  <a:gd name="T43" fmla="*/ 2147483647 h 276"/>
                  <a:gd name="T44" fmla="*/ 2147483647 w 366"/>
                  <a:gd name="T45" fmla="*/ 2147483647 h 276"/>
                  <a:gd name="T46" fmla="*/ 2147483647 w 366"/>
                  <a:gd name="T47" fmla="*/ 2147483647 h 276"/>
                  <a:gd name="T48" fmla="*/ 2147483647 w 366"/>
                  <a:gd name="T49" fmla="*/ 2147483647 h 276"/>
                  <a:gd name="T50" fmla="*/ 2147483647 w 366"/>
                  <a:gd name="T51" fmla="*/ 2147483647 h 276"/>
                  <a:gd name="T52" fmla="*/ 2147483647 w 366"/>
                  <a:gd name="T53" fmla="*/ 2147483647 h 276"/>
                  <a:gd name="T54" fmla="*/ 2147483647 w 366"/>
                  <a:gd name="T55" fmla="*/ 2147483647 h 276"/>
                  <a:gd name="T56" fmla="*/ 2147483647 w 366"/>
                  <a:gd name="T57" fmla="*/ 2147483647 h 276"/>
                  <a:gd name="T58" fmla="*/ 2147483647 w 366"/>
                  <a:gd name="T59" fmla="*/ 2147483647 h 276"/>
                  <a:gd name="T60" fmla="*/ 2147483647 w 366"/>
                  <a:gd name="T61" fmla="*/ 2147483647 h 276"/>
                  <a:gd name="T62" fmla="*/ 2147483647 w 366"/>
                  <a:gd name="T63" fmla="*/ 2147483647 h 276"/>
                  <a:gd name="T64" fmla="*/ 2147483647 w 366"/>
                  <a:gd name="T65" fmla="*/ 2147483647 h 276"/>
                  <a:gd name="T66" fmla="*/ 2147483647 w 366"/>
                  <a:gd name="T67" fmla="*/ 2147483647 h 276"/>
                  <a:gd name="T68" fmla="*/ 2147483647 w 366"/>
                  <a:gd name="T69" fmla="*/ 2147483647 h 276"/>
                  <a:gd name="T70" fmla="*/ 2147483647 w 366"/>
                  <a:gd name="T71" fmla="*/ 2147483647 h 276"/>
                  <a:gd name="T72" fmla="*/ 2147483647 w 366"/>
                  <a:gd name="T73" fmla="*/ 2147483647 h 276"/>
                  <a:gd name="T74" fmla="*/ 2147483647 w 366"/>
                  <a:gd name="T75" fmla="*/ 2147483647 h 276"/>
                  <a:gd name="T76" fmla="*/ 2147483647 w 366"/>
                  <a:gd name="T77" fmla="*/ 2147483647 h 276"/>
                  <a:gd name="T78" fmla="*/ 2147483647 w 366"/>
                  <a:gd name="T79" fmla="*/ 2147483647 h 276"/>
                  <a:gd name="T80" fmla="*/ 2147483647 w 366"/>
                  <a:gd name="T81" fmla="*/ 2147483647 h 276"/>
                  <a:gd name="T82" fmla="*/ 2147483647 w 366"/>
                  <a:gd name="T83" fmla="*/ 2147483647 h 276"/>
                  <a:gd name="T84" fmla="*/ 2147483647 w 366"/>
                  <a:gd name="T85" fmla="*/ 2147483647 h 276"/>
                  <a:gd name="T86" fmla="*/ 2147483647 w 366"/>
                  <a:gd name="T87" fmla="*/ 2147483647 h 276"/>
                  <a:gd name="T88" fmla="*/ 2147483647 w 366"/>
                  <a:gd name="T89" fmla="*/ 2147483647 h 276"/>
                  <a:gd name="T90" fmla="*/ 2147483647 w 366"/>
                  <a:gd name="T91" fmla="*/ 2147483647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6"/>
                  <a:gd name="T139" fmla="*/ 0 h 276"/>
                  <a:gd name="T140" fmla="*/ 366 w 366"/>
                  <a:gd name="T141" fmla="*/ 276 h 27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6" h="276">
                    <a:moveTo>
                      <a:pt x="342" y="126"/>
                    </a:moveTo>
                    <a:lnTo>
                      <a:pt x="342" y="114"/>
                    </a:lnTo>
                    <a:lnTo>
                      <a:pt x="348" y="114"/>
                    </a:lnTo>
                    <a:lnTo>
                      <a:pt x="354" y="108"/>
                    </a:lnTo>
                    <a:lnTo>
                      <a:pt x="360" y="108"/>
                    </a:lnTo>
                    <a:lnTo>
                      <a:pt x="366" y="102"/>
                    </a:lnTo>
                    <a:lnTo>
                      <a:pt x="360" y="102"/>
                    </a:lnTo>
                    <a:lnTo>
                      <a:pt x="348" y="96"/>
                    </a:lnTo>
                    <a:lnTo>
                      <a:pt x="336" y="96"/>
                    </a:lnTo>
                    <a:lnTo>
                      <a:pt x="342" y="78"/>
                    </a:lnTo>
                    <a:lnTo>
                      <a:pt x="336" y="78"/>
                    </a:lnTo>
                    <a:lnTo>
                      <a:pt x="330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70" y="60"/>
                    </a:lnTo>
                    <a:lnTo>
                      <a:pt x="264" y="48"/>
                    </a:lnTo>
                    <a:lnTo>
                      <a:pt x="246" y="48"/>
                    </a:lnTo>
                    <a:lnTo>
                      <a:pt x="234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04" y="18"/>
                    </a:lnTo>
                    <a:lnTo>
                      <a:pt x="204" y="12"/>
                    </a:lnTo>
                    <a:lnTo>
                      <a:pt x="198" y="6"/>
                    </a:lnTo>
                    <a:lnTo>
                      <a:pt x="186" y="0"/>
                    </a:lnTo>
                    <a:lnTo>
                      <a:pt x="162" y="0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20" y="18"/>
                    </a:lnTo>
                    <a:lnTo>
                      <a:pt x="120" y="30"/>
                    </a:lnTo>
                    <a:lnTo>
                      <a:pt x="126" y="36"/>
                    </a:lnTo>
                    <a:lnTo>
                      <a:pt x="126" y="42"/>
                    </a:lnTo>
                    <a:lnTo>
                      <a:pt x="114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60" y="78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48" y="78"/>
                    </a:lnTo>
                    <a:lnTo>
                      <a:pt x="30" y="78"/>
                    </a:lnTo>
                    <a:lnTo>
                      <a:pt x="18" y="72"/>
                    </a:lnTo>
                    <a:lnTo>
                      <a:pt x="18" y="84"/>
                    </a:lnTo>
                    <a:lnTo>
                      <a:pt x="0" y="84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12" y="120"/>
                    </a:lnTo>
                    <a:lnTo>
                      <a:pt x="24" y="114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14"/>
                    </a:lnTo>
                    <a:lnTo>
                      <a:pt x="48" y="132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44"/>
                    </a:lnTo>
                    <a:lnTo>
                      <a:pt x="72" y="150"/>
                    </a:lnTo>
                    <a:lnTo>
                      <a:pt x="84" y="162"/>
                    </a:lnTo>
                    <a:lnTo>
                      <a:pt x="96" y="168"/>
                    </a:lnTo>
                    <a:lnTo>
                      <a:pt x="96" y="180"/>
                    </a:lnTo>
                    <a:lnTo>
                      <a:pt x="144" y="216"/>
                    </a:lnTo>
                    <a:lnTo>
                      <a:pt x="144" y="240"/>
                    </a:lnTo>
                    <a:lnTo>
                      <a:pt x="198" y="240"/>
                    </a:lnTo>
                    <a:lnTo>
                      <a:pt x="210" y="246"/>
                    </a:lnTo>
                    <a:lnTo>
                      <a:pt x="216" y="252"/>
                    </a:lnTo>
                    <a:lnTo>
                      <a:pt x="216" y="276"/>
                    </a:lnTo>
                    <a:lnTo>
                      <a:pt x="246" y="276"/>
                    </a:lnTo>
                    <a:lnTo>
                      <a:pt x="252" y="270"/>
                    </a:lnTo>
                    <a:lnTo>
                      <a:pt x="252" y="264"/>
                    </a:lnTo>
                    <a:lnTo>
                      <a:pt x="246" y="252"/>
                    </a:lnTo>
                    <a:lnTo>
                      <a:pt x="234" y="246"/>
                    </a:lnTo>
                    <a:lnTo>
                      <a:pt x="216" y="234"/>
                    </a:lnTo>
                    <a:lnTo>
                      <a:pt x="204" y="228"/>
                    </a:lnTo>
                    <a:lnTo>
                      <a:pt x="192" y="216"/>
                    </a:lnTo>
                    <a:lnTo>
                      <a:pt x="180" y="186"/>
                    </a:lnTo>
                    <a:lnTo>
                      <a:pt x="162" y="180"/>
                    </a:lnTo>
                    <a:lnTo>
                      <a:pt x="162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50" y="144"/>
                    </a:lnTo>
                    <a:lnTo>
                      <a:pt x="132" y="138"/>
                    </a:lnTo>
                    <a:lnTo>
                      <a:pt x="120" y="126"/>
                    </a:lnTo>
                    <a:lnTo>
                      <a:pt x="138" y="120"/>
                    </a:lnTo>
                    <a:lnTo>
                      <a:pt x="138" y="96"/>
                    </a:lnTo>
                    <a:lnTo>
                      <a:pt x="144" y="96"/>
                    </a:lnTo>
                    <a:lnTo>
                      <a:pt x="150" y="102"/>
                    </a:lnTo>
                    <a:lnTo>
                      <a:pt x="162" y="108"/>
                    </a:lnTo>
                    <a:lnTo>
                      <a:pt x="186" y="102"/>
                    </a:lnTo>
                    <a:lnTo>
                      <a:pt x="210" y="102"/>
                    </a:lnTo>
                    <a:lnTo>
                      <a:pt x="228" y="108"/>
                    </a:lnTo>
                    <a:lnTo>
                      <a:pt x="240" y="102"/>
                    </a:lnTo>
                    <a:lnTo>
                      <a:pt x="252" y="102"/>
                    </a:lnTo>
                    <a:lnTo>
                      <a:pt x="258" y="108"/>
                    </a:lnTo>
                    <a:lnTo>
                      <a:pt x="312" y="108"/>
                    </a:lnTo>
                    <a:lnTo>
                      <a:pt x="324" y="126"/>
                    </a:lnTo>
                    <a:lnTo>
                      <a:pt x="342" y="1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3" name="Bulga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4679A17-7F7F-D1B7-465C-5866FDDFBFE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8019" y="2316463"/>
                <a:ext cx="177370" cy="101116"/>
              </a:xfrm>
              <a:custGeom>
                <a:avLst/>
                <a:gdLst>
                  <a:gd name="T0" fmla="*/ 2147483647 w 396"/>
                  <a:gd name="T1" fmla="*/ 2147483647 h 228"/>
                  <a:gd name="T2" fmla="*/ 2147483647 w 396"/>
                  <a:gd name="T3" fmla="*/ 2147483647 h 228"/>
                  <a:gd name="T4" fmla="*/ 2147483647 w 396"/>
                  <a:gd name="T5" fmla="*/ 2147483647 h 228"/>
                  <a:gd name="T6" fmla="*/ 2147483647 w 396"/>
                  <a:gd name="T7" fmla="*/ 2147483647 h 228"/>
                  <a:gd name="T8" fmla="*/ 2147483647 w 396"/>
                  <a:gd name="T9" fmla="*/ 2147483647 h 228"/>
                  <a:gd name="T10" fmla="*/ 2147483647 w 396"/>
                  <a:gd name="T11" fmla="*/ 2147483647 h 228"/>
                  <a:gd name="T12" fmla="*/ 2147483647 w 396"/>
                  <a:gd name="T13" fmla="*/ 2147483647 h 228"/>
                  <a:gd name="T14" fmla="*/ 2147483647 w 396"/>
                  <a:gd name="T15" fmla="*/ 0 h 228"/>
                  <a:gd name="T16" fmla="*/ 2147483647 w 396"/>
                  <a:gd name="T17" fmla="*/ 2147483647 h 228"/>
                  <a:gd name="T18" fmla="*/ 2147483647 w 396"/>
                  <a:gd name="T19" fmla="*/ 2147483647 h 228"/>
                  <a:gd name="T20" fmla="*/ 2147483647 w 396"/>
                  <a:gd name="T21" fmla="*/ 2147483647 h 228"/>
                  <a:gd name="T22" fmla="*/ 2147483647 w 396"/>
                  <a:gd name="T23" fmla="*/ 2147483647 h 228"/>
                  <a:gd name="T24" fmla="*/ 2147483647 w 396"/>
                  <a:gd name="T25" fmla="*/ 2147483647 h 228"/>
                  <a:gd name="T26" fmla="*/ 2147483647 w 396"/>
                  <a:gd name="T27" fmla="*/ 2147483647 h 228"/>
                  <a:gd name="T28" fmla="*/ 2147483647 w 396"/>
                  <a:gd name="T29" fmla="*/ 2147483647 h 228"/>
                  <a:gd name="T30" fmla="*/ 2147483647 w 396"/>
                  <a:gd name="T31" fmla="*/ 2147483647 h 228"/>
                  <a:gd name="T32" fmla="*/ 2147483647 w 396"/>
                  <a:gd name="T33" fmla="*/ 2147483647 h 228"/>
                  <a:gd name="T34" fmla="*/ 2147483647 w 396"/>
                  <a:gd name="T35" fmla="*/ 2147483647 h 228"/>
                  <a:gd name="T36" fmla="*/ 2147483647 w 396"/>
                  <a:gd name="T37" fmla="*/ 2147483647 h 228"/>
                  <a:gd name="T38" fmla="*/ 2147483647 w 396"/>
                  <a:gd name="T39" fmla="*/ 2147483647 h 228"/>
                  <a:gd name="T40" fmla="*/ 2147483647 w 396"/>
                  <a:gd name="T41" fmla="*/ 2147483647 h 228"/>
                  <a:gd name="T42" fmla="*/ 2147483647 w 396"/>
                  <a:gd name="T43" fmla="*/ 0 h 228"/>
                  <a:gd name="T44" fmla="*/ 0 w 396"/>
                  <a:gd name="T45" fmla="*/ 2147483647 h 228"/>
                  <a:gd name="T46" fmla="*/ 2147483647 w 396"/>
                  <a:gd name="T47" fmla="*/ 2147483647 h 228"/>
                  <a:gd name="T48" fmla="*/ 2147483647 w 396"/>
                  <a:gd name="T49" fmla="*/ 2147483647 h 228"/>
                  <a:gd name="T50" fmla="*/ 2147483647 w 396"/>
                  <a:gd name="T51" fmla="*/ 2147483647 h 228"/>
                  <a:gd name="T52" fmla="*/ 2147483647 w 396"/>
                  <a:gd name="T53" fmla="*/ 2147483647 h 228"/>
                  <a:gd name="T54" fmla="*/ 2147483647 w 396"/>
                  <a:gd name="T55" fmla="*/ 2147483647 h 228"/>
                  <a:gd name="T56" fmla="*/ 0 w 396"/>
                  <a:gd name="T57" fmla="*/ 2147483647 h 228"/>
                  <a:gd name="T58" fmla="*/ 2147483647 w 396"/>
                  <a:gd name="T59" fmla="*/ 2147483647 h 228"/>
                  <a:gd name="T60" fmla="*/ 2147483647 w 396"/>
                  <a:gd name="T61" fmla="*/ 2147483647 h 228"/>
                  <a:gd name="T62" fmla="*/ 2147483647 w 396"/>
                  <a:gd name="T63" fmla="*/ 2147483647 h 228"/>
                  <a:gd name="T64" fmla="*/ 2147483647 w 396"/>
                  <a:gd name="T65" fmla="*/ 2147483647 h 228"/>
                  <a:gd name="T66" fmla="*/ 2147483647 w 396"/>
                  <a:gd name="T67" fmla="*/ 2147483647 h 228"/>
                  <a:gd name="T68" fmla="*/ 2147483647 w 396"/>
                  <a:gd name="T69" fmla="*/ 2147483647 h 228"/>
                  <a:gd name="T70" fmla="*/ 2147483647 w 396"/>
                  <a:gd name="T71" fmla="*/ 2147483647 h 228"/>
                  <a:gd name="T72" fmla="*/ 2147483647 w 396"/>
                  <a:gd name="T73" fmla="*/ 2147483647 h 228"/>
                  <a:gd name="T74" fmla="*/ 2147483647 w 396"/>
                  <a:gd name="T75" fmla="*/ 2147483647 h 228"/>
                  <a:gd name="T76" fmla="*/ 2147483647 w 396"/>
                  <a:gd name="T77" fmla="*/ 2147483647 h 228"/>
                  <a:gd name="T78" fmla="*/ 2147483647 w 396"/>
                  <a:gd name="T79" fmla="*/ 2147483647 h 228"/>
                  <a:gd name="T80" fmla="*/ 2147483647 w 396"/>
                  <a:gd name="T81" fmla="*/ 2147483647 h 228"/>
                  <a:gd name="T82" fmla="*/ 2147483647 w 396"/>
                  <a:gd name="T83" fmla="*/ 2147483647 h 228"/>
                  <a:gd name="T84" fmla="*/ 2147483647 w 396"/>
                  <a:gd name="T85" fmla="*/ 2147483647 h 228"/>
                  <a:gd name="T86" fmla="*/ 2147483647 w 396"/>
                  <a:gd name="T87" fmla="*/ 2147483647 h 228"/>
                  <a:gd name="T88" fmla="*/ 2147483647 w 396"/>
                  <a:gd name="T89" fmla="*/ 2147483647 h 228"/>
                  <a:gd name="T90" fmla="*/ 2147483647 w 396"/>
                  <a:gd name="T91" fmla="*/ 2147483647 h 228"/>
                  <a:gd name="T92" fmla="*/ 2147483647 w 396"/>
                  <a:gd name="T93" fmla="*/ 2147483647 h 2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228"/>
                  <a:gd name="T143" fmla="*/ 396 w 396"/>
                  <a:gd name="T144" fmla="*/ 228 h 2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228">
                    <a:moveTo>
                      <a:pt x="372" y="168"/>
                    </a:moveTo>
                    <a:lnTo>
                      <a:pt x="336" y="126"/>
                    </a:lnTo>
                    <a:lnTo>
                      <a:pt x="354" y="108"/>
                    </a:lnTo>
                    <a:lnTo>
                      <a:pt x="354" y="78"/>
                    </a:lnTo>
                    <a:lnTo>
                      <a:pt x="360" y="72"/>
                    </a:lnTo>
                    <a:lnTo>
                      <a:pt x="372" y="66"/>
                    </a:lnTo>
                    <a:lnTo>
                      <a:pt x="396" y="66"/>
                    </a:lnTo>
                    <a:lnTo>
                      <a:pt x="396" y="48"/>
                    </a:lnTo>
                    <a:lnTo>
                      <a:pt x="390" y="36"/>
                    </a:lnTo>
                    <a:lnTo>
                      <a:pt x="372" y="36"/>
                    </a:lnTo>
                    <a:lnTo>
                      <a:pt x="348" y="12"/>
                    </a:lnTo>
                    <a:lnTo>
                      <a:pt x="324" y="12"/>
                    </a:lnTo>
                    <a:lnTo>
                      <a:pt x="312" y="6"/>
                    </a:lnTo>
                    <a:lnTo>
                      <a:pt x="300" y="6"/>
                    </a:lnTo>
                    <a:lnTo>
                      <a:pt x="288" y="0"/>
                    </a:lnTo>
                    <a:lnTo>
                      <a:pt x="282" y="0"/>
                    </a:lnTo>
                    <a:lnTo>
                      <a:pt x="282" y="12"/>
                    </a:lnTo>
                    <a:lnTo>
                      <a:pt x="252" y="6"/>
                    </a:lnTo>
                    <a:lnTo>
                      <a:pt x="252" y="12"/>
                    </a:lnTo>
                    <a:lnTo>
                      <a:pt x="246" y="12"/>
                    </a:lnTo>
                    <a:lnTo>
                      <a:pt x="234" y="18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22" y="36"/>
                    </a:lnTo>
                    <a:lnTo>
                      <a:pt x="216" y="42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56" y="30"/>
                    </a:lnTo>
                    <a:lnTo>
                      <a:pt x="138" y="24"/>
                    </a:lnTo>
                    <a:lnTo>
                      <a:pt x="138" y="30"/>
                    </a:lnTo>
                    <a:lnTo>
                      <a:pt x="132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0" y="30"/>
                    </a:lnTo>
                    <a:lnTo>
                      <a:pt x="66" y="18"/>
                    </a:lnTo>
                    <a:lnTo>
                      <a:pt x="54" y="30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12" y="12"/>
                    </a:lnTo>
                    <a:lnTo>
                      <a:pt x="0" y="24"/>
                    </a:lnTo>
                    <a:lnTo>
                      <a:pt x="0" y="42"/>
                    </a:lnTo>
                    <a:lnTo>
                      <a:pt x="18" y="48"/>
                    </a:lnTo>
                    <a:lnTo>
                      <a:pt x="12" y="60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14"/>
                    </a:lnTo>
                    <a:lnTo>
                      <a:pt x="12" y="138"/>
                    </a:lnTo>
                    <a:lnTo>
                      <a:pt x="0" y="138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68"/>
                    </a:lnTo>
                    <a:lnTo>
                      <a:pt x="36" y="180"/>
                    </a:lnTo>
                    <a:lnTo>
                      <a:pt x="42" y="186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66" y="228"/>
                    </a:lnTo>
                    <a:lnTo>
                      <a:pt x="78" y="222"/>
                    </a:lnTo>
                    <a:lnTo>
                      <a:pt x="84" y="216"/>
                    </a:lnTo>
                    <a:lnTo>
                      <a:pt x="108" y="222"/>
                    </a:lnTo>
                    <a:lnTo>
                      <a:pt x="114" y="204"/>
                    </a:lnTo>
                    <a:lnTo>
                      <a:pt x="144" y="198"/>
                    </a:lnTo>
                    <a:lnTo>
                      <a:pt x="144" y="204"/>
                    </a:lnTo>
                    <a:lnTo>
                      <a:pt x="162" y="22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92" y="228"/>
                    </a:lnTo>
                    <a:lnTo>
                      <a:pt x="204" y="228"/>
                    </a:lnTo>
                    <a:lnTo>
                      <a:pt x="216" y="216"/>
                    </a:lnTo>
                    <a:lnTo>
                      <a:pt x="228" y="228"/>
                    </a:lnTo>
                    <a:lnTo>
                      <a:pt x="246" y="228"/>
                    </a:lnTo>
                    <a:lnTo>
                      <a:pt x="252" y="222"/>
                    </a:lnTo>
                    <a:lnTo>
                      <a:pt x="252" y="204"/>
                    </a:lnTo>
                    <a:lnTo>
                      <a:pt x="246" y="198"/>
                    </a:lnTo>
                    <a:lnTo>
                      <a:pt x="264" y="192"/>
                    </a:lnTo>
                    <a:lnTo>
                      <a:pt x="282" y="168"/>
                    </a:lnTo>
                    <a:lnTo>
                      <a:pt x="312" y="174"/>
                    </a:lnTo>
                    <a:lnTo>
                      <a:pt x="324" y="156"/>
                    </a:lnTo>
                    <a:lnTo>
                      <a:pt x="336" y="174"/>
                    </a:lnTo>
                    <a:lnTo>
                      <a:pt x="348" y="174"/>
                    </a:lnTo>
                    <a:lnTo>
                      <a:pt x="360" y="180"/>
                    </a:lnTo>
                    <a:lnTo>
                      <a:pt x="372" y="180"/>
                    </a:lnTo>
                    <a:lnTo>
                      <a:pt x="37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4" name="Bosnia and Herzegov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4AA8A69-1394-84B7-B650-0E47472276C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77590" y="2275662"/>
                <a:ext cx="118839" cy="106437"/>
              </a:xfrm>
              <a:custGeom>
                <a:avLst/>
                <a:gdLst>
                  <a:gd name="T0" fmla="*/ 2147483647 w 264"/>
                  <a:gd name="T1" fmla="*/ 2147483647 h 234"/>
                  <a:gd name="T2" fmla="*/ 2147483647 w 264"/>
                  <a:gd name="T3" fmla="*/ 2147483647 h 234"/>
                  <a:gd name="T4" fmla="*/ 2147483647 w 264"/>
                  <a:gd name="T5" fmla="*/ 2147483647 h 234"/>
                  <a:gd name="T6" fmla="*/ 2147483647 w 264"/>
                  <a:gd name="T7" fmla="*/ 2147483647 h 234"/>
                  <a:gd name="T8" fmla="*/ 2147483647 w 264"/>
                  <a:gd name="T9" fmla="*/ 2147483647 h 234"/>
                  <a:gd name="T10" fmla="*/ 2147483647 w 264"/>
                  <a:gd name="T11" fmla="*/ 2147483647 h 234"/>
                  <a:gd name="T12" fmla="*/ 2147483647 w 264"/>
                  <a:gd name="T13" fmla="*/ 2147483647 h 234"/>
                  <a:gd name="T14" fmla="*/ 2147483647 w 264"/>
                  <a:gd name="T15" fmla="*/ 2147483647 h 234"/>
                  <a:gd name="T16" fmla="*/ 2147483647 w 264"/>
                  <a:gd name="T17" fmla="*/ 2147483647 h 234"/>
                  <a:gd name="T18" fmla="*/ 2147483647 w 264"/>
                  <a:gd name="T19" fmla="*/ 2147483647 h 234"/>
                  <a:gd name="T20" fmla="*/ 2147483647 w 264"/>
                  <a:gd name="T21" fmla="*/ 2147483647 h 234"/>
                  <a:gd name="T22" fmla="*/ 2147483647 w 264"/>
                  <a:gd name="T23" fmla="*/ 2147483647 h 234"/>
                  <a:gd name="T24" fmla="*/ 2147483647 w 264"/>
                  <a:gd name="T25" fmla="*/ 2147483647 h 234"/>
                  <a:gd name="T26" fmla="*/ 2147483647 w 264"/>
                  <a:gd name="T27" fmla="*/ 2147483647 h 234"/>
                  <a:gd name="T28" fmla="*/ 2147483647 w 264"/>
                  <a:gd name="T29" fmla="*/ 2147483647 h 234"/>
                  <a:gd name="T30" fmla="*/ 2147483647 w 264"/>
                  <a:gd name="T31" fmla="*/ 2147483647 h 234"/>
                  <a:gd name="T32" fmla="*/ 2147483647 w 264"/>
                  <a:gd name="T33" fmla="*/ 2147483647 h 234"/>
                  <a:gd name="T34" fmla="*/ 2147483647 w 264"/>
                  <a:gd name="T35" fmla="*/ 2147483647 h 234"/>
                  <a:gd name="T36" fmla="*/ 2147483647 w 264"/>
                  <a:gd name="T37" fmla="*/ 2147483647 h 234"/>
                  <a:gd name="T38" fmla="*/ 2147483647 w 264"/>
                  <a:gd name="T39" fmla="*/ 0 h 234"/>
                  <a:gd name="T40" fmla="*/ 2147483647 w 264"/>
                  <a:gd name="T41" fmla="*/ 0 h 234"/>
                  <a:gd name="T42" fmla="*/ 2147483647 w 264"/>
                  <a:gd name="T43" fmla="*/ 2147483647 h 234"/>
                  <a:gd name="T44" fmla="*/ 0 w 264"/>
                  <a:gd name="T45" fmla="*/ 2147483647 h 234"/>
                  <a:gd name="T46" fmla="*/ 2147483647 w 264"/>
                  <a:gd name="T47" fmla="*/ 2147483647 h 234"/>
                  <a:gd name="T48" fmla="*/ 2147483647 w 264"/>
                  <a:gd name="T49" fmla="*/ 2147483647 h 234"/>
                  <a:gd name="T50" fmla="*/ 2147483647 w 264"/>
                  <a:gd name="T51" fmla="*/ 2147483647 h 234"/>
                  <a:gd name="T52" fmla="*/ 2147483647 w 264"/>
                  <a:gd name="T53" fmla="*/ 2147483647 h 234"/>
                  <a:gd name="T54" fmla="*/ 2147483647 w 264"/>
                  <a:gd name="T55" fmla="*/ 2147483647 h 234"/>
                  <a:gd name="T56" fmla="*/ 2147483647 w 264"/>
                  <a:gd name="T57" fmla="*/ 2147483647 h 234"/>
                  <a:gd name="T58" fmla="*/ 2147483647 w 264"/>
                  <a:gd name="T59" fmla="*/ 2147483647 h 234"/>
                  <a:gd name="T60" fmla="*/ 2147483647 w 264"/>
                  <a:gd name="T61" fmla="*/ 2147483647 h 234"/>
                  <a:gd name="T62" fmla="*/ 2147483647 w 264"/>
                  <a:gd name="T63" fmla="*/ 2147483647 h 234"/>
                  <a:gd name="T64" fmla="*/ 2147483647 w 264"/>
                  <a:gd name="T65" fmla="*/ 2147483647 h 234"/>
                  <a:gd name="T66" fmla="*/ 2147483647 w 264"/>
                  <a:gd name="T67" fmla="*/ 2147483647 h 234"/>
                  <a:gd name="T68" fmla="*/ 2147483647 w 264"/>
                  <a:gd name="T69" fmla="*/ 2147483647 h 234"/>
                  <a:gd name="T70" fmla="*/ 2147483647 w 264"/>
                  <a:gd name="T71" fmla="*/ 2147483647 h 234"/>
                  <a:gd name="T72" fmla="*/ 2147483647 w 264"/>
                  <a:gd name="T73" fmla="*/ 2147483647 h 234"/>
                  <a:gd name="T74" fmla="*/ 2147483647 w 264"/>
                  <a:gd name="T75" fmla="*/ 2147483647 h 234"/>
                  <a:gd name="T76" fmla="*/ 2147483647 w 264"/>
                  <a:gd name="T77" fmla="*/ 2147483647 h 234"/>
                  <a:gd name="T78" fmla="*/ 2147483647 w 264"/>
                  <a:gd name="T79" fmla="*/ 2147483647 h 234"/>
                  <a:gd name="T80" fmla="*/ 2147483647 w 264"/>
                  <a:gd name="T81" fmla="*/ 2147483647 h 234"/>
                  <a:gd name="T82" fmla="*/ 2147483647 w 264"/>
                  <a:gd name="T83" fmla="*/ 2147483647 h 234"/>
                  <a:gd name="T84" fmla="*/ 2147483647 w 264"/>
                  <a:gd name="T85" fmla="*/ 2147483647 h 234"/>
                  <a:gd name="T86" fmla="*/ 2147483647 w 264"/>
                  <a:gd name="T87" fmla="*/ 2147483647 h 234"/>
                  <a:gd name="T88" fmla="*/ 2147483647 w 264"/>
                  <a:gd name="T89" fmla="*/ 2147483647 h 234"/>
                  <a:gd name="T90" fmla="*/ 2147483647 w 264"/>
                  <a:gd name="T91" fmla="*/ 2147483647 h 234"/>
                  <a:gd name="T92" fmla="*/ 2147483647 w 264"/>
                  <a:gd name="T93" fmla="*/ 2147483647 h 234"/>
                  <a:gd name="T94" fmla="*/ 2147483647 w 264"/>
                  <a:gd name="T95" fmla="*/ 2147483647 h 234"/>
                  <a:gd name="T96" fmla="*/ 2147483647 w 264"/>
                  <a:gd name="T97" fmla="*/ 2147483647 h 234"/>
                  <a:gd name="T98" fmla="*/ 2147483647 w 264"/>
                  <a:gd name="T99" fmla="*/ 2147483647 h 234"/>
                  <a:gd name="T100" fmla="*/ 2147483647 w 264"/>
                  <a:gd name="T101" fmla="*/ 2147483647 h 234"/>
                  <a:gd name="T102" fmla="*/ 2147483647 w 264"/>
                  <a:gd name="T103" fmla="*/ 2147483647 h 234"/>
                  <a:gd name="T104" fmla="*/ 2147483647 w 264"/>
                  <a:gd name="T105" fmla="*/ 2147483647 h 234"/>
                  <a:gd name="T106" fmla="*/ 2147483647 w 264"/>
                  <a:gd name="T107" fmla="*/ 2147483647 h 234"/>
                  <a:gd name="T108" fmla="*/ 2147483647 w 264"/>
                  <a:gd name="T109" fmla="*/ 2147483647 h 234"/>
                  <a:gd name="T110" fmla="*/ 2147483647 w 264"/>
                  <a:gd name="T111" fmla="*/ 2147483647 h 234"/>
                  <a:gd name="T112" fmla="*/ 2147483647 w 264"/>
                  <a:gd name="T113" fmla="*/ 2147483647 h 234"/>
                  <a:gd name="T114" fmla="*/ 2147483647 w 264"/>
                  <a:gd name="T115" fmla="*/ 2147483647 h 234"/>
                  <a:gd name="T116" fmla="*/ 2147483647 w 264"/>
                  <a:gd name="T117" fmla="*/ 2147483647 h 234"/>
                  <a:gd name="T118" fmla="*/ 2147483647 w 264"/>
                  <a:gd name="T119" fmla="*/ 2147483647 h 234"/>
                  <a:gd name="T120" fmla="*/ 2147483647 w 264"/>
                  <a:gd name="T121" fmla="*/ 2147483647 h 234"/>
                  <a:gd name="T122" fmla="*/ 2147483647 w 264"/>
                  <a:gd name="T123" fmla="*/ 2147483647 h 234"/>
                  <a:gd name="T124" fmla="*/ 2147483647 w 264"/>
                  <a:gd name="T125" fmla="*/ 2147483647 h 23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4"/>
                  <a:gd name="T190" fmla="*/ 0 h 234"/>
                  <a:gd name="T191" fmla="*/ 264 w 264"/>
                  <a:gd name="T192" fmla="*/ 234 h 23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4" h="234">
                    <a:moveTo>
                      <a:pt x="246" y="78"/>
                    </a:moveTo>
                    <a:lnTo>
                      <a:pt x="228" y="78"/>
                    </a:lnTo>
                    <a:lnTo>
                      <a:pt x="228" y="60"/>
                    </a:lnTo>
                    <a:lnTo>
                      <a:pt x="246" y="42"/>
                    </a:lnTo>
                    <a:lnTo>
                      <a:pt x="246" y="30"/>
                    </a:lnTo>
                    <a:lnTo>
                      <a:pt x="234" y="30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04" y="30"/>
                    </a:lnTo>
                    <a:lnTo>
                      <a:pt x="192" y="12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20" y="6"/>
                    </a:lnTo>
                    <a:lnTo>
                      <a:pt x="108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4"/>
                    </a:lnTo>
                    <a:lnTo>
                      <a:pt x="0" y="30"/>
                    </a:lnTo>
                    <a:lnTo>
                      <a:pt x="12" y="42"/>
                    </a:lnTo>
                    <a:lnTo>
                      <a:pt x="30" y="48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42" y="66"/>
                    </a:lnTo>
                    <a:lnTo>
                      <a:pt x="42" y="84"/>
                    </a:lnTo>
                    <a:lnTo>
                      <a:pt x="60" y="90"/>
                    </a:lnTo>
                    <a:lnTo>
                      <a:pt x="72" y="120"/>
                    </a:lnTo>
                    <a:lnTo>
                      <a:pt x="84" y="132"/>
                    </a:lnTo>
                    <a:lnTo>
                      <a:pt x="96" y="138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2" y="168"/>
                    </a:lnTo>
                    <a:lnTo>
                      <a:pt x="132" y="174"/>
                    </a:lnTo>
                    <a:lnTo>
                      <a:pt x="126" y="180"/>
                    </a:lnTo>
                    <a:lnTo>
                      <a:pt x="138" y="180"/>
                    </a:lnTo>
                    <a:lnTo>
                      <a:pt x="156" y="198"/>
                    </a:lnTo>
                    <a:lnTo>
                      <a:pt x="162" y="210"/>
                    </a:lnTo>
                    <a:lnTo>
                      <a:pt x="174" y="216"/>
                    </a:lnTo>
                    <a:lnTo>
                      <a:pt x="192" y="234"/>
                    </a:lnTo>
                    <a:lnTo>
                      <a:pt x="210" y="204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8" y="180"/>
                    </a:lnTo>
                    <a:lnTo>
                      <a:pt x="204" y="168"/>
                    </a:lnTo>
                    <a:lnTo>
                      <a:pt x="204" y="162"/>
                    </a:lnTo>
                    <a:lnTo>
                      <a:pt x="210" y="156"/>
                    </a:lnTo>
                    <a:lnTo>
                      <a:pt x="228" y="156"/>
                    </a:lnTo>
                    <a:lnTo>
                      <a:pt x="228" y="132"/>
                    </a:lnTo>
                    <a:lnTo>
                      <a:pt x="258" y="132"/>
                    </a:lnTo>
                    <a:lnTo>
                      <a:pt x="258" y="126"/>
                    </a:lnTo>
                    <a:lnTo>
                      <a:pt x="252" y="114"/>
                    </a:lnTo>
                    <a:lnTo>
                      <a:pt x="240" y="102"/>
                    </a:lnTo>
                    <a:lnTo>
                      <a:pt x="264" y="96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5" name="Belgiu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06763DC-F96B-DC5D-7FB8-FC89EFC6CA9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17528" y="2059241"/>
                <a:ext cx="101100" cy="69184"/>
              </a:xfrm>
              <a:custGeom>
                <a:avLst/>
                <a:gdLst>
                  <a:gd name="T0" fmla="*/ 0 w 222"/>
                  <a:gd name="T1" fmla="*/ 2147483647 h 150"/>
                  <a:gd name="T2" fmla="*/ 2147483647 w 222"/>
                  <a:gd name="T3" fmla="*/ 2147483647 h 150"/>
                  <a:gd name="T4" fmla="*/ 2147483647 w 222"/>
                  <a:gd name="T5" fmla="*/ 2147483647 h 150"/>
                  <a:gd name="T6" fmla="*/ 2147483647 w 222"/>
                  <a:gd name="T7" fmla="*/ 2147483647 h 150"/>
                  <a:gd name="T8" fmla="*/ 2147483647 w 222"/>
                  <a:gd name="T9" fmla="*/ 2147483647 h 150"/>
                  <a:gd name="T10" fmla="*/ 2147483647 w 222"/>
                  <a:gd name="T11" fmla="*/ 2147483647 h 150"/>
                  <a:gd name="T12" fmla="*/ 2147483647 w 222"/>
                  <a:gd name="T13" fmla="*/ 2147483647 h 150"/>
                  <a:gd name="T14" fmla="*/ 2147483647 w 222"/>
                  <a:gd name="T15" fmla="*/ 2147483647 h 150"/>
                  <a:gd name="T16" fmla="*/ 2147483647 w 222"/>
                  <a:gd name="T17" fmla="*/ 2147483647 h 150"/>
                  <a:gd name="T18" fmla="*/ 2147483647 w 222"/>
                  <a:gd name="T19" fmla="*/ 2147483647 h 150"/>
                  <a:gd name="T20" fmla="*/ 2147483647 w 222"/>
                  <a:gd name="T21" fmla="*/ 2147483647 h 150"/>
                  <a:gd name="T22" fmla="*/ 2147483647 w 222"/>
                  <a:gd name="T23" fmla="*/ 2147483647 h 150"/>
                  <a:gd name="T24" fmla="*/ 2147483647 w 222"/>
                  <a:gd name="T25" fmla="*/ 2147483647 h 150"/>
                  <a:gd name="T26" fmla="*/ 2147483647 w 222"/>
                  <a:gd name="T27" fmla="*/ 2147483647 h 150"/>
                  <a:gd name="T28" fmla="*/ 2147483647 w 222"/>
                  <a:gd name="T29" fmla="*/ 2147483647 h 150"/>
                  <a:gd name="T30" fmla="*/ 2147483647 w 222"/>
                  <a:gd name="T31" fmla="*/ 2147483647 h 150"/>
                  <a:gd name="T32" fmla="*/ 2147483647 w 222"/>
                  <a:gd name="T33" fmla="*/ 2147483647 h 150"/>
                  <a:gd name="T34" fmla="*/ 2147483647 w 222"/>
                  <a:gd name="T35" fmla="*/ 2147483647 h 150"/>
                  <a:gd name="T36" fmla="*/ 2147483647 w 222"/>
                  <a:gd name="T37" fmla="*/ 2147483647 h 150"/>
                  <a:gd name="T38" fmla="*/ 2147483647 w 222"/>
                  <a:gd name="T39" fmla="*/ 2147483647 h 150"/>
                  <a:gd name="T40" fmla="*/ 2147483647 w 222"/>
                  <a:gd name="T41" fmla="*/ 2147483647 h 150"/>
                  <a:gd name="T42" fmla="*/ 2147483647 w 222"/>
                  <a:gd name="T43" fmla="*/ 2147483647 h 150"/>
                  <a:gd name="T44" fmla="*/ 2147483647 w 222"/>
                  <a:gd name="T45" fmla="*/ 2147483647 h 150"/>
                  <a:gd name="T46" fmla="*/ 2147483647 w 222"/>
                  <a:gd name="T47" fmla="*/ 2147483647 h 150"/>
                  <a:gd name="T48" fmla="*/ 2147483647 w 222"/>
                  <a:gd name="T49" fmla="*/ 2147483647 h 150"/>
                  <a:gd name="T50" fmla="*/ 2147483647 w 222"/>
                  <a:gd name="T51" fmla="*/ 2147483647 h 150"/>
                  <a:gd name="T52" fmla="*/ 2147483647 w 222"/>
                  <a:gd name="T53" fmla="*/ 2147483647 h 150"/>
                  <a:gd name="T54" fmla="*/ 2147483647 w 222"/>
                  <a:gd name="T55" fmla="*/ 2147483647 h 150"/>
                  <a:gd name="T56" fmla="*/ 2147483647 w 222"/>
                  <a:gd name="T57" fmla="*/ 2147483647 h 150"/>
                  <a:gd name="T58" fmla="*/ 2147483647 w 222"/>
                  <a:gd name="T59" fmla="*/ 2147483647 h 150"/>
                  <a:gd name="T60" fmla="*/ 2147483647 w 222"/>
                  <a:gd name="T61" fmla="*/ 2147483647 h 150"/>
                  <a:gd name="T62" fmla="*/ 2147483647 w 222"/>
                  <a:gd name="T63" fmla="*/ 2147483647 h 150"/>
                  <a:gd name="T64" fmla="*/ 2147483647 w 222"/>
                  <a:gd name="T65" fmla="*/ 2147483647 h 150"/>
                  <a:gd name="T66" fmla="*/ 2147483647 w 222"/>
                  <a:gd name="T67" fmla="*/ 2147483647 h 150"/>
                  <a:gd name="T68" fmla="*/ 2147483647 w 222"/>
                  <a:gd name="T69" fmla="*/ 2147483647 h 150"/>
                  <a:gd name="T70" fmla="*/ 2147483647 w 222"/>
                  <a:gd name="T71" fmla="*/ 2147483647 h 150"/>
                  <a:gd name="T72" fmla="*/ 2147483647 w 222"/>
                  <a:gd name="T73" fmla="*/ 2147483647 h 150"/>
                  <a:gd name="T74" fmla="*/ 2147483647 w 222"/>
                  <a:gd name="T75" fmla="*/ 2147483647 h 150"/>
                  <a:gd name="T76" fmla="*/ 2147483647 w 222"/>
                  <a:gd name="T77" fmla="*/ 2147483647 h 150"/>
                  <a:gd name="T78" fmla="*/ 2147483647 w 222"/>
                  <a:gd name="T79" fmla="*/ 2147483647 h 150"/>
                  <a:gd name="T80" fmla="*/ 2147483647 w 222"/>
                  <a:gd name="T81" fmla="*/ 0 h 150"/>
                  <a:gd name="T82" fmla="*/ 2147483647 w 222"/>
                  <a:gd name="T83" fmla="*/ 0 h 150"/>
                  <a:gd name="T84" fmla="*/ 2147483647 w 222"/>
                  <a:gd name="T85" fmla="*/ 2147483647 h 150"/>
                  <a:gd name="T86" fmla="*/ 2147483647 w 222"/>
                  <a:gd name="T87" fmla="*/ 0 h 150"/>
                  <a:gd name="T88" fmla="*/ 2147483647 w 222"/>
                  <a:gd name="T89" fmla="*/ 2147483647 h 150"/>
                  <a:gd name="T90" fmla="*/ 2147483647 w 222"/>
                  <a:gd name="T91" fmla="*/ 2147483647 h 150"/>
                  <a:gd name="T92" fmla="*/ 2147483647 w 222"/>
                  <a:gd name="T93" fmla="*/ 2147483647 h 150"/>
                  <a:gd name="T94" fmla="*/ 2147483647 w 222"/>
                  <a:gd name="T95" fmla="*/ 2147483647 h 150"/>
                  <a:gd name="T96" fmla="*/ 2147483647 w 222"/>
                  <a:gd name="T97" fmla="*/ 2147483647 h 150"/>
                  <a:gd name="T98" fmla="*/ 2147483647 w 222"/>
                  <a:gd name="T99" fmla="*/ 2147483647 h 150"/>
                  <a:gd name="T100" fmla="*/ 2147483647 w 222"/>
                  <a:gd name="T101" fmla="*/ 2147483647 h 150"/>
                  <a:gd name="T102" fmla="*/ 0 w 222"/>
                  <a:gd name="T103" fmla="*/ 2147483647 h 150"/>
                  <a:gd name="T104" fmla="*/ 0 w 222"/>
                  <a:gd name="T105" fmla="*/ 2147483647 h 15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2"/>
                  <a:gd name="T160" fmla="*/ 0 h 150"/>
                  <a:gd name="T161" fmla="*/ 222 w 222"/>
                  <a:gd name="T162" fmla="*/ 150 h 15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2" h="150">
                    <a:moveTo>
                      <a:pt x="0" y="42"/>
                    </a:moveTo>
                    <a:lnTo>
                      <a:pt x="6" y="60"/>
                    </a:lnTo>
                    <a:lnTo>
                      <a:pt x="30" y="66"/>
                    </a:lnTo>
                    <a:lnTo>
                      <a:pt x="42" y="78"/>
                    </a:lnTo>
                    <a:lnTo>
                      <a:pt x="66" y="78"/>
                    </a:lnTo>
                    <a:lnTo>
                      <a:pt x="78" y="84"/>
                    </a:lnTo>
                    <a:lnTo>
                      <a:pt x="84" y="90"/>
                    </a:lnTo>
                    <a:lnTo>
                      <a:pt x="84" y="114"/>
                    </a:lnTo>
                    <a:lnTo>
                      <a:pt x="108" y="114"/>
                    </a:lnTo>
                    <a:lnTo>
                      <a:pt x="120" y="102"/>
                    </a:lnTo>
                    <a:lnTo>
                      <a:pt x="120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62" y="144"/>
                    </a:lnTo>
                    <a:lnTo>
                      <a:pt x="180" y="144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2"/>
                    </a:lnTo>
                    <a:lnTo>
                      <a:pt x="174" y="120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92" y="108"/>
                    </a:lnTo>
                    <a:lnTo>
                      <a:pt x="198" y="102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10" y="90"/>
                    </a:lnTo>
                    <a:lnTo>
                      <a:pt x="222" y="90"/>
                    </a:lnTo>
                    <a:lnTo>
                      <a:pt x="216" y="84"/>
                    </a:lnTo>
                    <a:lnTo>
                      <a:pt x="216" y="66"/>
                    </a:lnTo>
                    <a:lnTo>
                      <a:pt x="204" y="54"/>
                    </a:lnTo>
                    <a:lnTo>
                      <a:pt x="180" y="54"/>
                    </a:lnTo>
                    <a:lnTo>
                      <a:pt x="180" y="42"/>
                    </a:lnTo>
                    <a:lnTo>
                      <a:pt x="186" y="36"/>
                    </a:lnTo>
                    <a:lnTo>
                      <a:pt x="186" y="18"/>
                    </a:lnTo>
                    <a:lnTo>
                      <a:pt x="180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96" y="0"/>
                    </a:lnTo>
                    <a:lnTo>
                      <a:pt x="96" y="12"/>
                    </a:lnTo>
                    <a:lnTo>
                      <a:pt x="78" y="6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0" y="24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6" name="Bela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BE7F66B-161F-189C-1FCE-61D85E1446A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9793" y="1896039"/>
                <a:ext cx="255413" cy="166751"/>
              </a:xfrm>
              <a:custGeom>
                <a:avLst/>
                <a:gdLst>
                  <a:gd name="T0" fmla="*/ 2147483647 w 570"/>
                  <a:gd name="T1" fmla="*/ 2147483647 h 372"/>
                  <a:gd name="T2" fmla="*/ 2147483647 w 570"/>
                  <a:gd name="T3" fmla="*/ 2147483647 h 372"/>
                  <a:gd name="T4" fmla="*/ 2147483647 w 570"/>
                  <a:gd name="T5" fmla="*/ 2147483647 h 372"/>
                  <a:gd name="T6" fmla="*/ 2147483647 w 570"/>
                  <a:gd name="T7" fmla="*/ 2147483647 h 372"/>
                  <a:gd name="T8" fmla="*/ 2147483647 w 570"/>
                  <a:gd name="T9" fmla="*/ 2147483647 h 372"/>
                  <a:gd name="T10" fmla="*/ 2147483647 w 570"/>
                  <a:gd name="T11" fmla="*/ 2147483647 h 372"/>
                  <a:gd name="T12" fmla="*/ 2147483647 w 570"/>
                  <a:gd name="T13" fmla="*/ 2147483647 h 372"/>
                  <a:gd name="T14" fmla="*/ 2147483647 w 570"/>
                  <a:gd name="T15" fmla="*/ 2147483647 h 372"/>
                  <a:gd name="T16" fmla="*/ 2147483647 w 570"/>
                  <a:gd name="T17" fmla="*/ 2147483647 h 372"/>
                  <a:gd name="T18" fmla="*/ 2147483647 w 570"/>
                  <a:gd name="T19" fmla="*/ 2147483647 h 372"/>
                  <a:gd name="T20" fmla="*/ 2147483647 w 570"/>
                  <a:gd name="T21" fmla="*/ 2147483647 h 372"/>
                  <a:gd name="T22" fmla="*/ 2147483647 w 570"/>
                  <a:gd name="T23" fmla="*/ 2147483647 h 372"/>
                  <a:gd name="T24" fmla="*/ 2147483647 w 570"/>
                  <a:gd name="T25" fmla="*/ 2147483647 h 372"/>
                  <a:gd name="T26" fmla="*/ 2147483647 w 570"/>
                  <a:gd name="T27" fmla="*/ 2147483647 h 372"/>
                  <a:gd name="T28" fmla="*/ 2147483647 w 570"/>
                  <a:gd name="T29" fmla="*/ 2147483647 h 372"/>
                  <a:gd name="T30" fmla="*/ 2147483647 w 570"/>
                  <a:gd name="T31" fmla="*/ 2147483647 h 372"/>
                  <a:gd name="T32" fmla="*/ 2147483647 w 570"/>
                  <a:gd name="T33" fmla="*/ 2147483647 h 372"/>
                  <a:gd name="T34" fmla="*/ 2147483647 w 570"/>
                  <a:gd name="T35" fmla="*/ 2147483647 h 372"/>
                  <a:gd name="T36" fmla="*/ 2147483647 w 570"/>
                  <a:gd name="T37" fmla="*/ 2147483647 h 372"/>
                  <a:gd name="T38" fmla="*/ 2147483647 w 570"/>
                  <a:gd name="T39" fmla="*/ 2147483647 h 372"/>
                  <a:gd name="T40" fmla="*/ 2147483647 w 570"/>
                  <a:gd name="T41" fmla="*/ 2147483647 h 372"/>
                  <a:gd name="T42" fmla="*/ 2147483647 w 570"/>
                  <a:gd name="T43" fmla="*/ 2147483647 h 372"/>
                  <a:gd name="T44" fmla="*/ 2147483647 w 570"/>
                  <a:gd name="T45" fmla="*/ 2147483647 h 372"/>
                  <a:gd name="T46" fmla="*/ 2147483647 w 570"/>
                  <a:gd name="T47" fmla="*/ 2147483647 h 372"/>
                  <a:gd name="T48" fmla="*/ 2147483647 w 570"/>
                  <a:gd name="T49" fmla="*/ 2147483647 h 372"/>
                  <a:gd name="T50" fmla="*/ 2147483647 w 570"/>
                  <a:gd name="T51" fmla="*/ 2147483647 h 372"/>
                  <a:gd name="T52" fmla="*/ 2147483647 w 570"/>
                  <a:gd name="T53" fmla="*/ 2147483647 h 372"/>
                  <a:gd name="T54" fmla="*/ 2147483647 w 570"/>
                  <a:gd name="T55" fmla="*/ 2147483647 h 372"/>
                  <a:gd name="T56" fmla="*/ 2147483647 w 570"/>
                  <a:gd name="T57" fmla="*/ 0 h 372"/>
                  <a:gd name="T58" fmla="*/ 2147483647 w 570"/>
                  <a:gd name="T59" fmla="*/ 2147483647 h 372"/>
                  <a:gd name="T60" fmla="*/ 2147483647 w 570"/>
                  <a:gd name="T61" fmla="*/ 2147483647 h 372"/>
                  <a:gd name="T62" fmla="*/ 2147483647 w 570"/>
                  <a:gd name="T63" fmla="*/ 2147483647 h 372"/>
                  <a:gd name="T64" fmla="*/ 2147483647 w 570"/>
                  <a:gd name="T65" fmla="*/ 2147483647 h 372"/>
                  <a:gd name="T66" fmla="*/ 2147483647 w 570"/>
                  <a:gd name="T67" fmla="*/ 2147483647 h 372"/>
                  <a:gd name="T68" fmla="*/ 2147483647 w 570"/>
                  <a:gd name="T69" fmla="*/ 2147483647 h 372"/>
                  <a:gd name="T70" fmla="*/ 2147483647 w 570"/>
                  <a:gd name="T71" fmla="*/ 2147483647 h 372"/>
                  <a:gd name="T72" fmla="*/ 2147483647 w 570"/>
                  <a:gd name="T73" fmla="*/ 2147483647 h 372"/>
                  <a:gd name="T74" fmla="*/ 2147483647 w 570"/>
                  <a:gd name="T75" fmla="*/ 2147483647 h 372"/>
                  <a:gd name="T76" fmla="*/ 2147483647 w 570"/>
                  <a:gd name="T77" fmla="*/ 2147483647 h 372"/>
                  <a:gd name="T78" fmla="*/ 2147483647 w 570"/>
                  <a:gd name="T79" fmla="*/ 2147483647 h 372"/>
                  <a:gd name="T80" fmla="*/ 2147483647 w 570"/>
                  <a:gd name="T81" fmla="*/ 2147483647 h 372"/>
                  <a:gd name="T82" fmla="*/ 2147483647 w 570"/>
                  <a:gd name="T83" fmla="*/ 2147483647 h 372"/>
                  <a:gd name="T84" fmla="*/ 2147483647 w 570"/>
                  <a:gd name="T85" fmla="*/ 2147483647 h 372"/>
                  <a:gd name="T86" fmla="*/ 2147483647 w 570"/>
                  <a:gd name="T87" fmla="*/ 2147483647 h 372"/>
                  <a:gd name="T88" fmla="*/ 2147483647 w 570"/>
                  <a:gd name="T89" fmla="*/ 2147483647 h 372"/>
                  <a:gd name="T90" fmla="*/ 2147483647 w 570"/>
                  <a:gd name="T91" fmla="*/ 2147483647 h 372"/>
                  <a:gd name="T92" fmla="*/ 2147483647 w 570"/>
                  <a:gd name="T93" fmla="*/ 2147483647 h 372"/>
                  <a:gd name="T94" fmla="*/ 2147483647 w 570"/>
                  <a:gd name="T95" fmla="*/ 2147483647 h 372"/>
                  <a:gd name="T96" fmla="*/ 2147483647 w 570"/>
                  <a:gd name="T97" fmla="*/ 2147483647 h 3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0"/>
                  <a:gd name="T148" fmla="*/ 0 h 372"/>
                  <a:gd name="T149" fmla="*/ 570 w 570"/>
                  <a:gd name="T150" fmla="*/ 372 h 3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0" h="372">
                    <a:moveTo>
                      <a:pt x="24" y="312"/>
                    </a:moveTo>
                    <a:lnTo>
                      <a:pt x="24" y="342"/>
                    </a:lnTo>
                    <a:lnTo>
                      <a:pt x="30" y="354"/>
                    </a:lnTo>
                    <a:lnTo>
                      <a:pt x="36" y="360"/>
                    </a:lnTo>
                    <a:lnTo>
                      <a:pt x="48" y="360"/>
                    </a:lnTo>
                    <a:lnTo>
                      <a:pt x="60" y="354"/>
                    </a:lnTo>
                    <a:lnTo>
                      <a:pt x="72" y="342"/>
                    </a:lnTo>
                    <a:lnTo>
                      <a:pt x="72" y="336"/>
                    </a:lnTo>
                    <a:lnTo>
                      <a:pt x="108" y="336"/>
                    </a:lnTo>
                    <a:lnTo>
                      <a:pt x="120" y="330"/>
                    </a:lnTo>
                    <a:lnTo>
                      <a:pt x="126" y="324"/>
                    </a:lnTo>
                    <a:lnTo>
                      <a:pt x="174" y="324"/>
                    </a:lnTo>
                    <a:lnTo>
                      <a:pt x="174" y="330"/>
                    </a:lnTo>
                    <a:lnTo>
                      <a:pt x="180" y="336"/>
                    </a:lnTo>
                    <a:lnTo>
                      <a:pt x="216" y="336"/>
                    </a:lnTo>
                    <a:lnTo>
                      <a:pt x="240" y="342"/>
                    </a:lnTo>
                    <a:lnTo>
                      <a:pt x="258" y="354"/>
                    </a:lnTo>
                    <a:lnTo>
                      <a:pt x="264" y="348"/>
                    </a:lnTo>
                    <a:lnTo>
                      <a:pt x="282" y="360"/>
                    </a:lnTo>
                    <a:lnTo>
                      <a:pt x="294" y="348"/>
                    </a:lnTo>
                    <a:lnTo>
                      <a:pt x="300" y="360"/>
                    </a:lnTo>
                    <a:lnTo>
                      <a:pt x="318" y="354"/>
                    </a:lnTo>
                    <a:lnTo>
                      <a:pt x="324" y="360"/>
                    </a:lnTo>
                    <a:lnTo>
                      <a:pt x="336" y="354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54" y="354"/>
                    </a:lnTo>
                    <a:lnTo>
                      <a:pt x="372" y="354"/>
                    </a:lnTo>
                    <a:lnTo>
                      <a:pt x="378" y="360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6" y="366"/>
                    </a:lnTo>
                    <a:lnTo>
                      <a:pt x="420" y="366"/>
                    </a:lnTo>
                    <a:lnTo>
                      <a:pt x="426" y="372"/>
                    </a:lnTo>
                    <a:lnTo>
                      <a:pt x="444" y="372"/>
                    </a:lnTo>
                    <a:lnTo>
                      <a:pt x="450" y="366"/>
                    </a:lnTo>
                    <a:lnTo>
                      <a:pt x="450" y="354"/>
                    </a:lnTo>
                    <a:lnTo>
                      <a:pt x="444" y="348"/>
                    </a:lnTo>
                    <a:lnTo>
                      <a:pt x="450" y="336"/>
                    </a:lnTo>
                    <a:lnTo>
                      <a:pt x="456" y="330"/>
                    </a:lnTo>
                    <a:lnTo>
                      <a:pt x="468" y="324"/>
                    </a:lnTo>
                    <a:lnTo>
                      <a:pt x="474" y="312"/>
                    </a:lnTo>
                    <a:lnTo>
                      <a:pt x="498" y="312"/>
                    </a:lnTo>
                    <a:lnTo>
                      <a:pt x="516" y="318"/>
                    </a:lnTo>
                    <a:lnTo>
                      <a:pt x="516" y="300"/>
                    </a:lnTo>
                    <a:lnTo>
                      <a:pt x="510" y="288"/>
                    </a:lnTo>
                    <a:lnTo>
                      <a:pt x="504" y="282"/>
                    </a:lnTo>
                    <a:lnTo>
                      <a:pt x="504" y="264"/>
                    </a:lnTo>
                    <a:lnTo>
                      <a:pt x="480" y="240"/>
                    </a:lnTo>
                    <a:lnTo>
                      <a:pt x="480" y="234"/>
                    </a:lnTo>
                    <a:lnTo>
                      <a:pt x="486" y="228"/>
                    </a:lnTo>
                    <a:lnTo>
                      <a:pt x="510" y="228"/>
                    </a:lnTo>
                    <a:lnTo>
                      <a:pt x="510" y="234"/>
                    </a:lnTo>
                    <a:lnTo>
                      <a:pt x="516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52" y="228"/>
                    </a:lnTo>
                    <a:lnTo>
                      <a:pt x="558" y="216"/>
                    </a:lnTo>
                    <a:lnTo>
                      <a:pt x="570" y="210"/>
                    </a:lnTo>
                    <a:lnTo>
                      <a:pt x="546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46" y="186"/>
                    </a:lnTo>
                    <a:lnTo>
                      <a:pt x="540" y="180"/>
                    </a:lnTo>
                    <a:lnTo>
                      <a:pt x="504" y="180"/>
                    </a:lnTo>
                    <a:lnTo>
                      <a:pt x="504" y="156"/>
                    </a:lnTo>
                    <a:lnTo>
                      <a:pt x="474" y="144"/>
                    </a:lnTo>
                    <a:lnTo>
                      <a:pt x="474" y="132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44" y="84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8"/>
                    </a:lnTo>
                    <a:lnTo>
                      <a:pt x="432" y="42"/>
                    </a:lnTo>
                    <a:lnTo>
                      <a:pt x="396" y="24"/>
                    </a:lnTo>
                    <a:lnTo>
                      <a:pt x="390" y="18"/>
                    </a:lnTo>
                    <a:lnTo>
                      <a:pt x="384" y="18"/>
                    </a:lnTo>
                    <a:lnTo>
                      <a:pt x="354" y="36"/>
                    </a:lnTo>
                    <a:lnTo>
                      <a:pt x="348" y="18"/>
                    </a:lnTo>
                    <a:lnTo>
                      <a:pt x="312" y="12"/>
                    </a:lnTo>
                    <a:lnTo>
                      <a:pt x="300" y="18"/>
                    </a:lnTo>
                    <a:lnTo>
                      <a:pt x="300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52" y="6"/>
                    </a:lnTo>
                    <a:lnTo>
                      <a:pt x="246" y="18"/>
                    </a:lnTo>
                    <a:lnTo>
                      <a:pt x="240" y="24"/>
                    </a:lnTo>
                    <a:lnTo>
                      <a:pt x="234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30"/>
                    </a:lnTo>
                    <a:lnTo>
                      <a:pt x="180" y="36"/>
                    </a:lnTo>
                    <a:lnTo>
                      <a:pt x="174" y="42"/>
                    </a:lnTo>
                    <a:lnTo>
                      <a:pt x="174" y="54"/>
                    </a:lnTo>
                    <a:lnTo>
                      <a:pt x="192" y="72"/>
                    </a:lnTo>
                    <a:lnTo>
                      <a:pt x="186" y="78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72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2" y="120"/>
                    </a:lnTo>
                    <a:lnTo>
                      <a:pt x="132" y="126"/>
                    </a:lnTo>
                    <a:lnTo>
                      <a:pt x="138" y="132"/>
                    </a:lnTo>
                    <a:lnTo>
                      <a:pt x="138" y="144"/>
                    </a:lnTo>
                    <a:lnTo>
                      <a:pt x="144" y="15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38" y="150"/>
                    </a:lnTo>
                    <a:lnTo>
                      <a:pt x="138" y="144"/>
                    </a:lnTo>
                    <a:lnTo>
                      <a:pt x="120" y="144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6" y="168"/>
                    </a:lnTo>
                    <a:lnTo>
                      <a:pt x="84" y="156"/>
                    </a:lnTo>
                    <a:lnTo>
                      <a:pt x="84" y="174"/>
                    </a:lnTo>
                    <a:lnTo>
                      <a:pt x="54" y="174"/>
                    </a:lnTo>
                    <a:lnTo>
                      <a:pt x="54" y="168"/>
                    </a:lnTo>
                    <a:lnTo>
                      <a:pt x="48" y="162"/>
                    </a:lnTo>
                    <a:lnTo>
                      <a:pt x="42" y="162"/>
                    </a:lnTo>
                    <a:lnTo>
                      <a:pt x="30" y="168"/>
                    </a:lnTo>
                    <a:lnTo>
                      <a:pt x="18" y="168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18" y="204"/>
                    </a:lnTo>
                    <a:lnTo>
                      <a:pt x="24" y="210"/>
                    </a:lnTo>
                    <a:lnTo>
                      <a:pt x="36" y="234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6" y="264"/>
                    </a:lnTo>
                    <a:lnTo>
                      <a:pt x="12" y="270"/>
                    </a:lnTo>
                    <a:lnTo>
                      <a:pt x="12" y="288"/>
                    </a:lnTo>
                    <a:lnTo>
                      <a:pt x="0" y="288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24" y="31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7" name="Azerbaij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5066FFE-305D-020F-D050-0BE64EBDDA3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44933" y="2396290"/>
                <a:ext cx="163181" cy="131272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8" name="Aust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7ADA5C5-04EE-25D4-476B-5B0D8A3B045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05540" y="2144390"/>
                <a:ext cx="205750" cy="90471"/>
              </a:xfrm>
              <a:custGeom>
                <a:avLst/>
                <a:gdLst>
                  <a:gd name="T0" fmla="*/ 2147483647 w 456"/>
                  <a:gd name="T1" fmla="*/ 2147483647 h 204"/>
                  <a:gd name="T2" fmla="*/ 2147483647 w 456"/>
                  <a:gd name="T3" fmla="*/ 2147483647 h 204"/>
                  <a:gd name="T4" fmla="*/ 2147483647 w 456"/>
                  <a:gd name="T5" fmla="*/ 2147483647 h 204"/>
                  <a:gd name="T6" fmla="*/ 2147483647 w 456"/>
                  <a:gd name="T7" fmla="*/ 2147483647 h 204"/>
                  <a:gd name="T8" fmla="*/ 2147483647 w 456"/>
                  <a:gd name="T9" fmla="*/ 2147483647 h 204"/>
                  <a:gd name="T10" fmla="*/ 2147483647 w 456"/>
                  <a:gd name="T11" fmla="*/ 2147483647 h 204"/>
                  <a:gd name="T12" fmla="*/ 2147483647 w 456"/>
                  <a:gd name="T13" fmla="*/ 2147483647 h 204"/>
                  <a:gd name="T14" fmla="*/ 2147483647 w 456"/>
                  <a:gd name="T15" fmla="*/ 0 h 204"/>
                  <a:gd name="T16" fmla="*/ 2147483647 w 456"/>
                  <a:gd name="T17" fmla="*/ 2147483647 h 204"/>
                  <a:gd name="T18" fmla="*/ 2147483647 w 456"/>
                  <a:gd name="T19" fmla="*/ 2147483647 h 204"/>
                  <a:gd name="T20" fmla="*/ 2147483647 w 456"/>
                  <a:gd name="T21" fmla="*/ 2147483647 h 204"/>
                  <a:gd name="T22" fmla="*/ 2147483647 w 456"/>
                  <a:gd name="T23" fmla="*/ 2147483647 h 204"/>
                  <a:gd name="T24" fmla="*/ 2147483647 w 456"/>
                  <a:gd name="T25" fmla="*/ 2147483647 h 204"/>
                  <a:gd name="T26" fmla="*/ 2147483647 w 456"/>
                  <a:gd name="T27" fmla="*/ 2147483647 h 204"/>
                  <a:gd name="T28" fmla="*/ 2147483647 w 456"/>
                  <a:gd name="T29" fmla="*/ 2147483647 h 204"/>
                  <a:gd name="T30" fmla="*/ 2147483647 w 456"/>
                  <a:gd name="T31" fmla="*/ 2147483647 h 204"/>
                  <a:gd name="T32" fmla="*/ 2147483647 w 456"/>
                  <a:gd name="T33" fmla="*/ 2147483647 h 204"/>
                  <a:gd name="T34" fmla="*/ 2147483647 w 456"/>
                  <a:gd name="T35" fmla="*/ 2147483647 h 204"/>
                  <a:gd name="T36" fmla="*/ 2147483647 w 456"/>
                  <a:gd name="T37" fmla="*/ 2147483647 h 204"/>
                  <a:gd name="T38" fmla="*/ 2147483647 w 456"/>
                  <a:gd name="T39" fmla="*/ 2147483647 h 204"/>
                  <a:gd name="T40" fmla="*/ 2147483647 w 456"/>
                  <a:gd name="T41" fmla="*/ 2147483647 h 204"/>
                  <a:gd name="T42" fmla="*/ 2147483647 w 456"/>
                  <a:gd name="T43" fmla="*/ 2147483647 h 204"/>
                  <a:gd name="T44" fmla="*/ 2147483647 w 456"/>
                  <a:gd name="T45" fmla="*/ 2147483647 h 204"/>
                  <a:gd name="T46" fmla="*/ 2147483647 w 456"/>
                  <a:gd name="T47" fmla="*/ 2147483647 h 204"/>
                  <a:gd name="T48" fmla="*/ 2147483647 w 456"/>
                  <a:gd name="T49" fmla="*/ 2147483647 h 204"/>
                  <a:gd name="T50" fmla="*/ 2147483647 w 456"/>
                  <a:gd name="T51" fmla="*/ 2147483647 h 204"/>
                  <a:gd name="T52" fmla="*/ 2147483647 w 456"/>
                  <a:gd name="T53" fmla="*/ 2147483647 h 204"/>
                  <a:gd name="T54" fmla="*/ 0 w 456"/>
                  <a:gd name="T55" fmla="*/ 2147483647 h 204"/>
                  <a:gd name="T56" fmla="*/ 2147483647 w 456"/>
                  <a:gd name="T57" fmla="*/ 2147483647 h 204"/>
                  <a:gd name="T58" fmla="*/ 2147483647 w 456"/>
                  <a:gd name="T59" fmla="*/ 2147483647 h 204"/>
                  <a:gd name="T60" fmla="*/ 2147483647 w 456"/>
                  <a:gd name="T61" fmla="*/ 2147483647 h 204"/>
                  <a:gd name="T62" fmla="*/ 2147483647 w 456"/>
                  <a:gd name="T63" fmla="*/ 2147483647 h 204"/>
                  <a:gd name="T64" fmla="*/ 2147483647 w 456"/>
                  <a:gd name="T65" fmla="*/ 2147483647 h 204"/>
                  <a:gd name="T66" fmla="*/ 2147483647 w 456"/>
                  <a:gd name="T67" fmla="*/ 2147483647 h 204"/>
                  <a:gd name="T68" fmla="*/ 2147483647 w 456"/>
                  <a:gd name="T69" fmla="*/ 2147483647 h 204"/>
                  <a:gd name="T70" fmla="*/ 2147483647 w 456"/>
                  <a:gd name="T71" fmla="*/ 2147483647 h 204"/>
                  <a:gd name="T72" fmla="*/ 2147483647 w 456"/>
                  <a:gd name="T73" fmla="*/ 2147483647 h 204"/>
                  <a:gd name="T74" fmla="*/ 2147483647 w 456"/>
                  <a:gd name="T75" fmla="*/ 2147483647 h 204"/>
                  <a:gd name="T76" fmla="*/ 2147483647 w 456"/>
                  <a:gd name="T77" fmla="*/ 2147483647 h 204"/>
                  <a:gd name="T78" fmla="*/ 2147483647 w 456"/>
                  <a:gd name="T79" fmla="*/ 2147483647 h 204"/>
                  <a:gd name="T80" fmla="*/ 2147483647 w 456"/>
                  <a:gd name="T81" fmla="*/ 2147483647 h 204"/>
                  <a:gd name="T82" fmla="*/ 2147483647 w 456"/>
                  <a:gd name="T83" fmla="*/ 2147483647 h 204"/>
                  <a:gd name="T84" fmla="*/ 2147483647 w 456"/>
                  <a:gd name="T85" fmla="*/ 2147483647 h 204"/>
                  <a:gd name="T86" fmla="*/ 2147483647 w 456"/>
                  <a:gd name="T87" fmla="*/ 2147483647 h 204"/>
                  <a:gd name="T88" fmla="*/ 2147483647 w 456"/>
                  <a:gd name="T89" fmla="*/ 2147483647 h 204"/>
                  <a:gd name="T90" fmla="*/ 2147483647 w 456"/>
                  <a:gd name="T91" fmla="*/ 2147483647 h 20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56"/>
                  <a:gd name="T139" fmla="*/ 0 h 204"/>
                  <a:gd name="T140" fmla="*/ 456 w 456"/>
                  <a:gd name="T141" fmla="*/ 204 h 20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56" h="204">
                    <a:moveTo>
                      <a:pt x="456" y="102"/>
                    </a:moveTo>
                    <a:lnTo>
                      <a:pt x="456" y="60"/>
                    </a:lnTo>
                    <a:lnTo>
                      <a:pt x="450" y="60"/>
                    </a:lnTo>
                    <a:lnTo>
                      <a:pt x="450" y="48"/>
                    </a:lnTo>
                    <a:lnTo>
                      <a:pt x="456" y="24"/>
                    </a:lnTo>
                    <a:lnTo>
                      <a:pt x="444" y="18"/>
                    </a:lnTo>
                    <a:lnTo>
                      <a:pt x="438" y="18"/>
                    </a:lnTo>
                    <a:lnTo>
                      <a:pt x="432" y="12"/>
                    </a:lnTo>
                    <a:lnTo>
                      <a:pt x="420" y="12"/>
                    </a:lnTo>
                    <a:lnTo>
                      <a:pt x="414" y="18"/>
                    </a:lnTo>
                    <a:lnTo>
                      <a:pt x="402" y="24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66" y="6"/>
                    </a:lnTo>
                    <a:lnTo>
                      <a:pt x="354" y="0"/>
                    </a:lnTo>
                    <a:lnTo>
                      <a:pt x="336" y="0"/>
                    </a:lnTo>
                    <a:lnTo>
                      <a:pt x="330" y="6"/>
                    </a:lnTo>
                    <a:lnTo>
                      <a:pt x="324" y="18"/>
                    </a:lnTo>
                    <a:lnTo>
                      <a:pt x="318" y="18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300" y="30"/>
                    </a:lnTo>
                    <a:lnTo>
                      <a:pt x="288" y="36"/>
                    </a:lnTo>
                    <a:lnTo>
                      <a:pt x="276" y="36"/>
                    </a:lnTo>
                    <a:lnTo>
                      <a:pt x="258" y="18"/>
                    </a:lnTo>
                    <a:lnTo>
                      <a:pt x="252" y="36"/>
                    </a:lnTo>
                    <a:lnTo>
                      <a:pt x="234" y="36"/>
                    </a:lnTo>
                    <a:lnTo>
                      <a:pt x="240" y="48"/>
                    </a:lnTo>
                    <a:lnTo>
                      <a:pt x="240" y="66"/>
                    </a:lnTo>
                    <a:lnTo>
                      <a:pt x="234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66"/>
                    </a:lnTo>
                    <a:lnTo>
                      <a:pt x="204" y="72"/>
                    </a:lnTo>
                    <a:lnTo>
                      <a:pt x="198" y="78"/>
                    </a:lnTo>
                    <a:lnTo>
                      <a:pt x="198" y="84"/>
                    </a:lnTo>
                    <a:lnTo>
                      <a:pt x="210" y="84"/>
                    </a:lnTo>
                    <a:lnTo>
                      <a:pt x="210" y="126"/>
                    </a:lnTo>
                    <a:lnTo>
                      <a:pt x="204" y="126"/>
                    </a:lnTo>
                    <a:lnTo>
                      <a:pt x="192" y="114"/>
                    </a:lnTo>
                    <a:lnTo>
                      <a:pt x="174" y="108"/>
                    </a:lnTo>
                    <a:lnTo>
                      <a:pt x="162" y="102"/>
                    </a:lnTo>
                    <a:lnTo>
                      <a:pt x="144" y="114"/>
                    </a:lnTo>
                    <a:lnTo>
                      <a:pt x="126" y="114"/>
                    </a:lnTo>
                    <a:lnTo>
                      <a:pt x="108" y="126"/>
                    </a:lnTo>
                    <a:lnTo>
                      <a:pt x="102" y="132"/>
                    </a:lnTo>
                    <a:lnTo>
                      <a:pt x="84" y="132"/>
                    </a:lnTo>
                    <a:lnTo>
                      <a:pt x="66" y="114"/>
                    </a:lnTo>
                    <a:lnTo>
                      <a:pt x="48" y="114"/>
                    </a:lnTo>
                    <a:lnTo>
                      <a:pt x="48" y="126"/>
                    </a:lnTo>
                    <a:lnTo>
                      <a:pt x="42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0" y="120"/>
                    </a:lnTo>
                    <a:lnTo>
                      <a:pt x="0" y="156"/>
                    </a:lnTo>
                    <a:lnTo>
                      <a:pt x="18" y="156"/>
                    </a:lnTo>
                    <a:lnTo>
                      <a:pt x="18" y="174"/>
                    </a:lnTo>
                    <a:lnTo>
                      <a:pt x="24" y="174"/>
                    </a:lnTo>
                    <a:lnTo>
                      <a:pt x="42" y="156"/>
                    </a:lnTo>
                    <a:lnTo>
                      <a:pt x="48" y="156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72" y="174"/>
                    </a:lnTo>
                    <a:lnTo>
                      <a:pt x="84" y="180"/>
                    </a:lnTo>
                    <a:lnTo>
                      <a:pt x="96" y="162"/>
                    </a:lnTo>
                    <a:lnTo>
                      <a:pt x="138" y="162"/>
                    </a:lnTo>
                    <a:lnTo>
                      <a:pt x="138" y="156"/>
                    </a:lnTo>
                    <a:lnTo>
                      <a:pt x="144" y="150"/>
                    </a:lnTo>
                    <a:lnTo>
                      <a:pt x="162" y="150"/>
                    </a:lnTo>
                    <a:lnTo>
                      <a:pt x="168" y="156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186" y="192"/>
                    </a:lnTo>
                    <a:lnTo>
                      <a:pt x="240" y="192"/>
                    </a:lnTo>
                    <a:lnTo>
                      <a:pt x="240" y="204"/>
                    </a:lnTo>
                    <a:lnTo>
                      <a:pt x="258" y="204"/>
                    </a:lnTo>
                    <a:lnTo>
                      <a:pt x="264" y="198"/>
                    </a:lnTo>
                    <a:lnTo>
                      <a:pt x="282" y="198"/>
                    </a:lnTo>
                    <a:lnTo>
                      <a:pt x="288" y="204"/>
                    </a:lnTo>
                    <a:lnTo>
                      <a:pt x="318" y="204"/>
                    </a:lnTo>
                    <a:lnTo>
                      <a:pt x="318" y="192"/>
                    </a:lnTo>
                    <a:lnTo>
                      <a:pt x="366" y="192"/>
                    </a:lnTo>
                    <a:lnTo>
                      <a:pt x="378" y="186"/>
                    </a:lnTo>
                    <a:lnTo>
                      <a:pt x="402" y="192"/>
                    </a:lnTo>
                    <a:lnTo>
                      <a:pt x="414" y="156"/>
                    </a:lnTo>
                    <a:lnTo>
                      <a:pt x="432" y="156"/>
                    </a:lnTo>
                    <a:lnTo>
                      <a:pt x="432" y="132"/>
                    </a:lnTo>
                    <a:lnTo>
                      <a:pt x="444" y="114"/>
                    </a:lnTo>
                    <a:lnTo>
                      <a:pt x="432" y="114"/>
                    </a:lnTo>
                    <a:lnTo>
                      <a:pt x="438" y="102"/>
                    </a:lnTo>
                    <a:lnTo>
                      <a:pt x="456" y="10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9" name="Arm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96F6A81-2F42-00AD-D261-2F01D419316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00590" y="2415803"/>
                <a:ext cx="99328" cy="95792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0" name="Andor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257E399-36BD-05DB-D28C-E480F95D802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767864" y="2371456"/>
                <a:ext cx="14191" cy="7096"/>
              </a:xfrm>
              <a:custGeom>
                <a:avLst/>
                <a:gdLst>
                  <a:gd name="T0" fmla="*/ 2147483647 w 30"/>
                  <a:gd name="T1" fmla="*/ 2147483647 h 18"/>
                  <a:gd name="T2" fmla="*/ 2147483647 w 30"/>
                  <a:gd name="T3" fmla="*/ 2147483647 h 18"/>
                  <a:gd name="T4" fmla="*/ 2147483647 w 30"/>
                  <a:gd name="T5" fmla="*/ 2147483647 h 18"/>
                  <a:gd name="T6" fmla="*/ 2147483647 w 30"/>
                  <a:gd name="T7" fmla="*/ 0 h 18"/>
                  <a:gd name="T8" fmla="*/ 0 w 30"/>
                  <a:gd name="T9" fmla="*/ 0 h 18"/>
                  <a:gd name="T10" fmla="*/ 2147483647 w 30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18"/>
                  <a:gd name="T20" fmla="*/ 30 w 3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18">
                    <a:moveTo>
                      <a:pt x="6" y="18"/>
                    </a:moveTo>
                    <a:lnTo>
                      <a:pt x="18" y="12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71" name="Alb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35389FA-10D6-F20A-6B62-834E52D957C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78691" y="2371456"/>
                <a:ext cx="65626" cy="109985"/>
              </a:xfrm>
              <a:custGeom>
                <a:avLst/>
                <a:gdLst>
                  <a:gd name="T0" fmla="*/ 2147483647 w 144"/>
                  <a:gd name="T1" fmla="*/ 2147483647 h 246"/>
                  <a:gd name="T2" fmla="*/ 2147483647 w 144"/>
                  <a:gd name="T3" fmla="*/ 2147483647 h 246"/>
                  <a:gd name="T4" fmla="*/ 2147483647 w 144"/>
                  <a:gd name="T5" fmla="*/ 2147483647 h 246"/>
                  <a:gd name="T6" fmla="*/ 2147483647 w 144"/>
                  <a:gd name="T7" fmla="*/ 2147483647 h 246"/>
                  <a:gd name="T8" fmla="*/ 2147483647 w 144"/>
                  <a:gd name="T9" fmla="*/ 2147483647 h 246"/>
                  <a:gd name="T10" fmla="*/ 2147483647 w 144"/>
                  <a:gd name="T11" fmla="*/ 2147483647 h 246"/>
                  <a:gd name="T12" fmla="*/ 2147483647 w 144"/>
                  <a:gd name="T13" fmla="*/ 2147483647 h 246"/>
                  <a:gd name="T14" fmla="*/ 2147483647 w 144"/>
                  <a:gd name="T15" fmla="*/ 2147483647 h 246"/>
                  <a:gd name="T16" fmla="*/ 2147483647 w 144"/>
                  <a:gd name="T17" fmla="*/ 2147483647 h 246"/>
                  <a:gd name="T18" fmla="*/ 2147483647 w 144"/>
                  <a:gd name="T19" fmla="*/ 2147483647 h 246"/>
                  <a:gd name="T20" fmla="*/ 2147483647 w 144"/>
                  <a:gd name="T21" fmla="*/ 2147483647 h 246"/>
                  <a:gd name="T22" fmla="*/ 2147483647 w 144"/>
                  <a:gd name="T23" fmla="*/ 2147483647 h 246"/>
                  <a:gd name="T24" fmla="*/ 2147483647 w 144"/>
                  <a:gd name="T25" fmla="*/ 2147483647 h 246"/>
                  <a:gd name="T26" fmla="*/ 2147483647 w 144"/>
                  <a:gd name="T27" fmla="*/ 2147483647 h 246"/>
                  <a:gd name="T28" fmla="*/ 2147483647 w 144"/>
                  <a:gd name="T29" fmla="*/ 2147483647 h 246"/>
                  <a:gd name="T30" fmla="*/ 2147483647 w 144"/>
                  <a:gd name="T31" fmla="*/ 2147483647 h 246"/>
                  <a:gd name="T32" fmla="*/ 2147483647 w 144"/>
                  <a:gd name="T33" fmla="*/ 2147483647 h 246"/>
                  <a:gd name="T34" fmla="*/ 2147483647 w 144"/>
                  <a:gd name="T35" fmla="*/ 2147483647 h 246"/>
                  <a:gd name="T36" fmla="*/ 2147483647 w 144"/>
                  <a:gd name="T37" fmla="*/ 2147483647 h 246"/>
                  <a:gd name="T38" fmla="*/ 2147483647 w 144"/>
                  <a:gd name="T39" fmla="*/ 0 h 246"/>
                  <a:gd name="T40" fmla="*/ 2147483647 w 144"/>
                  <a:gd name="T41" fmla="*/ 2147483647 h 246"/>
                  <a:gd name="T42" fmla="*/ 2147483647 w 144"/>
                  <a:gd name="T43" fmla="*/ 2147483647 h 246"/>
                  <a:gd name="T44" fmla="*/ 0 w 144"/>
                  <a:gd name="T45" fmla="*/ 2147483647 h 246"/>
                  <a:gd name="T46" fmla="*/ 2147483647 w 144"/>
                  <a:gd name="T47" fmla="*/ 2147483647 h 246"/>
                  <a:gd name="T48" fmla="*/ 2147483647 w 144"/>
                  <a:gd name="T49" fmla="*/ 2147483647 h 246"/>
                  <a:gd name="T50" fmla="*/ 2147483647 w 144"/>
                  <a:gd name="T51" fmla="*/ 2147483647 h 246"/>
                  <a:gd name="T52" fmla="*/ 2147483647 w 144"/>
                  <a:gd name="T53" fmla="*/ 2147483647 h 246"/>
                  <a:gd name="T54" fmla="*/ 2147483647 w 144"/>
                  <a:gd name="T55" fmla="*/ 2147483647 h 246"/>
                  <a:gd name="T56" fmla="*/ 2147483647 w 144"/>
                  <a:gd name="T57" fmla="*/ 2147483647 h 246"/>
                  <a:gd name="T58" fmla="*/ 2147483647 w 144"/>
                  <a:gd name="T59" fmla="*/ 2147483647 h 246"/>
                  <a:gd name="T60" fmla="*/ 2147483647 w 144"/>
                  <a:gd name="T61" fmla="*/ 2147483647 h 246"/>
                  <a:gd name="T62" fmla="*/ 2147483647 w 144"/>
                  <a:gd name="T63" fmla="*/ 2147483647 h 246"/>
                  <a:gd name="T64" fmla="*/ 2147483647 w 144"/>
                  <a:gd name="T65" fmla="*/ 2147483647 h 246"/>
                  <a:gd name="T66" fmla="*/ 2147483647 w 144"/>
                  <a:gd name="T67" fmla="*/ 2147483647 h 246"/>
                  <a:gd name="T68" fmla="*/ 2147483647 w 144"/>
                  <a:gd name="T69" fmla="*/ 2147483647 h 246"/>
                  <a:gd name="T70" fmla="*/ 2147483647 w 144"/>
                  <a:gd name="T71" fmla="*/ 2147483647 h 246"/>
                  <a:gd name="T72" fmla="*/ 2147483647 w 144"/>
                  <a:gd name="T73" fmla="*/ 2147483647 h 246"/>
                  <a:gd name="T74" fmla="*/ 2147483647 w 144"/>
                  <a:gd name="T75" fmla="*/ 2147483647 h 246"/>
                  <a:gd name="T76" fmla="*/ 2147483647 w 144"/>
                  <a:gd name="T77" fmla="*/ 2147483647 h 246"/>
                  <a:gd name="T78" fmla="*/ 2147483647 w 144"/>
                  <a:gd name="T79" fmla="*/ 2147483647 h 246"/>
                  <a:gd name="T80" fmla="*/ 2147483647 w 144"/>
                  <a:gd name="T81" fmla="*/ 2147483647 h 246"/>
                  <a:gd name="T82" fmla="*/ 2147483647 w 144"/>
                  <a:gd name="T83" fmla="*/ 2147483647 h 246"/>
                  <a:gd name="T84" fmla="*/ 2147483647 w 144"/>
                  <a:gd name="T85" fmla="*/ 2147483647 h 246"/>
                  <a:gd name="T86" fmla="*/ 2147483647 w 144"/>
                  <a:gd name="T87" fmla="*/ 2147483647 h 246"/>
                  <a:gd name="T88" fmla="*/ 2147483647 w 144"/>
                  <a:gd name="T89" fmla="*/ 2147483647 h 2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246"/>
                  <a:gd name="T137" fmla="*/ 144 w 144"/>
                  <a:gd name="T138" fmla="*/ 246 h 2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246">
                    <a:moveTo>
                      <a:pt x="96" y="210"/>
                    </a:moveTo>
                    <a:lnTo>
                      <a:pt x="96" y="204"/>
                    </a:lnTo>
                    <a:lnTo>
                      <a:pt x="108" y="204"/>
                    </a:lnTo>
                    <a:lnTo>
                      <a:pt x="120" y="198"/>
                    </a:lnTo>
                    <a:lnTo>
                      <a:pt x="120" y="174"/>
                    </a:lnTo>
                    <a:lnTo>
                      <a:pt x="138" y="174"/>
                    </a:lnTo>
                    <a:lnTo>
                      <a:pt x="144" y="168"/>
                    </a:lnTo>
                    <a:lnTo>
                      <a:pt x="144" y="138"/>
                    </a:lnTo>
                    <a:lnTo>
                      <a:pt x="120" y="144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20"/>
                    </a:lnTo>
                    <a:lnTo>
                      <a:pt x="108" y="96"/>
                    </a:lnTo>
                    <a:lnTo>
                      <a:pt x="102" y="84"/>
                    </a:lnTo>
                    <a:lnTo>
                      <a:pt x="102" y="42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36" y="0"/>
                    </a:lnTo>
                    <a:lnTo>
                      <a:pt x="36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48"/>
                    </a:lnTo>
                    <a:lnTo>
                      <a:pt x="18" y="60"/>
                    </a:lnTo>
                    <a:lnTo>
                      <a:pt x="24" y="66"/>
                    </a:lnTo>
                    <a:lnTo>
                      <a:pt x="48" y="66"/>
                    </a:lnTo>
                    <a:lnTo>
                      <a:pt x="48" y="84"/>
                    </a:lnTo>
                    <a:lnTo>
                      <a:pt x="42" y="96"/>
                    </a:lnTo>
                    <a:lnTo>
                      <a:pt x="42" y="114"/>
                    </a:lnTo>
                    <a:lnTo>
                      <a:pt x="36" y="132"/>
                    </a:lnTo>
                    <a:lnTo>
                      <a:pt x="36" y="15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42" y="204"/>
                    </a:lnTo>
                    <a:lnTo>
                      <a:pt x="54" y="210"/>
                    </a:lnTo>
                    <a:lnTo>
                      <a:pt x="60" y="216"/>
                    </a:lnTo>
                    <a:lnTo>
                      <a:pt x="60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90" y="246"/>
                    </a:lnTo>
                    <a:lnTo>
                      <a:pt x="96" y="246"/>
                    </a:lnTo>
                    <a:lnTo>
                      <a:pt x="96" y="21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472" name="Group 340">
                <a:extLst>
                  <a:ext uri="{FF2B5EF4-FFF2-40B4-BE49-F238E27FC236}">
                    <a16:creationId xmlns:a16="http://schemas.microsoft.com/office/drawing/2014/main" id="{88AF44B2-8A9D-D93C-081D-DD356D5180CD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 bwMode="auto">
              <a:xfrm>
                <a:off x="6268048" y="2245510"/>
                <a:ext cx="124159" cy="152559"/>
                <a:chOff x="2184" y="1242"/>
                <a:chExt cx="257" cy="316"/>
              </a:xfrm>
              <a:grpFill/>
            </p:grpSpPr>
            <p:sp>
              <p:nvSpPr>
                <p:cNvPr id="489" name="Freeform 341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1AEF25C1-C8D8-C4C0-A31E-DB058FC3125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184" y="1242"/>
                  <a:ext cx="257" cy="282"/>
                </a:xfrm>
                <a:custGeom>
                  <a:avLst/>
                  <a:gdLst/>
                  <a:ahLst/>
                  <a:cxnLst>
                    <a:cxn ang="0">
                      <a:pos x="464" y="374"/>
                    </a:cxn>
                    <a:cxn ang="0">
                      <a:pos x="453" y="310"/>
                    </a:cxn>
                    <a:cxn ang="0">
                      <a:pos x="453" y="235"/>
                    </a:cxn>
                    <a:cxn ang="0">
                      <a:pos x="378" y="224"/>
                    </a:cxn>
                    <a:cxn ang="0">
                      <a:pos x="302" y="171"/>
                    </a:cxn>
                    <a:cxn ang="0">
                      <a:pos x="291" y="118"/>
                    </a:cxn>
                    <a:cxn ang="0">
                      <a:pos x="259" y="128"/>
                    </a:cxn>
                    <a:cxn ang="0">
                      <a:pos x="216" y="53"/>
                    </a:cxn>
                    <a:cxn ang="0">
                      <a:pos x="87" y="0"/>
                    </a:cxn>
                    <a:cxn ang="0">
                      <a:pos x="0" y="43"/>
                    </a:cxn>
                    <a:cxn ang="0">
                      <a:pos x="32" y="96"/>
                    </a:cxn>
                    <a:cxn ang="0">
                      <a:pos x="65" y="139"/>
                    </a:cxn>
                    <a:cxn ang="0">
                      <a:pos x="54" y="150"/>
                    </a:cxn>
                    <a:cxn ang="0">
                      <a:pos x="32" y="181"/>
                    </a:cxn>
                    <a:cxn ang="0">
                      <a:pos x="32" y="192"/>
                    </a:cxn>
                    <a:cxn ang="0">
                      <a:pos x="76" y="203"/>
                    </a:cxn>
                    <a:cxn ang="0">
                      <a:pos x="87" y="267"/>
                    </a:cxn>
                    <a:cxn ang="0">
                      <a:pos x="65" y="310"/>
                    </a:cxn>
                    <a:cxn ang="0">
                      <a:pos x="98" y="363"/>
                    </a:cxn>
                    <a:cxn ang="0">
                      <a:pos x="119" y="395"/>
                    </a:cxn>
                    <a:cxn ang="0">
                      <a:pos x="157" y="442"/>
                    </a:cxn>
                    <a:cxn ang="0">
                      <a:pos x="173" y="438"/>
                    </a:cxn>
                    <a:cxn ang="0">
                      <a:pos x="180" y="444"/>
                    </a:cxn>
                    <a:cxn ang="0">
                      <a:pos x="230" y="446"/>
                    </a:cxn>
                    <a:cxn ang="0">
                      <a:pos x="237" y="431"/>
                    </a:cxn>
                    <a:cxn ang="0">
                      <a:pos x="258" y="416"/>
                    </a:cxn>
                    <a:cxn ang="0">
                      <a:pos x="266" y="418"/>
                    </a:cxn>
                    <a:cxn ang="0">
                      <a:pos x="268" y="407"/>
                    </a:cxn>
                    <a:cxn ang="0">
                      <a:pos x="267" y="399"/>
                    </a:cxn>
                    <a:cxn ang="0">
                      <a:pos x="254" y="388"/>
                    </a:cxn>
                    <a:cxn ang="0">
                      <a:pos x="262" y="387"/>
                    </a:cxn>
                    <a:cxn ang="0">
                      <a:pos x="279" y="380"/>
                    </a:cxn>
                    <a:cxn ang="0">
                      <a:pos x="288" y="372"/>
                    </a:cxn>
                    <a:cxn ang="0">
                      <a:pos x="298" y="389"/>
                    </a:cxn>
                    <a:cxn ang="0">
                      <a:pos x="292" y="399"/>
                    </a:cxn>
                    <a:cxn ang="0">
                      <a:pos x="309" y="402"/>
                    </a:cxn>
                    <a:cxn ang="0">
                      <a:pos x="321" y="404"/>
                    </a:cxn>
                    <a:cxn ang="0">
                      <a:pos x="326" y="408"/>
                    </a:cxn>
                    <a:cxn ang="0">
                      <a:pos x="328" y="433"/>
                    </a:cxn>
                    <a:cxn ang="0">
                      <a:pos x="334" y="429"/>
                    </a:cxn>
                    <a:cxn ang="0">
                      <a:pos x="335" y="448"/>
                    </a:cxn>
                    <a:cxn ang="0">
                      <a:pos x="348" y="452"/>
                    </a:cxn>
                    <a:cxn ang="0">
                      <a:pos x="356" y="467"/>
                    </a:cxn>
                    <a:cxn ang="0">
                      <a:pos x="354" y="478"/>
                    </a:cxn>
                    <a:cxn ang="0">
                      <a:pos x="356" y="482"/>
                    </a:cxn>
                    <a:cxn ang="0">
                      <a:pos x="369" y="485"/>
                    </a:cxn>
                    <a:cxn ang="0">
                      <a:pos x="381" y="492"/>
                    </a:cxn>
                    <a:cxn ang="0">
                      <a:pos x="390" y="496"/>
                    </a:cxn>
                    <a:cxn ang="0">
                      <a:pos x="399" y="501"/>
                    </a:cxn>
                    <a:cxn ang="0">
                      <a:pos x="392" y="513"/>
                    </a:cxn>
                    <a:cxn ang="0">
                      <a:pos x="384" y="528"/>
                    </a:cxn>
                    <a:cxn ang="0">
                      <a:pos x="376" y="542"/>
                    </a:cxn>
                    <a:cxn ang="0">
                      <a:pos x="453" y="492"/>
                    </a:cxn>
                    <a:cxn ang="0">
                      <a:pos x="486" y="470"/>
                    </a:cxn>
                    <a:cxn ang="0">
                      <a:pos x="486" y="406"/>
                    </a:cxn>
                  </a:cxnLst>
                  <a:rect l="0" t="0" r="r" b="b"/>
                  <a:pathLst>
                    <a:path w="496" h="542">
                      <a:moveTo>
                        <a:pt x="486" y="406"/>
                      </a:moveTo>
                      <a:cubicBezTo>
                        <a:pt x="453" y="395"/>
                        <a:pt x="453" y="395"/>
                        <a:pt x="453" y="395"/>
                      </a:cubicBezTo>
                      <a:cubicBezTo>
                        <a:pt x="464" y="374"/>
                        <a:pt x="464" y="374"/>
                        <a:pt x="464" y="374"/>
                      </a:cubicBezTo>
                      <a:cubicBezTo>
                        <a:pt x="432" y="363"/>
                        <a:pt x="432" y="363"/>
                        <a:pt x="432" y="363"/>
                      </a:cubicBezTo>
                      <a:cubicBezTo>
                        <a:pt x="432" y="331"/>
                        <a:pt x="432" y="331"/>
                        <a:pt x="432" y="331"/>
                      </a:cubicBezTo>
                      <a:cubicBezTo>
                        <a:pt x="453" y="310"/>
                        <a:pt x="453" y="310"/>
                        <a:pt x="453" y="310"/>
                      </a:cubicBezTo>
                      <a:cubicBezTo>
                        <a:pt x="453" y="267"/>
                        <a:pt x="453" y="267"/>
                        <a:pt x="453" y="267"/>
                      </a:cubicBezTo>
                      <a:cubicBezTo>
                        <a:pt x="442" y="256"/>
                        <a:pt x="442" y="256"/>
                        <a:pt x="442" y="256"/>
                      </a:cubicBezTo>
                      <a:cubicBezTo>
                        <a:pt x="453" y="235"/>
                        <a:pt x="453" y="235"/>
                        <a:pt x="453" y="235"/>
                      </a:cubicBezTo>
                      <a:cubicBezTo>
                        <a:pt x="464" y="224"/>
                        <a:pt x="464" y="224"/>
                        <a:pt x="464" y="224"/>
                      </a:cubicBezTo>
                      <a:cubicBezTo>
                        <a:pt x="421" y="213"/>
                        <a:pt x="421" y="213"/>
                        <a:pt x="421" y="213"/>
                      </a:cubicBezTo>
                      <a:cubicBezTo>
                        <a:pt x="378" y="224"/>
                        <a:pt x="378" y="224"/>
                        <a:pt x="378" y="224"/>
                      </a:cubicBezTo>
                      <a:cubicBezTo>
                        <a:pt x="367" y="213"/>
                        <a:pt x="367" y="213"/>
                        <a:pt x="367" y="213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02" y="171"/>
                        <a:pt x="302" y="171"/>
                        <a:pt x="302" y="171"/>
                      </a:cubicBezTo>
                      <a:cubicBezTo>
                        <a:pt x="313" y="160"/>
                        <a:pt x="313" y="160"/>
                        <a:pt x="313" y="160"/>
                      </a:cubicBezTo>
                      <a:cubicBezTo>
                        <a:pt x="313" y="128"/>
                        <a:pt x="313" y="128"/>
                        <a:pt x="313" y="128"/>
                      </a:cubicBezTo>
                      <a:cubicBezTo>
                        <a:pt x="291" y="118"/>
                        <a:pt x="291" y="118"/>
                        <a:pt x="291" y="118"/>
                      </a:cubicBezTo>
                      <a:cubicBezTo>
                        <a:pt x="280" y="118"/>
                        <a:pt x="280" y="118"/>
                        <a:pt x="280" y="118"/>
                      </a:cubicBezTo>
                      <a:cubicBezTo>
                        <a:pt x="270" y="128"/>
                        <a:pt x="270" y="128"/>
                        <a:pt x="270" y="128"/>
                      </a:cubicBezTo>
                      <a:cubicBezTo>
                        <a:pt x="259" y="128"/>
                        <a:pt x="259" y="128"/>
                        <a:pt x="259" y="128"/>
                      </a:cubicBezTo>
                      <a:cubicBezTo>
                        <a:pt x="249" y="118"/>
                        <a:pt x="249" y="118"/>
                        <a:pt x="249" y="118"/>
                      </a:cubicBezTo>
                      <a:cubicBezTo>
                        <a:pt x="227" y="53"/>
                        <a:pt x="227" y="53"/>
                        <a:pt x="227" y="53"/>
                      </a:cubicBezTo>
                      <a:cubicBezTo>
                        <a:pt x="216" y="53"/>
                        <a:pt x="216" y="53"/>
                        <a:pt x="216" y="53"/>
                      </a:cubicBezTo>
                      <a:cubicBezTo>
                        <a:pt x="173" y="21"/>
                        <a:pt x="173" y="21"/>
                        <a:pt x="173" y="21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11" y="32"/>
                        <a:pt x="11" y="32"/>
                        <a:pt x="11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2" y="128"/>
                        <a:pt x="22" y="128"/>
                        <a:pt x="22" y="128"/>
                      </a:cubicBezTo>
                      <a:cubicBezTo>
                        <a:pt x="43" y="128"/>
                        <a:pt x="43" y="128"/>
                        <a:pt x="43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65" y="150"/>
                        <a:pt x="65" y="150"/>
                        <a:pt x="65" y="150"/>
                      </a:cubicBezTo>
                      <a:cubicBezTo>
                        <a:pt x="54" y="150"/>
                        <a:pt x="54" y="150"/>
                        <a:pt x="54" y="150"/>
                      </a:cubicBezTo>
                      <a:cubicBezTo>
                        <a:pt x="43" y="160"/>
                        <a:pt x="43" y="160"/>
                        <a:pt x="43" y="160"/>
                      </a:cubicBezTo>
                      <a:cubicBezTo>
                        <a:pt x="32" y="160"/>
                        <a:pt x="32" y="160"/>
                        <a:pt x="32" y="160"/>
                      </a:cubicBezTo>
                      <a:cubicBezTo>
                        <a:pt x="32" y="181"/>
                        <a:pt x="32" y="181"/>
                        <a:pt x="32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2" y="192"/>
                        <a:pt x="22" y="192"/>
                        <a:pt x="22" y="192"/>
                      </a:cubicBezTo>
                      <a:cubicBezTo>
                        <a:pt x="32" y="192"/>
                        <a:pt x="32" y="192"/>
                        <a:pt x="32" y="192"/>
                      </a:cubicBezTo>
                      <a:cubicBezTo>
                        <a:pt x="54" y="181"/>
                        <a:pt x="54" y="181"/>
                        <a:pt x="54" y="181"/>
                      </a:cubicBezTo>
                      <a:cubicBezTo>
                        <a:pt x="76" y="181"/>
                        <a:pt x="76" y="181"/>
                        <a:pt x="76" y="181"/>
                      </a:cubicBezTo>
                      <a:cubicBezTo>
                        <a:pt x="76" y="203"/>
                        <a:pt x="76" y="203"/>
                        <a:pt x="76" y="203"/>
                      </a:cubicBezTo>
                      <a:cubicBezTo>
                        <a:pt x="43" y="235"/>
                        <a:pt x="43" y="235"/>
                        <a:pt x="43" y="235"/>
                      </a:cubicBezTo>
                      <a:cubicBezTo>
                        <a:pt x="43" y="267"/>
                        <a:pt x="43" y="267"/>
                        <a:pt x="43" y="267"/>
                      </a:cubicBezTo>
                      <a:cubicBezTo>
                        <a:pt x="87" y="267"/>
                        <a:pt x="87" y="267"/>
                        <a:pt x="87" y="267"/>
                      </a:cubicBezTo>
                      <a:cubicBezTo>
                        <a:pt x="98" y="278"/>
                        <a:pt x="98" y="278"/>
                        <a:pt x="98" y="278"/>
                      </a:cubicBezTo>
                      <a:cubicBezTo>
                        <a:pt x="108" y="299"/>
                        <a:pt x="108" y="299"/>
                        <a:pt x="108" y="299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87" y="331"/>
                        <a:pt x="87" y="331"/>
                        <a:pt x="87" y="331"/>
                      </a:cubicBezTo>
                      <a:cubicBezTo>
                        <a:pt x="98" y="353"/>
                        <a:pt x="98" y="353"/>
                        <a:pt x="98" y="353"/>
                      </a:cubicBezTo>
                      <a:cubicBezTo>
                        <a:pt x="98" y="363"/>
                        <a:pt x="98" y="363"/>
                        <a:pt x="98" y="363"/>
                      </a:cubicBezTo>
                      <a:cubicBezTo>
                        <a:pt x="87" y="363"/>
                        <a:pt x="87" y="363"/>
                        <a:pt x="87" y="363"/>
                      </a:cubicBezTo>
                      <a:cubicBezTo>
                        <a:pt x="87" y="374"/>
                        <a:pt x="87" y="374"/>
                        <a:pt x="87" y="374"/>
                      </a:cubicBezTo>
                      <a:cubicBezTo>
                        <a:pt x="119" y="395"/>
                        <a:pt x="119" y="395"/>
                        <a:pt x="119" y="395"/>
                      </a:cubicBezTo>
                      <a:cubicBezTo>
                        <a:pt x="140" y="417"/>
                        <a:pt x="140" y="417"/>
                        <a:pt x="140" y="417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9" y="442"/>
                        <a:pt x="161" y="443"/>
                        <a:pt x="166" y="444"/>
                      </a:cubicBezTo>
                      <a:cubicBezTo>
                        <a:pt x="166" y="444"/>
                        <a:pt x="166" y="444"/>
                        <a:pt x="167" y="444"/>
                      </a:cubicBezTo>
                      <a:cubicBezTo>
                        <a:pt x="173" y="438"/>
                        <a:pt x="173" y="438"/>
                        <a:pt x="173" y="438"/>
                      </a:cubicBezTo>
                      <a:cubicBezTo>
                        <a:pt x="173" y="447"/>
                        <a:pt x="173" y="447"/>
                        <a:pt x="173" y="447"/>
                      </a:cubicBezTo>
                      <a:cubicBezTo>
                        <a:pt x="174" y="448"/>
                        <a:pt x="175" y="448"/>
                        <a:pt x="176" y="449"/>
                      </a:cubicBezTo>
                      <a:cubicBezTo>
                        <a:pt x="176" y="449"/>
                        <a:pt x="176" y="449"/>
                        <a:pt x="180" y="444"/>
                      </a:cubicBezTo>
                      <a:cubicBezTo>
                        <a:pt x="180" y="444"/>
                        <a:pt x="180" y="444"/>
                        <a:pt x="199" y="447"/>
                      </a:cubicBezTo>
                      <a:cubicBezTo>
                        <a:pt x="199" y="447"/>
                        <a:pt x="199" y="447"/>
                        <a:pt x="212" y="446"/>
                      </a:cubicBezTo>
                      <a:cubicBezTo>
                        <a:pt x="212" y="446"/>
                        <a:pt x="212" y="446"/>
                        <a:pt x="230" y="446"/>
                      </a:cubicBezTo>
                      <a:cubicBezTo>
                        <a:pt x="230" y="446"/>
                        <a:pt x="230" y="446"/>
                        <a:pt x="240" y="443"/>
                      </a:cubicBezTo>
                      <a:cubicBezTo>
                        <a:pt x="240" y="443"/>
                        <a:pt x="240" y="443"/>
                        <a:pt x="239" y="437"/>
                      </a:cubicBezTo>
                      <a:cubicBezTo>
                        <a:pt x="239" y="437"/>
                        <a:pt x="239" y="437"/>
                        <a:pt x="237" y="431"/>
                      </a:cubicBezTo>
                      <a:cubicBezTo>
                        <a:pt x="237" y="431"/>
                        <a:pt x="237" y="431"/>
                        <a:pt x="245" y="425"/>
                      </a:cubicBezTo>
                      <a:cubicBezTo>
                        <a:pt x="245" y="425"/>
                        <a:pt x="245" y="425"/>
                        <a:pt x="255" y="417"/>
                      </a:cubicBezTo>
                      <a:cubicBezTo>
                        <a:pt x="255" y="417"/>
                        <a:pt x="255" y="417"/>
                        <a:pt x="258" y="416"/>
                      </a:cubicBezTo>
                      <a:cubicBezTo>
                        <a:pt x="258" y="416"/>
                        <a:pt x="258" y="416"/>
                        <a:pt x="258" y="421"/>
                      </a:cubicBezTo>
                      <a:cubicBezTo>
                        <a:pt x="258" y="421"/>
                        <a:pt x="258" y="421"/>
                        <a:pt x="262" y="419"/>
                      </a:cubicBezTo>
                      <a:cubicBezTo>
                        <a:pt x="262" y="419"/>
                        <a:pt x="262" y="419"/>
                        <a:pt x="266" y="418"/>
                      </a:cubicBezTo>
                      <a:cubicBezTo>
                        <a:pt x="266" y="418"/>
                        <a:pt x="266" y="418"/>
                        <a:pt x="263" y="414"/>
                      </a:cubicBezTo>
                      <a:cubicBezTo>
                        <a:pt x="263" y="414"/>
                        <a:pt x="263" y="414"/>
                        <a:pt x="267" y="412"/>
                      </a:cubicBezTo>
                      <a:cubicBezTo>
                        <a:pt x="267" y="412"/>
                        <a:pt x="267" y="412"/>
                        <a:pt x="268" y="407"/>
                      </a:cubicBezTo>
                      <a:cubicBezTo>
                        <a:pt x="268" y="407"/>
                        <a:pt x="268" y="407"/>
                        <a:pt x="264" y="405"/>
                      </a:cubicBezTo>
                      <a:cubicBezTo>
                        <a:pt x="264" y="405"/>
                        <a:pt x="264" y="405"/>
                        <a:pt x="264" y="402"/>
                      </a:cubicBezTo>
                      <a:cubicBezTo>
                        <a:pt x="264" y="402"/>
                        <a:pt x="264" y="402"/>
                        <a:pt x="267" y="399"/>
                      </a:cubicBezTo>
                      <a:cubicBezTo>
                        <a:pt x="267" y="399"/>
                        <a:pt x="267" y="399"/>
                        <a:pt x="266" y="396"/>
                      </a:cubicBezTo>
                      <a:cubicBezTo>
                        <a:pt x="266" y="396"/>
                        <a:pt x="266" y="396"/>
                        <a:pt x="258" y="394"/>
                      </a:cubicBezTo>
                      <a:cubicBezTo>
                        <a:pt x="258" y="394"/>
                        <a:pt x="258" y="394"/>
                        <a:pt x="254" y="388"/>
                      </a:cubicBezTo>
                      <a:cubicBezTo>
                        <a:pt x="254" y="388"/>
                        <a:pt x="254" y="388"/>
                        <a:pt x="256" y="385"/>
                      </a:cubicBezTo>
                      <a:cubicBezTo>
                        <a:pt x="256" y="385"/>
                        <a:pt x="256" y="385"/>
                        <a:pt x="259" y="389"/>
                      </a:cubicBezTo>
                      <a:cubicBezTo>
                        <a:pt x="259" y="389"/>
                        <a:pt x="259" y="389"/>
                        <a:pt x="262" y="387"/>
                      </a:cubicBezTo>
                      <a:cubicBezTo>
                        <a:pt x="262" y="387"/>
                        <a:pt x="262" y="387"/>
                        <a:pt x="267" y="388"/>
                      </a:cubicBezTo>
                      <a:cubicBezTo>
                        <a:pt x="267" y="388"/>
                        <a:pt x="267" y="388"/>
                        <a:pt x="271" y="385"/>
                      </a:cubicBezTo>
                      <a:cubicBezTo>
                        <a:pt x="271" y="385"/>
                        <a:pt x="271" y="385"/>
                        <a:pt x="279" y="380"/>
                      </a:cubicBezTo>
                      <a:cubicBezTo>
                        <a:pt x="279" y="380"/>
                        <a:pt x="279" y="380"/>
                        <a:pt x="282" y="378"/>
                      </a:cubicBezTo>
                      <a:cubicBezTo>
                        <a:pt x="282" y="378"/>
                        <a:pt x="282" y="378"/>
                        <a:pt x="283" y="374"/>
                      </a:cubicBezTo>
                      <a:cubicBezTo>
                        <a:pt x="283" y="374"/>
                        <a:pt x="283" y="374"/>
                        <a:pt x="288" y="372"/>
                      </a:cubicBezTo>
                      <a:cubicBezTo>
                        <a:pt x="288" y="372"/>
                        <a:pt x="288" y="372"/>
                        <a:pt x="293" y="377"/>
                      </a:cubicBezTo>
                      <a:cubicBezTo>
                        <a:pt x="293" y="377"/>
                        <a:pt x="293" y="377"/>
                        <a:pt x="297" y="384"/>
                      </a:cubicBezTo>
                      <a:cubicBezTo>
                        <a:pt x="297" y="384"/>
                        <a:pt x="297" y="384"/>
                        <a:pt x="298" y="389"/>
                      </a:cubicBezTo>
                      <a:cubicBezTo>
                        <a:pt x="298" y="389"/>
                        <a:pt x="298" y="389"/>
                        <a:pt x="298" y="392"/>
                      </a:cubicBezTo>
                      <a:cubicBezTo>
                        <a:pt x="298" y="392"/>
                        <a:pt x="298" y="392"/>
                        <a:pt x="291" y="396"/>
                      </a:cubicBezTo>
                      <a:cubicBezTo>
                        <a:pt x="291" y="396"/>
                        <a:pt x="291" y="396"/>
                        <a:pt x="292" y="399"/>
                      </a:cubicBezTo>
                      <a:cubicBezTo>
                        <a:pt x="292" y="399"/>
                        <a:pt x="292" y="399"/>
                        <a:pt x="299" y="400"/>
                      </a:cubicBezTo>
                      <a:cubicBezTo>
                        <a:pt x="299" y="400"/>
                        <a:pt x="299" y="400"/>
                        <a:pt x="303" y="404"/>
                      </a:cubicBezTo>
                      <a:cubicBezTo>
                        <a:pt x="303" y="404"/>
                        <a:pt x="303" y="404"/>
                        <a:pt x="309" y="402"/>
                      </a:cubicBezTo>
                      <a:cubicBezTo>
                        <a:pt x="309" y="402"/>
                        <a:pt x="309" y="402"/>
                        <a:pt x="314" y="404"/>
                      </a:cubicBezTo>
                      <a:cubicBezTo>
                        <a:pt x="314" y="404"/>
                        <a:pt x="314" y="404"/>
                        <a:pt x="319" y="401"/>
                      </a:cubicBezTo>
                      <a:cubicBezTo>
                        <a:pt x="319" y="401"/>
                        <a:pt x="319" y="401"/>
                        <a:pt x="321" y="404"/>
                      </a:cubicBezTo>
                      <a:cubicBezTo>
                        <a:pt x="321" y="404"/>
                        <a:pt x="321" y="404"/>
                        <a:pt x="318" y="408"/>
                      </a:cubicBezTo>
                      <a:cubicBezTo>
                        <a:pt x="318" y="408"/>
                        <a:pt x="318" y="408"/>
                        <a:pt x="324" y="407"/>
                      </a:cubicBezTo>
                      <a:cubicBezTo>
                        <a:pt x="324" y="407"/>
                        <a:pt x="324" y="407"/>
                        <a:pt x="326" y="408"/>
                      </a:cubicBezTo>
                      <a:cubicBezTo>
                        <a:pt x="326" y="408"/>
                        <a:pt x="326" y="408"/>
                        <a:pt x="324" y="425"/>
                      </a:cubicBezTo>
                      <a:cubicBezTo>
                        <a:pt x="324" y="425"/>
                        <a:pt x="324" y="425"/>
                        <a:pt x="324" y="432"/>
                      </a:cubicBezTo>
                      <a:cubicBezTo>
                        <a:pt x="324" y="432"/>
                        <a:pt x="324" y="432"/>
                        <a:pt x="328" y="433"/>
                      </a:cubicBezTo>
                      <a:cubicBezTo>
                        <a:pt x="328" y="433"/>
                        <a:pt x="328" y="433"/>
                        <a:pt x="330" y="431"/>
                      </a:cubicBezTo>
                      <a:cubicBezTo>
                        <a:pt x="330" y="431"/>
                        <a:pt x="330" y="431"/>
                        <a:pt x="331" y="428"/>
                      </a:cubicBezTo>
                      <a:cubicBezTo>
                        <a:pt x="331" y="428"/>
                        <a:pt x="331" y="428"/>
                        <a:pt x="334" y="429"/>
                      </a:cubicBezTo>
                      <a:cubicBezTo>
                        <a:pt x="334" y="429"/>
                        <a:pt x="334" y="429"/>
                        <a:pt x="336" y="433"/>
                      </a:cubicBezTo>
                      <a:cubicBezTo>
                        <a:pt x="336" y="433"/>
                        <a:pt x="336" y="433"/>
                        <a:pt x="336" y="443"/>
                      </a:cubicBezTo>
                      <a:cubicBezTo>
                        <a:pt x="336" y="443"/>
                        <a:pt x="336" y="443"/>
                        <a:pt x="335" y="448"/>
                      </a:cubicBezTo>
                      <a:cubicBezTo>
                        <a:pt x="335" y="448"/>
                        <a:pt x="335" y="448"/>
                        <a:pt x="339" y="450"/>
                      </a:cubicBezTo>
                      <a:cubicBezTo>
                        <a:pt x="339" y="450"/>
                        <a:pt x="339" y="450"/>
                        <a:pt x="344" y="450"/>
                      </a:cubicBezTo>
                      <a:cubicBezTo>
                        <a:pt x="344" y="450"/>
                        <a:pt x="344" y="450"/>
                        <a:pt x="348" y="452"/>
                      </a:cubicBezTo>
                      <a:cubicBezTo>
                        <a:pt x="348" y="452"/>
                        <a:pt x="348" y="452"/>
                        <a:pt x="353" y="456"/>
                      </a:cubicBezTo>
                      <a:cubicBezTo>
                        <a:pt x="353" y="456"/>
                        <a:pt x="353" y="456"/>
                        <a:pt x="357" y="457"/>
                      </a:cubicBezTo>
                      <a:cubicBezTo>
                        <a:pt x="357" y="457"/>
                        <a:pt x="357" y="457"/>
                        <a:pt x="356" y="467"/>
                      </a:cubicBezTo>
                      <a:cubicBezTo>
                        <a:pt x="356" y="467"/>
                        <a:pt x="356" y="467"/>
                        <a:pt x="356" y="472"/>
                      </a:cubicBezTo>
                      <a:cubicBezTo>
                        <a:pt x="356" y="472"/>
                        <a:pt x="356" y="472"/>
                        <a:pt x="352" y="473"/>
                      </a:cubicBezTo>
                      <a:cubicBezTo>
                        <a:pt x="352" y="473"/>
                        <a:pt x="352" y="473"/>
                        <a:pt x="354" y="478"/>
                      </a:cubicBezTo>
                      <a:cubicBezTo>
                        <a:pt x="354" y="478"/>
                        <a:pt x="354" y="478"/>
                        <a:pt x="351" y="482"/>
                      </a:cubicBezTo>
                      <a:cubicBezTo>
                        <a:pt x="351" y="482"/>
                        <a:pt x="351" y="482"/>
                        <a:pt x="353" y="483"/>
                      </a:cubicBezTo>
                      <a:cubicBezTo>
                        <a:pt x="353" y="483"/>
                        <a:pt x="353" y="483"/>
                        <a:pt x="356" y="482"/>
                      </a:cubicBezTo>
                      <a:cubicBezTo>
                        <a:pt x="356" y="482"/>
                        <a:pt x="356" y="482"/>
                        <a:pt x="361" y="485"/>
                      </a:cubicBezTo>
                      <a:cubicBezTo>
                        <a:pt x="361" y="485"/>
                        <a:pt x="361" y="485"/>
                        <a:pt x="364" y="483"/>
                      </a:cubicBezTo>
                      <a:cubicBezTo>
                        <a:pt x="364" y="483"/>
                        <a:pt x="364" y="483"/>
                        <a:pt x="369" y="485"/>
                      </a:cubicBezTo>
                      <a:cubicBezTo>
                        <a:pt x="369" y="485"/>
                        <a:pt x="369" y="485"/>
                        <a:pt x="372" y="485"/>
                      </a:cubicBezTo>
                      <a:cubicBezTo>
                        <a:pt x="372" y="485"/>
                        <a:pt x="372" y="485"/>
                        <a:pt x="377" y="489"/>
                      </a:cubicBezTo>
                      <a:cubicBezTo>
                        <a:pt x="377" y="489"/>
                        <a:pt x="377" y="489"/>
                        <a:pt x="381" y="492"/>
                      </a:cubicBezTo>
                      <a:cubicBezTo>
                        <a:pt x="381" y="492"/>
                        <a:pt x="381" y="492"/>
                        <a:pt x="383" y="496"/>
                      </a:cubicBezTo>
                      <a:cubicBezTo>
                        <a:pt x="383" y="496"/>
                        <a:pt x="383" y="496"/>
                        <a:pt x="385" y="499"/>
                      </a:cubicBezTo>
                      <a:cubicBezTo>
                        <a:pt x="385" y="499"/>
                        <a:pt x="385" y="499"/>
                        <a:pt x="390" y="496"/>
                      </a:cubicBezTo>
                      <a:cubicBezTo>
                        <a:pt x="390" y="496"/>
                        <a:pt x="390" y="496"/>
                        <a:pt x="394" y="494"/>
                      </a:cubicBezTo>
                      <a:cubicBezTo>
                        <a:pt x="394" y="494"/>
                        <a:pt x="394" y="494"/>
                        <a:pt x="398" y="496"/>
                      </a:cubicBezTo>
                      <a:cubicBezTo>
                        <a:pt x="398" y="496"/>
                        <a:pt x="398" y="496"/>
                        <a:pt x="399" y="501"/>
                      </a:cubicBezTo>
                      <a:cubicBezTo>
                        <a:pt x="399" y="501"/>
                        <a:pt x="399" y="501"/>
                        <a:pt x="395" y="505"/>
                      </a:cubicBezTo>
                      <a:cubicBezTo>
                        <a:pt x="395" y="505"/>
                        <a:pt x="395" y="505"/>
                        <a:pt x="395" y="509"/>
                      </a:cubicBezTo>
                      <a:cubicBezTo>
                        <a:pt x="395" y="509"/>
                        <a:pt x="395" y="509"/>
                        <a:pt x="392" y="513"/>
                      </a:cubicBezTo>
                      <a:cubicBezTo>
                        <a:pt x="392" y="513"/>
                        <a:pt x="392" y="513"/>
                        <a:pt x="392" y="516"/>
                      </a:cubicBezTo>
                      <a:cubicBezTo>
                        <a:pt x="392" y="516"/>
                        <a:pt x="392" y="516"/>
                        <a:pt x="386" y="519"/>
                      </a:cubicBezTo>
                      <a:cubicBezTo>
                        <a:pt x="386" y="519"/>
                        <a:pt x="386" y="519"/>
                        <a:pt x="384" y="528"/>
                      </a:cubicBezTo>
                      <a:cubicBezTo>
                        <a:pt x="384" y="528"/>
                        <a:pt x="384" y="528"/>
                        <a:pt x="379" y="531"/>
                      </a:cubicBezTo>
                      <a:cubicBezTo>
                        <a:pt x="379" y="531"/>
                        <a:pt x="379" y="531"/>
                        <a:pt x="376" y="535"/>
                      </a:cubicBezTo>
                      <a:cubicBezTo>
                        <a:pt x="376" y="535"/>
                        <a:pt x="376" y="535"/>
                        <a:pt x="376" y="542"/>
                      </a:cubicBezTo>
                      <a:cubicBezTo>
                        <a:pt x="432" y="535"/>
                        <a:pt x="432" y="535"/>
                        <a:pt x="432" y="535"/>
                      </a:cubicBezTo>
                      <a:cubicBezTo>
                        <a:pt x="453" y="535"/>
                        <a:pt x="453" y="535"/>
                        <a:pt x="453" y="535"/>
                      </a:cubicBezTo>
                      <a:cubicBezTo>
                        <a:pt x="453" y="492"/>
                        <a:pt x="453" y="492"/>
                        <a:pt x="453" y="492"/>
                      </a:cubicBezTo>
                      <a:cubicBezTo>
                        <a:pt x="442" y="481"/>
                        <a:pt x="442" y="481"/>
                        <a:pt x="442" y="481"/>
                      </a:cubicBezTo>
                      <a:cubicBezTo>
                        <a:pt x="442" y="470"/>
                        <a:pt x="442" y="470"/>
                        <a:pt x="442" y="470"/>
                      </a:cubicBezTo>
                      <a:cubicBezTo>
                        <a:pt x="486" y="470"/>
                        <a:pt x="486" y="470"/>
                        <a:pt x="486" y="470"/>
                      </a:cubicBezTo>
                      <a:cubicBezTo>
                        <a:pt x="496" y="460"/>
                        <a:pt x="496" y="460"/>
                        <a:pt x="496" y="460"/>
                      </a:cubicBezTo>
                      <a:cubicBezTo>
                        <a:pt x="496" y="417"/>
                        <a:pt x="496" y="417"/>
                        <a:pt x="496" y="417"/>
                      </a:cubicBezTo>
                      <a:lnTo>
                        <a:pt x="486" y="40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490" name="Freeform 342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7A77FCC4-20B1-3259-3091-79B2A7A77F4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268" y="1436"/>
                  <a:ext cx="121" cy="122"/>
                </a:xfrm>
                <a:custGeom>
                  <a:avLst/>
                  <a:gdLst/>
                  <a:ahLst/>
                  <a:cxnLst>
                    <a:cxn ang="0">
                      <a:pos x="6" y="75"/>
                    </a:cxn>
                    <a:cxn ang="0">
                      <a:pos x="0" y="72"/>
                    </a:cxn>
                    <a:cxn ang="0">
                      <a:pos x="227" y="122"/>
                    </a:cxn>
                    <a:cxn ang="0">
                      <a:pos x="218" y="127"/>
                    </a:cxn>
                    <a:cxn ang="0">
                      <a:pos x="214" y="120"/>
                    </a:cxn>
                    <a:cxn ang="0">
                      <a:pos x="206" y="113"/>
                    </a:cxn>
                    <a:cxn ang="0">
                      <a:pos x="197" y="111"/>
                    </a:cxn>
                    <a:cxn ang="0">
                      <a:pos x="190" y="110"/>
                    </a:cxn>
                    <a:cxn ang="0">
                      <a:pos x="185" y="110"/>
                    </a:cxn>
                    <a:cxn ang="0">
                      <a:pos x="185" y="101"/>
                    </a:cxn>
                    <a:cxn ang="0">
                      <a:pos x="189" y="95"/>
                    </a:cxn>
                    <a:cxn ang="0">
                      <a:pos x="187" y="84"/>
                    </a:cxn>
                    <a:cxn ang="0">
                      <a:pos x="177" y="78"/>
                    </a:cxn>
                    <a:cxn ang="0">
                      <a:pos x="169" y="76"/>
                    </a:cxn>
                    <a:cxn ang="0">
                      <a:pos x="170" y="61"/>
                    </a:cxn>
                    <a:cxn ang="0">
                      <a:pos x="165" y="56"/>
                    </a:cxn>
                    <a:cxn ang="0">
                      <a:pos x="161" y="61"/>
                    </a:cxn>
                    <a:cxn ang="0">
                      <a:pos x="157" y="53"/>
                    </a:cxn>
                    <a:cxn ang="0">
                      <a:pos x="158" y="35"/>
                    </a:cxn>
                    <a:cxn ang="0">
                      <a:pos x="154" y="32"/>
                    </a:cxn>
                    <a:cxn ang="0">
                      <a:pos x="147" y="32"/>
                    </a:cxn>
                    <a:cxn ang="0">
                      <a:pos x="137" y="32"/>
                    </a:cxn>
                    <a:cxn ang="0">
                      <a:pos x="126" y="27"/>
                    </a:cxn>
                    <a:cxn ang="0">
                      <a:pos x="131" y="20"/>
                    </a:cxn>
                    <a:cxn ang="0">
                      <a:pos x="130" y="12"/>
                    </a:cxn>
                    <a:cxn ang="0">
                      <a:pos x="122" y="0"/>
                    </a:cxn>
                    <a:cxn ang="0">
                      <a:pos x="115" y="6"/>
                    </a:cxn>
                    <a:cxn ang="0">
                      <a:pos x="104" y="13"/>
                    </a:cxn>
                    <a:cxn ang="0">
                      <a:pos x="96" y="15"/>
                    </a:cxn>
                    <a:cxn ang="0">
                      <a:pos x="89" y="13"/>
                    </a:cxn>
                    <a:cxn ang="0">
                      <a:pos x="91" y="22"/>
                    </a:cxn>
                    <a:cxn ang="0">
                      <a:pos x="101" y="27"/>
                    </a:cxn>
                    <a:cxn ang="0">
                      <a:pos x="97" y="33"/>
                    </a:cxn>
                    <a:cxn ang="0">
                      <a:pos x="100" y="40"/>
                    </a:cxn>
                    <a:cxn ang="0">
                      <a:pos x="99" y="46"/>
                    </a:cxn>
                    <a:cxn ang="0">
                      <a:pos x="92" y="49"/>
                    </a:cxn>
                    <a:cxn ang="0">
                      <a:pos x="88" y="45"/>
                    </a:cxn>
                    <a:cxn ang="0">
                      <a:pos x="70" y="59"/>
                    </a:cxn>
                    <a:cxn ang="0">
                      <a:pos x="73" y="71"/>
                    </a:cxn>
                    <a:cxn ang="0">
                      <a:pos x="45" y="74"/>
                    </a:cxn>
                    <a:cxn ang="0">
                      <a:pos x="14" y="72"/>
                    </a:cxn>
                    <a:cxn ang="0">
                      <a:pos x="6" y="75"/>
                    </a:cxn>
                    <a:cxn ang="0">
                      <a:pos x="6" y="141"/>
                    </a:cxn>
                    <a:cxn ang="0">
                      <a:pos x="14" y="155"/>
                    </a:cxn>
                    <a:cxn ang="0">
                      <a:pos x="27" y="173"/>
                    </a:cxn>
                    <a:cxn ang="0">
                      <a:pos x="50" y="175"/>
                    </a:cxn>
                    <a:cxn ang="0">
                      <a:pos x="60" y="211"/>
                    </a:cxn>
                    <a:cxn ang="0">
                      <a:pos x="60" y="237"/>
                    </a:cxn>
                    <a:cxn ang="0">
                      <a:pos x="92" y="226"/>
                    </a:cxn>
                    <a:cxn ang="0">
                      <a:pos x="138" y="205"/>
                    </a:cxn>
                    <a:cxn ang="0">
                      <a:pos x="146" y="184"/>
                    </a:cxn>
                    <a:cxn ang="0">
                      <a:pos x="189" y="173"/>
                    </a:cxn>
                    <a:cxn ang="0">
                      <a:pos x="209" y="163"/>
                    </a:cxn>
                    <a:cxn ang="0">
                      <a:pos x="217" y="156"/>
                    </a:cxn>
                    <a:cxn ang="0">
                      <a:pos x="225" y="144"/>
                    </a:cxn>
                    <a:cxn ang="0">
                      <a:pos x="228" y="137"/>
                    </a:cxn>
                    <a:cxn ang="0">
                      <a:pos x="232" y="129"/>
                    </a:cxn>
                  </a:cxnLst>
                  <a:rect l="0" t="0" r="r" b="b"/>
                  <a:pathLst>
                    <a:path w="232" h="237">
                      <a:moveTo>
                        <a:pt x="0" y="72"/>
                      </a:moveTo>
                      <a:cubicBezTo>
                        <a:pt x="1" y="72"/>
                        <a:pt x="2" y="73"/>
                        <a:pt x="6" y="75"/>
                      </a:cubicBezTo>
                      <a:cubicBezTo>
                        <a:pt x="6" y="66"/>
                        <a:pt x="6" y="66"/>
                        <a:pt x="6" y="66"/>
                      </a:cubicBezTo>
                      <a:lnTo>
                        <a:pt x="0" y="72"/>
                      </a:lnTo>
                      <a:close/>
                      <a:moveTo>
                        <a:pt x="231" y="124"/>
                      </a:moveTo>
                      <a:cubicBezTo>
                        <a:pt x="227" y="122"/>
                        <a:pt x="227" y="122"/>
                        <a:pt x="227" y="122"/>
                      </a:cubicBezTo>
                      <a:cubicBezTo>
                        <a:pt x="223" y="124"/>
                        <a:pt x="223" y="124"/>
                        <a:pt x="223" y="124"/>
                      </a:cubicBezTo>
                      <a:cubicBezTo>
                        <a:pt x="218" y="127"/>
                        <a:pt x="218" y="127"/>
                        <a:pt x="218" y="127"/>
                      </a:cubicBezTo>
                      <a:cubicBezTo>
                        <a:pt x="216" y="124"/>
                        <a:pt x="216" y="124"/>
                        <a:pt x="216" y="124"/>
                      </a:cubicBezTo>
                      <a:cubicBezTo>
                        <a:pt x="214" y="120"/>
                        <a:pt x="214" y="120"/>
                        <a:pt x="214" y="120"/>
                      </a:cubicBezTo>
                      <a:cubicBezTo>
                        <a:pt x="210" y="117"/>
                        <a:pt x="210" y="117"/>
                        <a:pt x="210" y="117"/>
                      </a:cubicBezTo>
                      <a:cubicBezTo>
                        <a:pt x="206" y="113"/>
                        <a:pt x="206" y="113"/>
                        <a:pt x="206" y="113"/>
                      </a:cubicBezTo>
                      <a:cubicBezTo>
                        <a:pt x="202" y="113"/>
                        <a:pt x="202" y="113"/>
                        <a:pt x="202" y="113"/>
                      </a:cubicBezTo>
                      <a:cubicBezTo>
                        <a:pt x="197" y="111"/>
                        <a:pt x="197" y="111"/>
                        <a:pt x="197" y="111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6" y="111"/>
                        <a:pt x="186" y="111"/>
                        <a:pt x="186" y="111"/>
                      </a:cubicBezTo>
                      <a:cubicBezTo>
                        <a:pt x="185" y="110"/>
                        <a:pt x="185" y="110"/>
                        <a:pt x="185" y="110"/>
                      </a:cubicBezTo>
                      <a:cubicBezTo>
                        <a:pt x="187" y="106"/>
                        <a:pt x="187" y="106"/>
                        <a:pt x="187" y="106"/>
                      </a:cubicBezTo>
                      <a:cubicBezTo>
                        <a:pt x="185" y="101"/>
                        <a:pt x="185" y="101"/>
                        <a:pt x="185" y="101"/>
                      </a:cubicBezTo>
                      <a:cubicBezTo>
                        <a:pt x="189" y="100"/>
                        <a:pt x="189" y="100"/>
                        <a:pt x="189" y="100"/>
                      </a:cubicBezTo>
                      <a:cubicBezTo>
                        <a:pt x="189" y="95"/>
                        <a:pt x="189" y="95"/>
                        <a:pt x="189" y="95"/>
                      </a:cubicBezTo>
                      <a:cubicBezTo>
                        <a:pt x="191" y="85"/>
                        <a:pt x="191" y="85"/>
                        <a:pt x="191" y="85"/>
                      </a:cubicBezTo>
                      <a:cubicBezTo>
                        <a:pt x="187" y="84"/>
                        <a:pt x="187" y="84"/>
                        <a:pt x="187" y="84"/>
                      </a:cubicBezTo>
                      <a:cubicBezTo>
                        <a:pt x="182" y="80"/>
                        <a:pt x="182" y="80"/>
                        <a:pt x="182" y="80"/>
                      </a:cubicBezTo>
                      <a:cubicBezTo>
                        <a:pt x="177" y="78"/>
                        <a:pt x="177" y="78"/>
                        <a:pt x="177" y="78"/>
                      </a:cubicBezTo>
                      <a:cubicBezTo>
                        <a:pt x="172" y="78"/>
                        <a:pt x="172" y="78"/>
                        <a:pt x="172" y="78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69" y="71"/>
                        <a:pt x="169" y="71"/>
                        <a:pt x="169" y="71"/>
                      </a:cubicBezTo>
                      <a:cubicBezTo>
                        <a:pt x="170" y="61"/>
                        <a:pt x="170" y="61"/>
                        <a:pt x="170" y="61"/>
                      </a:cubicBezTo>
                      <a:cubicBezTo>
                        <a:pt x="167" y="57"/>
                        <a:pt x="167" y="57"/>
                        <a:pt x="167" y="57"/>
                      </a:cubicBezTo>
                      <a:cubicBezTo>
                        <a:pt x="165" y="56"/>
                        <a:pt x="165" y="56"/>
                        <a:pt x="165" y="56"/>
                      </a:cubicBezTo>
                      <a:cubicBezTo>
                        <a:pt x="163" y="59"/>
                        <a:pt x="163" y="59"/>
                        <a:pt x="163" y="59"/>
                      </a:cubicBezTo>
                      <a:cubicBezTo>
                        <a:pt x="161" y="61"/>
                        <a:pt x="161" y="61"/>
                        <a:pt x="161" y="61"/>
                      </a:cubicBezTo>
                      <a:cubicBezTo>
                        <a:pt x="158" y="60"/>
                        <a:pt x="158" y="60"/>
                        <a:pt x="158" y="60"/>
                      </a:cubicBezTo>
                      <a:cubicBezTo>
                        <a:pt x="157" y="53"/>
                        <a:pt x="157" y="53"/>
                        <a:pt x="157" y="53"/>
                      </a:cubicBezTo>
                      <a:cubicBezTo>
                        <a:pt x="159" y="36"/>
                        <a:pt x="159" y="36"/>
                        <a:pt x="159" y="36"/>
                      </a:cubicBezTo>
                      <a:cubicBezTo>
                        <a:pt x="158" y="35"/>
                        <a:pt x="158" y="35"/>
                        <a:pt x="158" y="35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cubicBezTo>
                        <a:pt x="154" y="32"/>
                        <a:pt x="154" y="32"/>
                        <a:pt x="154" y="32"/>
                      </a:cubicBezTo>
                      <a:cubicBezTo>
                        <a:pt x="152" y="29"/>
                        <a:pt x="152" y="29"/>
                        <a:pt x="152" y="29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2" y="30"/>
                        <a:pt x="142" y="30"/>
                        <a:pt x="142" y="30"/>
                      </a:cubicBezTo>
                      <a:cubicBezTo>
                        <a:pt x="137" y="32"/>
                        <a:pt x="137" y="32"/>
                        <a:pt x="137" y="32"/>
                      </a:cubicBezTo>
                      <a:cubicBezTo>
                        <a:pt x="132" y="28"/>
                        <a:pt x="132" y="28"/>
                        <a:pt x="132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5" y="24"/>
                        <a:pt x="125" y="24"/>
                        <a:pt x="125" y="24"/>
                      </a:cubicBezTo>
                      <a:cubicBezTo>
                        <a:pt x="131" y="20"/>
                        <a:pt x="131" y="20"/>
                        <a:pt x="131" y="20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6" y="5"/>
                        <a:pt x="126" y="5"/>
                        <a:pt x="126" y="5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5" y="6"/>
                        <a:pt x="115" y="6"/>
                        <a:pt x="115" y="6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0" y="16"/>
                        <a:pt x="100" y="16"/>
                        <a:pt x="100" y="16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88" y="16"/>
                        <a:pt x="88" y="16"/>
                        <a:pt x="88" y="16"/>
                      </a:cubicBezTo>
                      <a:cubicBezTo>
                        <a:pt x="91" y="22"/>
                        <a:pt x="91" y="22"/>
                        <a:pt x="91" y="22"/>
                      </a:cubicBezTo>
                      <a:cubicBezTo>
                        <a:pt x="99" y="24"/>
                        <a:pt x="99" y="24"/>
                        <a:pt x="99" y="24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97" y="30"/>
                        <a:pt x="97" y="30"/>
                        <a:pt x="97" y="30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100" y="40"/>
                        <a:pt x="100" y="40"/>
                        <a:pt x="100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9" y="46"/>
                        <a:pt x="99" y="46"/>
                        <a:pt x="99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70" y="59"/>
                        <a:pt x="70" y="59"/>
                        <a:pt x="70" y="59"/>
                      </a:cubicBezTo>
                      <a:cubicBezTo>
                        <a:pt x="72" y="65"/>
                        <a:pt x="72" y="65"/>
                        <a:pt x="72" y="65"/>
                      </a:cubicBezTo>
                      <a:cubicBezTo>
                        <a:pt x="73" y="71"/>
                        <a:pt x="73" y="71"/>
                        <a:pt x="73" y="71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8" y="76"/>
                        <a:pt x="7" y="76"/>
                        <a:pt x="6" y="75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14" y="153"/>
                        <a:pt x="14" y="153"/>
                        <a:pt x="14" y="153"/>
                      </a:cubicBezTo>
                      <a:cubicBezTo>
                        <a:pt x="14" y="154"/>
                        <a:pt x="14" y="155"/>
                        <a:pt x="14" y="155"/>
                      </a:cubicBezTo>
                      <a:cubicBezTo>
                        <a:pt x="14" y="155"/>
                        <a:pt x="15" y="155"/>
                        <a:pt x="16" y="156"/>
                      </a:cubicBez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48" y="173"/>
                        <a:pt x="48" y="173"/>
                        <a:pt x="48" y="173"/>
                      </a:cubicBezTo>
                      <a:cubicBezTo>
                        <a:pt x="48" y="173"/>
                        <a:pt x="49" y="174"/>
                        <a:pt x="50" y="175"/>
                      </a:cubicBezTo>
                      <a:cubicBezTo>
                        <a:pt x="59" y="201"/>
                        <a:pt x="59" y="201"/>
                        <a:pt x="59" y="201"/>
                      </a:cubicBezTo>
                      <a:cubicBezTo>
                        <a:pt x="59" y="205"/>
                        <a:pt x="60" y="208"/>
                        <a:pt x="60" y="211"/>
                      </a:cubicBezTo>
                      <a:cubicBezTo>
                        <a:pt x="60" y="229"/>
                        <a:pt x="60" y="229"/>
                        <a:pt x="60" y="229"/>
                      </a:cubicBezTo>
                      <a:cubicBezTo>
                        <a:pt x="60" y="237"/>
                        <a:pt x="60" y="237"/>
                        <a:pt x="60" y="237"/>
                      </a:cubicBezTo>
                      <a:cubicBezTo>
                        <a:pt x="76" y="232"/>
                        <a:pt x="76" y="232"/>
                        <a:pt x="76" y="232"/>
                      </a:cubicBezTo>
                      <a:cubicBezTo>
                        <a:pt x="92" y="226"/>
                        <a:pt x="92" y="226"/>
                        <a:pt x="92" y="226"/>
                      </a:cubicBezTo>
                      <a:cubicBezTo>
                        <a:pt x="103" y="205"/>
                        <a:pt x="103" y="205"/>
                        <a:pt x="103" y="205"/>
                      </a:cubicBezTo>
                      <a:cubicBezTo>
                        <a:pt x="138" y="205"/>
                        <a:pt x="138" y="205"/>
                        <a:pt x="138" y="205"/>
                      </a:cubicBezTo>
                      <a:cubicBezTo>
                        <a:pt x="146" y="205"/>
                        <a:pt x="146" y="205"/>
                        <a:pt x="146" y="205"/>
                      </a:cubicBezTo>
                      <a:cubicBezTo>
                        <a:pt x="146" y="184"/>
                        <a:pt x="146" y="184"/>
                        <a:pt x="146" y="184"/>
                      </a:cubicBezTo>
                      <a:cubicBezTo>
                        <a:pt x="178" y="184"/>
                        <a:pt x="178" y="184"/>
                        <a:pt x="178" y="184"/>
                      </a:cubicBezTo>
                      <a:cubicBezTo>
                        <a:pt x="189" y="173"/>
                        <a:pt x="189" y="173"/>
                        <a:pt x="189" y="173"/>
                      </a:cubicBezTo>
                      <a:cubicBezTo>
                        <a:pt x="210" y="170"/>
                        <a:pt x="210" y="170"/>
                        <a:pt x="210" y="170"/>
                      </a:cubicBezTo>
                      <a:cubicBezTo>
                        <a:pt x="209" y="163"/>
                        <a:pt x="209" y="163"/>
                        <a:pt x="209" y="163"/>
                      </a:cubicBezTo>
                      <a:cubicBezTo>
                        <a:pt x="213" y="159"/>
                        <a:pt x="213" y="159"/>
                        <a:pt x="213" y="159"/>
                      </a:cubicBezTo>
                      <a:cubicBezTo>
                        <a:pt x="217" y="156"/>
                        <a:pt x="217" y="156"/>
                        <a:pt x="217" y="156"/>
                      </a:cubicBezTo>
                      <a:cubicBezTo>
                        <a:pt x="219" y="147"/>
                        <a:pt x="219" y="147"/>
                        <a:pt x="219" y="147"/>
                      </a:cubicBezTo>
                      <a:cubicBezTo>
                        <a:pt x="225" y="144"/>
                        <a:pt x="225" y="144"/>
                        <a:pt x="225" y="144"/>
                      </a:cubicBezTo>
                      <a:cubicBezTo>
                        <a:pt x="225" y="141"/>
                        <a:pt x="225" y="141"/>
                        <a:pt x="225" y="141"/>
                      </a:cubicBezTo>
                      <a:cubicBezTo>
                        <a:pt x="228" y="137"/>
                        <a:pt x="228" y="137"/>
                        <a:pt x="228" y="137"/>
                      </a:cubicBezTo>
                      <a:cubicBezTo>
                        <a:pt x="229" y="133"/>
                        <a:pt x="229" y="133"/>
                        <a:pt x="229" y="133"/>
                      </a:cubicBezTo>
                      <a:cubicBezTo>
                        <a:pt x="232" y="129"/>
                        <a:pt x="232" y="129"/>
                        <a:pt x="232" y="129"/>
                      </a:cubicBezTo>
                      <a:cubicBezTo>
                        <a:pt x="231" y="124"/>
                        <a:pt x="231" y="124"/>
                        <a:pt x="231" y="124"/>
                      </a:cubicBez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</p:grpSp>
          <p:grpSp>
            <p:nvGrpSpPr>
              <p:cNvPr id="473" name="Gruppieren 70">
                <a:extLst>
                  <a:ext uri="{FF2B5EF4-FFF2-40B4-BE49-F238E27FC236}">
                    <a16:creationId xmlns:a16="http://schemas.microsoft.com/office/drawing/2014/main" id="{66B95F87-A6CA-2081-F566-4C7F6302E583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913034" y="1944270"/>
                <a:ext cx="196076" cy="202747"/>
                <a:chOff x="4318001" y="1228725"/>
                <a:chExt cx="2952746" cy="3989388"/>
              </a:xfrm>
              <a:grpFill/>
              <a:effectLst/>
            </p:grpSpPr>
            <p:sp>
              <p:nvSpPr>
                <p:cNvPr id="474" name="Freeform 45">
                  <a:extLst>
                    <a:ext uri="{FF2B5EF4-FFF2-40B4-BE49-F238E27FC236}">
                      <a16:creationId xmlns:a16="http://schemas.microsoft.com/office/drawing/2014/main" id="{A7106929-A160-95BB-92F2-274CB26C383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318001" y="4873625"/>
                  <a:ext cx="457200" cy="344488"/>
                </a:xfrm>
                <a:custGeom>
                  <a:avLst/>
                  <a:gdLst>
                    <a:gd name="T0" fmla="*/ 260 w 288"/>
                    <a:gd name="T1" fmla="*/ 164 h 217"/>
                    <a:gd name="T2" fmla="*/ 279 w 288"/>
                    <a:gd name="T3" fmla="*/ 148 h 217"/>
                    <a:gd name="T4" fmla="*/ 282 w 288"/>
                    <a:gd name="T5" fmla="*/ 137 h 217"/>
                    <a:gd name="T6" fmla="*/ 288 w 288"/>
                    <a:gd name="T7" fmla="*/ 127 h 217"/>
                    <a:gd name="T8" fmla="*/ 288 w 288"/>
                    <a:gd name="T9" fmla="*/ 116 h 217"/>
                    <a:gd name="T10" fmla="*/ 264 w 288"/>
                    <a:gd name="T11" fmla="*/ 108 h 217"/>
                    <a:gd name="T12" fmla="*/ 260 w 288"/>
                    <a:gd name="T13" fmla="*/ 95 h 217"/>
                    <a:gd name="T14" fmla="*/ 245 w 288"/>
                    <a:gd name="T15" fmla="*/ 82 h 217"/>
                    <a:gd name="T16" fmla="*/ 260 w 288"/>
                    <a:gd name="T17" fmla="*/ 67 h 217"/>
                    <a:gd name="T18" fmla="*/ 258 w 288"/>
                    <a:gd name="T19" fmla="*/ 50 h 217"/>
                    <a:gd name="T20" fmla="*/ 252 w 288"/>
                    <a:gd name="T21" fmla="*/ 24 h 217"/>
                    <a:gd name="T22" fmla="*/ 237 w 288"/>
                    <a:gd name="T23" fmla="*/ 27 h 217"/>
                    <a:gd name="T24" fmla="*/ 229 w 288"/>
                    <a:gd name="T25" fmla="*/ 19 h 217"/>
                    <a:gd name="T26" fmla="*/ 207 w 288"/>
                    <a:gd name="T27" fmla="*/ 14 h 217"/>
                    <a:gd name="T28" fmla="*/ 195 w 288"/>
                    <a:gd name="T29" fmla="*/ 0 h 217"/>
                    <a:gd name="T30" fmla="*/ 165 w 288"/>
                    <a:gd name="T31" fmla="*/ 0 h 217"/>
                    <a:gd name="T32" fmla="*/ 136 w 288"/>
                    <a:gd name="T33" fmla="*/ 16 h 217"/>
                    <a:gd name="T34" fmla="*/ 101 w 288"/>
                    <a:gd name="T35" fmla="*/ 34 h 217"/>
                    <a:gd name="T36" fmla="*/ 69 w 288"/>
                    <a:gd name="T37" fmla="*/ 50 h 217"/>
                    <a:gd name="T38" fmla="*/ 43 w 288"/>
                    <a:gd name="T39" fmla="*/ 39 h 217"/>
                    <a:gd name="T40" fmla="*/ 1 w 288"/>
                    <a:gd name="T41" fmla="*/ 39 h 217"/>
                    <a:gd name="T42" fmla="*/ 0 w 288"/>
                    <a:gd name="T43" fmla="*/ 67 h 217"/>
                    <a:gd name="T44" fmla="*/ 22 w 288"/>
                    <a:gd name="T45" fmla="*/ 67 h 217"/>
                    <a:gd name="T46" fmla="*/ 56 w 288"/>
                    <a:gd name="T47" fmla="*/ 98 h 217"/>
                    <a:gd name="T48" fmla="*/ 67 w 288"/>
                    <a:gd name="T49" fmla="*/ 128 h 217"/>
                    <a:gd name="T50" fmla="*/ 81 w 288"/>
                    <a:gd name="T51" fmla="*/ 148 h 217"/>
                    <a:gd name="T52" fmla="*/ 96 w 288"/>
                    <a:gd name="T53" fmla="*/ 193 h 217"/>
                    <a:gd name="T54" fmla="*/ 110 w 288"/>
                    <a:gd name="T55" fmla="*/ 193 h 217"/>
                    <a:gd name="T56" fmla="*/ 131 w 288"/>
                    <a:gd name="T57" fmla="*/ 201 h 217"/>
                    <a:gd name="T58" fmla="*/ 131 w 288"/>
                    <a:gd name="T59" fmla="*/ 175 h 217"/>
                    <a:gd name="T60" fmla="*/ 162 w 288"/>
                    <a:gd name="T61" fmla="*/ 175 h 217"/>
                    <a:gd name="T62" fmla="*/ 181 w 288"/>
                    <a:gd name="T63" fmla="*/ 185 h 217"/>
                    <a:gd name="T64" fmla="*/ 187 w 288"/>
                    <a:gd name="T65" fmla="*/ 212 h 217"/>
                    <a:gd name="T66" fmla="*/ 205 w 288"/>
                    <a:gd name="T67" fmla="*/ 201 h 217"/>
                    <a:gd name="T68" fmla="*/ 218 w 288"/>
                    <a:gd name="T69" fmla="*/ 217 h 217"/>
                    <a:gd name="T70" fmla="*/ 253 w 288"/>
                    <a:gd name="T71" fmla="*/ 217 h 217"/>
                    <a:gd name="T72" fmla="*/ 272 w 288"/>
                    <a:gd name="T73" fmla="*/ 194 h 217"/>
                    <a:gd name="T74" fmla="*/ 260 w 288"/>
                    <a:gd name="T75" fmla="*/ 181 h 217"/>
                    <a:gd name="T76" fmla="*/ 260 w 288"/>
                    <a:gd name="T77" fmla="*/ 164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88" h="217">
                      <a:moveTo>
                        <a:pt x="260" y="164"/>
                      </a:moveTo>
                      <a:lnTo>
                        <a:pt x="279" y="148"/>
                      </a:lnTo>
                      <a:lnTo>
                        <a:pt x="282" y="137"/>
                      </a:lnTo>
                      <a:lnTo>
                        <a:pt x="288" y="127"/>
                      </a:lnTo>
                      <a:lnTo>
                        <a:pt x="288" y="116"/>
                      </a:lnTo>
                      <a:lnTo>
                        <a:pt x="264" y="108"/>
                      </a:lnTo>
                      <a:lnTo>
                        <a:pt x="260" y="95"/>
                      </a:lnTo>
                      <a:lnTo>
                        <a:pt x="245" y="82"/>
                      </a:lnTo>
                      <a:lnTo>
                        <a:pt x="260" y="67"/>
                      </a:lnTo>
                      <a:lnTo>
                        <a:pt x="258" y="50"/>
                      </a:lnTo>
                      <a:lnTo>
                        <a:pt x="252" y="24"/>
                      </a:lnTo>
                      <a:lnTo>
                        <a:pt x="237" y="27"/>
                      </a:lnTo>
                      <a:lnTo>
                        <a:pt x="229" y="19"/>
                      </a:lnTo>
                      <a:lnTo>
                        <a:pt x="207" y="14"/>
                      </a:lnTo>
                      <a:lnTo>
                        <a:pt x="195" y="0"/>
                      </a:lnTo>
                      <a:lnTo>
                        <a:pt x="165" y="0"/>
                      </a:lnTo>
                      <a:lnTo>
                        <a:pt x="136" y="16"/>
                      </a:lnTo>
                      <a:lnTo>
                        <a:pt x="101" y="34"/>
                      </a:lnTo>
                      <a:lnTo>
                        <a:pt x="69" y="50"/>
                      </a:lnTo>
                      <a:lnTo>
                        <a:pt x="43" y="39"/>
                      </a:lnTo>
                      <a:lnTo>
                        <a:pt x="1" y="39"/>
                      </a:lnTo>
                      <a:lnTo>
                        <a:pt x="0" y="67"/>
                      </a:lnTo>
                      <a:lnTo>
                        <a:pt x="22" y="67"/>
                      </a:lnTo>
                      <a:lnTo>
                        <a:pt x="56" y="98"/>
                      </a:lnTo>
                      <a:lnTo>
                        <a:pt x="67" y="128"/>
                      </a:lnTo>
                      <a:lnTo>
                        <a:pt x="81" y="148"/>
                      </a:lnTo>
                      <a:lnTo>
                        <a:pt x="96" y="193"/>
                      </a:lnTo>
                      <a:lnTo>
                        <a:pt x="110" y="193"/>
                      </a:lnTo>
                      <a:lnTo>
                        <a:pt x="131" y="201"/>
                      </a:lnTo>
                      <a:lnTo>
                        <a:pt x="131" y="175"/>
                      </a:lnTo>
                      <a:lnTo>
                        <a:pt x="162" y="175"/>
                      </a:lnTo>
                      <a:lnTo>
                        <a:pt x="181" y="185"/>
                      </a:lnTo>
                      <a:lnTo>
                        <a:pt x="187" y="212"/>
                      </a:lnTo>
                      <a:lnTo>
                        <a:pt x="205" y="201"/>
                      </a:lnTo>
                      <a:lnTo>
                        <a:pt x="218" y="217"/>
                      </a:lnTo>
                      <a:lnTo>
                        <a:pt x="253" y="217"/>
                      </a:lnTo>
                      <a:lnTo>
                        <a:pt x="272" y="194"/>
                      </a:lnTo>
                      <a:lnTo>
                        <a:pt x="260" y="181"/>
                      </a:lnTo>
                      <a:lnTo>
                        <a:pt x="260" y="164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grpSp>
              <p:nvGrpSpPr>
                <p:cNvPr id="475" name="Group 210">
                  <a:extLst>
                    <a:ext uri="{FF2B5EF4-FFF2-40B4-BE49-F238E27FC236}">
                      <a16:creationId xmlns:a16="http://schemas.microsoft.com/office/drawing/2014/main" id="{938A3F84-1DE4-DFD5-6D1C-EC5AE7DD4F8E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5149851" y="1228725"/>
                  <a:ext cx="1317625" cy="265113"/>
                  <a:chOff x="5149851" y="1228725"/>
                  <a:chExt cx="1317625" cy="265113"/>
                </a:xfrm>
                <a:grpFill/>
              </p:grpSpPr>
              <p:sp>
                <p:nvSpPr>
                  <p:cNvPr id="484" name="Freeform 53">
                    <a:extLst>
                      <a:ext uri="{FF2B5EF4-FFF2-40B4-BE49-F238E27FC236}">
                        <a16:creationId xmlns:a16="http://schemas.microsoft.com/office/drawing/2014/main" id="{9C15146E-3FE2-6618-E1BB-4D615B747A05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86376" y="1379538"/>
                    <a:ext cx="44450" cy="50800"/>
                  </a:xfrm>
                  <a:custGeom>
                    <a:avLst/>
                    <a:gdLst>
                      <a:gd name="T0" fmla="*/ 1 w 28"/>
                      <a:gd name="T1" fmla="*/ 26 h 32"/>
                      <a:gd name="T2" fmla="*/ 8 w 28"/>
                      <a:gd name="T3" fmla="*/ 32 h 32"/>
                      <a:gd name="T4" fmla="*/ 28 w 28"/>
                      <a:gd name="T5" fmla="*/ 24 h 32"/>
                      <a:gd name="T6" fmla="*/ 28 w 28"/>
                      <a:gd name="T7" fmla="*/ 0 h 32"/>
                      <a:gd name="T8" fmla="*/ 8 w 28"/>
                      <a:gd name="T9" fmla="*/ 5 h 32"/>
                      <a:gd name="T10" fmla="*/ 0 w 28"/>
                      <a:gd name="T11" fmla="*/ 13 h 32"/>
                      <a:gd name="T12" fmla="*/ 1 w 28"/>
                      <a:gd name="T13" fmla="*/ 2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2">
                        <a:moveTo>
                          <a:pt x="1" y="26"/>
                        </a:moveTo>
                        <a:lnTo>
                          <a:pt x="8" y="32"/>
                        </a:lnTo>
                        <a:lnTo>
                          <a:pt x="28" y="24"/>
                        </a:lnTo>
                        <a:lnTo>
                          <a:pt x="28" y="0"/>
                        </a:lnTo>
                        <a:lnTo>
                          <a:pt x="8" y="5"/>
                        </a:lnTo>
                        <a:lnTo>
                          <a:pt x="0" y="13"/>
                        </a:lnTo>
                        <a:lnTo>
                          <a:pt x="1" y="26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5" name="Freeform 54">
                    <a:extLst>
                      <a:ext uri="{FF2B5EF4-FFF2-40B4-BE49-F238E27FC236}">
                        <a16:creationId xmlns:a16="http://schemas.microsoft.com/office/drawing/2014/main" id="{1A45EF6C-06E1-175C-65B4-A2DDF39F68C7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59388" y="1311275"/>
                    <a:ext cx="44450" cy="14288"/>
                  </a:xfrm>
                  <a:custGeom>
                    <a:avLst/>
                    <a:gdLst>
                      <a:gd name="T0" fmla="*/ 10 w 28"/>
                      <a:gd name="T1" fmla="*/ 0 h 9"/>
                      <a:gd name="T2" fmla="*/ 0 w 28"/>
                      <a:gd name="T3" fmla="*/ 9 h 9"/>
                      <a:gd name="T4" fmla="*/ 13 w 28"/>
                      <a:gd name="T5" fmla="*/ 9 h 9"/>
                      <a:gd name="T6" fmla="*/ 28 w 28"/>
                      <a:gd name="T7" fmla="*/ 0 h 9"/>
                      <a:gd name="T8" fmla="*/ 10 w 28"/>
                      <a:gd name="T9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" h="9">
                        <a:moveTo>
                          <a:pt x="10" y="0"/>
                        </a:moveTo>
                        <a:lnTo>
                          <a:pt x="0" y="9"/>
                        </a:lnTo>
                        <a:lnTo>
                          <a:pt x="13" y="9"/>
                        </a:lnTo>
                        <a:lnTo>
                          <a:pt x="28" y="0"/>
                        </a:lnTo>
                        <a:lnTo>
                          <a:pt x="10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6" name="Freeform 55">
                    <a:extLst>
                      <a:ext uri="{FF2B5EF4-FFF2-40B4-BE49-F238E27FC236}">
                        <a16:creationId xmlns:a16="http://schemas.microsoft.com/office/drawing/2014/main" id="{38A7C774-65E1-569B-BEA3-7FFBC5513C86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149851" y="1270000"/>
                    <a:ext cx="49213" cy="68263"/>
                  </a:xfrm>
                  <a:custGeom>
                    <a:avLst/>
                    <a:gdLst>
                      <a:gd name="T0" fmla="*/ 21 w 31"/>
                      <a:gd name="T1" fmla="*/ 13 h 43"/>
                      <a:gd name="T2" fmla="*/ 17 w 31"/>
                      <a:gd name="T3" fmla="*/ 0 h 43"/>
                      <a:gd name="T4" fmla="*/ 0 w 31"/>
                      <a:gd name="T5" fmla="*/ 19 h 43"/>
                      <a:gd name="T6" fmla="*/ 10 w 31"/>
                      <a:gd name="T7" fmla="*/ 27 h 43"/>
                      <a:gd name="T8" fmla="*/ 21 w 31"/>
                      <a:gd name="T9" fmla="*/ 43 h 43"/>
                      <a:gd name="T10" fmla="*/ 31 w 31"/>
                      <a:gd name="T11" fmla="*/ 43 h 43"/>
                      <a:gd name="T12" fmla="*/ 25 w 31"/>
                      <a:gd name="T13" fmla="*/ 26 h 43"/>
                      <a:gd name="T14" fmla="*/ 21 w 31"/>
                      <a:gd name="T15" fmla="*/ 1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3">
                        <a:moveTo>
                          <a:pt x="21" y="13"/>
                        </a:moveTo>
                        <a:lnTo>
                          <a:pt x="17" y="0"/>
                        </a:lnTo>
                        <a:lnTo>
                          <a:pt x="0" y="19"/>
                        </a:lnTo>
                        <a:lnTo>
                          <a:pt x="10" y="27"/>
                        </a:lnTo>
                        <a:lnTo>
                          <a:pt x="21" y="43"/>
                        </a:lnTo>
                        <a:lnTo>
                          <a:pt x="31" y="43"/>
                        </a:lnTo>
                        <a:lnTo>
                          <a:pt x="25" y="26"/>
                        </a:lnTo>
                        <a:lnTo>
                          <a:pt x="21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7" name="Freeform 56">
                    <a:extLst>
                      <a:ext uri="{FF2B5EF4-FFF2-40B4-BE49-F238E27FC236}">
                        <a16:creationId xmlns:a16="http://schemas.microsoft.com/office/drawing/2014/main" id="{1F1ED7FC-B47D-029C-2CF0-7B8A85CC561E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03826" y="1228725"/>
                    <a:ext cx="82550" cy="58738"/>
                  </a:xfrm>
                  <a:custGeom>
                    <a:avLst/>
                    <a:gdLst>
                      <a:gd name="T0" fmla="*/ 52 w 52"/>
                      <a:gd name="T1" fmla="*/ 8 h 37"/>
                      <a:gd name="T2" fmla="*/ 39 w 52"/>
                      <a:gd name="T3" fmla="*/ 0 h 37"/>
                      <a:gd name="T4" fmla="*/ 10 w 52"/>
                      <a:gd name="T5" fmla="*/ 0 h 37"/>
                      <a:gd name="T6" fmla="*/ 0 w 52"/>
                      <a:gd name="T7" fmla="*/ 10 h 37"/>
                      <a:gd name="T8" fmla="*/ 0 w 52"/>
                      <a:gd name="T9" fmla="*/ 21 h 37"/>
                      <a:gd name="T10" fmla="*/ 16 w 52"/>
                      <a:gd name="T11" fmla="*/ 37 h 37"/>
                      <a:gd name="T12" fmla="*/ 48 w 52"/>
                      <a:gd name="T13" fmla="*/ 34 h 37"/>
                      <a:gd name="T14" fmla="*/ 52 w 52"/>
                      <a:gd name="T15" fmla="*/ 8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2" h="37">
                        <a:moveTo>
                          <a:pt x="52" y="8"/>
                        </a:moveTo>
                        <a:lnTo>
                          <a:pt x="39" y="0"/>
                        </a:lnTo>
                        <a:lnTo>
                          <a:pt x="10" y="0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16" y="37"/>
                        </a:lnTo>
                        <a:lnTo>
                          <a:pt x="48" y="34"/>
                        </a:lnTo>
                        <a:lnTo>
                          <a:pt x="52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8" name="Freeform 57">
                    <a:extLst>
                      <a:ext uri="{FF2B5EF4-FFF2-40B4-BE49-F238E27FC236}">
                        <a16:creationId xmlns:a16="http://schemas.microsoft.com/office/drawing/2014/main" id="{349C6808-73EC-1867-F838-90BAA1736601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6340476" y="1395413"/>
                    <a:ext cx="127000" cy="98425"/>
                  </a:xfrm>
                  <a:custGeom>
                    <a:avLst/>
                    <a:gdLst>
                      <a:gd name="T0" fmla="*/ 74 w 80"/>
                      <a:gd name="T1" fmla="*/ 42 h 62"/>
                      <a:gd name="T2" fmla="*/ 64 w 80"/>
                      <a:gd name="T3" fmla="*/ 16 h 62"/>
                      <a:gd name="T4" fmla="*/ 34 w 80"/>
                      <a:gd name="T5" fmla="*/ 3 h 62"/>
                      <a:gd name="T6" fmla="*/ 11 w 80"/>
                      <a:gd name="T7" fmla="*/ 0 h 62"/>
                      <a:gd name="T8" fmla="*/ 0 w 80"/>
                      <a:gd name="T9" fmla="*/ 17 h 62"/>
                      <a:gd name="T10" fmla="*/ 0 w 80"/>
                      <a:gd name="T11" fmla="*/ 42 h 62"/>
                      <a:gd name="T12" fmla="*/ 19 w 80"/>
                      <a:gd name="T13" fmla="*/ 42 h 62"/>
                      <a:gd name="T14" fmla="*/ 23 w 80"/>
                      <a:gd name="T15" fmla="*/ 53 h 62"/>
                      <a:gd name="T16" fmla="*/ 32 w 80"/>
                      <a:gd name="T17" fmla="*/ 62 h 62"/>
                      <a:gd name="T18" fmla="*/ 47 w 80"/>
                      <a:gd name="T19" fmla="*/ 59 h 62"/>
                      <a:gd name="T20" fmla="*/ 58 w 80"/>
                      <a:gd name="T21" fmla="*/ 56 h 62"/>
                      <a:gd name="T22" fmla="*/ 80 w 80"/>
                      <a:gd name="T23" fmla="*/ 62 h 62"/>
                      <a:gd name="T24" fmla="*/ 74 w 80"/>
                      <a:gd name="T25" fmla="*/ 42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0" h="62">
                        <a:moveTo>
                          <a:pt x="74" y="42"/>
                        </a:moveTo>
                        <a:lnTo>
                          <a:pt x="64" y="16"/>
                        </a:lnTo>
                        <a:lnTo>
                          <a:pt x="34" y="3"/>
                        </a:lnTo>
                        <a:lnTo>
                          <a:pt x="11" y="0"/>
                        </a:lnTo>
                        <a:lnTo>
                          <a:pt x="0" y="17"/>
                        </a:lnTo>
                        <a:lnTo>
                          <a:pt x="0" y="42"/>
                        </a:lnTo>
                        <a:lnTo>
                          <a:pt x="19" y="42"/>
                        </a:lnTo>
                        <a:lnTo>
                          <a:pt x="23" y="53"/>
                        </a:lnTo>
                        <a:lnTo>
                          <a:pt x="32" y="62"/>
                        </a:lnTo>
                        <a:lnTo>
                          <a:pt x="47" y="59"/>
                        </a:lnTo>
                        <a:lnTo>
                          <a:pt x="58" y="56"/>
                        </a:lnTo>
                        <a:lnTo>
                          <a:pt x="80" y="62"/>
                        </a:lnTo>
                        <a:lnTo>
                          <a:pt x="74" y="42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grpSp>
              <p:nvGrpSpPr>
                <p:cNvPr id="476" name="Group 212">
                  <a:extLst>
                    <a:ext uri="{FF2B5EF4-FFF2-40B4-BE49-F238E27FC236}">
                      <a16:creationId xmlns:a16="http://schemas.microsoft.com/office/drawing/2014/main" id="{B1FCA97E-7BF6-B13E-D79A-0E75B399837D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4446588" y="1955800"/>
                  <a:ext cx="504826" cy="157163"/>
                  <a:chOff x="4446588" y="1955800"/>
                  <a:chExt cx="504826" cy="157163"/>
                </a:xfrm>
                <a:grpFill/>
              </p:grpSpPr>
              <p:sp>
                <p:nvSpPr>
                  <p:cNvPr id="478" name="Freeform 60">
                    <a:extLst>
                      <a:ext uri="{FF2B5EF4-FFF2-40B4-BE49-F238E27FC236}">
                        <a16:creationId xmlns:a16="http://schemas.microsoft.com/office/drawing/2014/main" id="{30D8A3B4-C170-9214-3003-DEB4310AB4BE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446588" y="2085975"/>
                    <a:ext cx="53975" cy="26988"/>
                  </a:xfrm>
                  <a:custGeom>
                    <a:avLst/>
                    <a:gdLst>
                      <a:gd name="T0" fmla="*/ 28 w 34"/>
                      <a:gd name="T1" fmla="*/ 17 h 17"/>
                      <a:gd name="T2" fmla="*/ 23 w 34"/>
                      <a:gd name="T3" fmla="*/ 8 h 17"/>
                      <a:gd name="T4" fmla="*/ 34 w 34"/>
                      <a:gd name="T5" fmla="*/ 0 h 17"/>
                      <a:gd name="T6" fmla="*/ 0 w 34"/>
                      <a:gd name="T7" fmla="*/ 0 h 17"/>
                      <a:gd name="T8" fmla="*/ 0 w 34"/>
                      <a:gd name="T9" fmla="*/ 13 h 17"/>
                      <a:gd name="T10" fmla="*/ 12 w 34"/>
                      <a:gd name="T11" fmla="*/ 17 h 17"/>
                      <a:gd name="T12" fmla="*/ 28 w 34"/>
                      <a:gd name="T13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" h="17">
                        <a:moveTo>
                          <a:pt x="28" y="17"/>
                        </a:moveTo>
                        <a:lnTo>
                          <a:pt x="23" y="8"/>
                        </a:lnTo>
                        <a:lnTo>
                          <a:pt x="34" y="0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12" y="17"/>
                        </a:lnTo>
                        <a:lnTo>
                          <a:pt x="28" y="17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79" name="Freeform 61">
                    <a:extLst>
                      <a:ext uri="{FF2B5EF4-FFF2-40B4-BE49-F238E27FC236}">
                        <a16:creationId xmlns:a16="http://schemas.microsoft.com/office/drawing/2014/main" id="{FCF539A6-E2FA-75F8-3DC6-03B4B8629A48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537076" y="2027238"/>
                    <a:ext cx="85725" cy="42863"/>
                  </a:xfrm>
                  <a:custGeom>
                    <a:avLst/>
                    <a:gdLst>
                      <a:gd name="T0" fmla="*/ 12 w 54"/>
                      <a:gd name="T1" fmla="*/ 13 h 27"/>
                      <a:gd name="T2" fmla="*/ 24 w 54"/>
                      <a:gd name="T3" fmla="*/ 6 h 27"/>
                      <a:gd name="T4" fmla="*/ 54 w 54"/>
                      <a:gd name="T5" fmla="*/ 0 h 27"/>
                      <a:gd name="T6" fmla="*/ 24 w 54"/>
                      <a:gd name="T7" fmla="*/ 0 h 27"/>
                      <a:gd name="T8" fmla="*/ 0 w 54"/>
                      <a:gd name="T9" fmla="*/ 8 h 27"/>
                      <a:gd name="T10" fmla="*/ 0 w 54"/>
                      <a:gd name="T11" fmla="*/ 18 h 27"/>
                      <a:gd name="T12" fmla="*/ 8 w 54"/>
                      <a:gd name="T13" fmla="*/ 27 h 27"/>
                      <a:gd name="T14" fmla="*/ 12 w 54"/>
                      <a:gd name="T15" fmla="*/ 13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4" h="27">
                        <a:moveTo>
                          <a:pt x="12" y="13"/>
                        </a:moveTo>
                        <a:lnTo>
                          <a:pt x="24" y="6"/>
                        </a:lnTo>
                        <a:lnTo>
                          <a:pt x="54" y="0"/>
                        </a:lnTo>
                        <a:lnTo>
                          <a:pt x="24" y="0"/>
                        </a:lnTo>
                        <a:lnTo>
                          <a:pt x="0" y="8"/>
                        </a:lnTo>
                        <a:lnTo>
                          <a:pt x="0" y="18"/>
                        </a:lnTo>
                        <a:lnTo>
                          <a:pt x="8" y="27"/>
                        </a:lnTo>
                        <a:lnTo>
                          <a:pt x="12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0" name="Freeform 62">
                    <a:extLst>
                      <a:ext uri="{FF2B5EF4-FFF2-40B4-BE49-F238E27FC236}">
                        <a16:creationId xmlns:a16="http://schemas.microsoft.com/office/drawing/2014/main" id="{E4698D9C-9913-0DE9-12E2-0D7A9EA0D426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659313" y="1989138"/>
                    <a:ext cx="80963" cy="26988"/>
                  </a:xfrm>
                  <a:custGeom>
                    <a:avLst/>
                    <a:gdLst>
                      <a:gd name="T0" fmla="*/ 51 w 51"/>
                      <a:gd name="T1" fmla="*/ 8 h 17"/>
                      <a:gd name="T2" fmla="*/ 29 w 51"/>
                      <a:gd name="T3" fmla="*/ 0 h 17"/>
                      <a:gd name="T4" fmla="*/ 4 w 51"/>
                      <a:gd name="T5" fmla="*/ 3 h 17"/>
                      <a:gd name="T6" fmla="*/ 0 w 51"/>
                      <a:gd name="T7" fmla="*/ 17 h 17"/>
                      <a:gd name="T8" fmla="*/ 27 w 51"/>
                      <a:gd name="T9" fmla="*/ 14 h 17"/>
                      <a:gd name="T10" fmla="*/ 51 w 51"/>
                      <a:gd name="T11" fmla="*/ 8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1" h="17">
                        <a:moveTo>
                          <a:pt x="51" y="8"/>
                        </a:moveTo>
                        <a:lnTo>
                          <a:pt x="29" y="0"/>
                        </a:lnTo>
                        <a:lnTo>
                          <a:pt x="4" y="3"/>
                        </a:lnTo>
                        <a:lnTo>
                          <a:pt x="0" y="17"/>
                        </a:lnTo>
                        <a:lnTo>
                          <a:pt x="27" y="14"/>
                        </a:lnTo>
                        <a:lnTo>
                          <a:pt x="51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1" name="Freeform 63">
                    <a:extLst>
                      <a:ext uri="{FF2B5EF4-FFF2-40B4-BE49-F238E27FC236}">
                        <a16:creationId xmlns:a16="http://schemas.microsoft.com/office/drawing/2014/main" id="{03740807-58D2-5264-6E98-D702ECB17998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883151" y="1955800"/>
                    <a:ext cx="68263" cy="22225"/>
                  </a:xfrm>
                  <a:custGeom>
                    <a:avLst/>
                    <a:gdLst>
                      <a:gd name="T0" fmla="*/ 43 w 43"/>
                      <a:gd name="T1" fmla="*/ 0 h 14"/>
                      <a:gd name="T2" fmla="*/ 6 w 43"/>
                      <a:gd name="T3" fmla="*/ 0 h 14"/>
                      <a:gd name="T4" fmla="*/ 0 w 43"/>
                      <a:gd name="T5" fmla="*/ 14 h 14"/>
                      <a:gd name="T6" fmla="*/ 21 w 43"/>
                      <a:gd name="T7" fmla="*/ 11 h 14"/>
                      <a:gd name="T8" fmla="*/ 43 w 43"/>
                      <a:gd name="T9" fmla="*/ 0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3" h="14">
                        <a:moveTo>
                          <a:pt x="43" y="0"/>
                        </a:moveTo>
                        <a:lnTo>
                          <a:pt x="6" y="0"/>
                        </a:lnTo>
                        <a:lnTo>
                          <a:pt x="0" y="14"/>
                        </a:lnTo>
                        <a:lnTo>
                          <a:pt x="21" y="11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2" name="Freeform 64">
                    <a:extLst>
                      <a:ext uri="{FF2B5EF4-FFF2-40B4-BE49-F238E27FC236}">
                        <a16:creationId xmlns:a16="http://schemas.microsoft.com/office/drawing/2014/main" id="{CADC2FF4-226E-4B9F-4878-2E84443EB18F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60913" y="1989138"/>
                    <a:ext cx="17463" cy="9525"/>
                  </a:xfrm>
                  <a:custGeom>
                    <a:avLst/>
                    <a:gdLst>
                      <a:gd name="T0" fmla="*/ 11 w 11"/>
                      <a:gd name="T1" fmla="*/ 0 h 6"/>
                      <a:gd name="T2" fmla="*/ 0 w 11"/>
                      <a:gd name="T3" fmla="*/ 0 h 6"/>
                      <a:gd name="T4" fmla="*/ 0 w 11"/>
                      <a:gd name="T5" fmla="*/ 6 h 6"/>
                      <a:gd name="T6" fmla="*/ 11 w 11"/>
                      <a:gd name="T7" fmla="*/ 5 h 6"/>
                      <a:gd name="T8" fmla="*/ 11 w 11"/>
                      <a:gd name="T9" fmla="*/ 0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6">
                        <a:moveTo>
                          <a:pt x="11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483" name="Freeform 65">
                    <a:extLst>
                      <a:ext uri="{FF2B5EF4-FFF2-40B4-BE49-F238E27FC236}">
                        <a16:creationId xmlns:a16="http://schemas.microsoft.com/office/drawing/2014/main" id="{1EFD16C2-B77D-3F4E-52EB-9AE4606D12E9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95838" y="1978025"/>
                    <a:ext cx="36513" cy="25400"/>
                  </a:xfrm>
                  <a:custGeom>
                    <a:avLst/>
                    <a:gdLst>
                      <a:gd name="T0" fmla="*/ 13 w 23"/>
                      <a:gd name="T1" fmla="*/ 13 h 16"/>
                      <a:gd name="T2" fmla="*/ 23 w 23"/>
                      <a:gd name="T3" fmla="*/ 4 h 16"/>
                      <a:gd name="T4" fmla="*/ 0 w 23"/>
                      <a:gd name="T5" fmla="*/ 0 h 16"/>
                      <a:gd name="T6" fmla="*/ 4 w 23"/>
                      <a:gd name="T7" fmla="*/ 16 h 16"/>
                      <a:gd name="T8" fmla="*/ 13 w 23"/>
                      <a:gd name="T9" fmla="*/ 13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16">
                        <a:moveTo>
                          <a:pt x="13" y="13"/>
                        </a:moveTo>
                        <a:lnTo>
                          <a:pt x="23" y="4"/>
                        </a:lnTo>
                        <a:lnTo>
                          <a:pt x="0" y="0"/>
                        </a:lnTo>
                        <a:lnTo>
                          <a:pt x="4" y="16"/>
                        </a:lnTo>
                        <a:lnTo>
                          <a:pt x="13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sp>
              <p:nvSpPr>
                <p:cNvPr id="477" name="Freeform 68">
                  <a:extLst>
                    <a:ext uri="{FF2B5EF4-FFF2-40B4-BE49-F238E27FC236}">
                      <a16:creationId xmlns:a16="http://schemas.microsoft.com/office/drawing/2014/main" id="{D0D76B70-8E03-98AB-CCA5-141DF3366E8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7235824" y="1357321"/>
                  <a:ext cx="34923" cy="73024"/>
                </a:xfrm>
                <a:custGeom>
                  <a:avLst/>
                  <a:gdLst>
                    <a:gd name="T0" fmla="*/ 16 w 22"/>
                    <a:gd name="T1" fmla="*/ 6 h 46"/>
                    <a:gd name="T2" fmla="*/ 22 w 22"/>
                    <a:gd name="T3" fmla="*/ 0 h 46"/>
                    <a:gd name="T4" fmla="*/ 6 w 22"/>
                    <a:gd name="T5" fmla="*/ 0 h 46"/>
                    <a:gd name="T6" fmla="*/ 0 w 22"/>
                    <a:gd name="T7" fmla="*/ 35 h 46"/>
                    <a:gd name="T8" fmla="*/ 0 w 22"/>
                    <a:gd name="T9" fmla="*/ 46 h 46"/>
                    <a:gd name="T10" fmla="*/ 6 w 22"/>
                    <a:gd name="T11" fmla="*/ 24 h 46"/>
                    <a:gd name="T12" fmla="*/ 16 w 22"/>
                    <a:gd name="T13" fmla="*/ 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" h="46">
                      <a:moveTo>
                        <a:pt x="16" y="6"/>
                      </a:moveTo>
                      <a:lnTo>
                        <a:pt x="22" y="0"/>
                      </a:lnTo>
                      <a:lnTo>
                        <a:pt x="6" y="0"/>
                      </a:lnTo>
                      <a:lnTo>
                        <a:pt x="0" y="35"/>
                      </a:lnTo>
                      <a:lnTo>
                        <a:pt x="0" y="46"/>
                      </a:lnTo>
                      <a:lnTo>
                        <a:pt x="6" y="24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</p:grpSp>
      </p:grpSp>
      <p:sp>
        <p:nvSpPr>
          <p:cNvPr id="509" name="TextBox 508">
            <a:extLst>
              <a:ext uri="{FF2B5EF4-FFF2-40B4-BE49-F238E27FC236}">
                <a16:creationId xmlns:a16="http://schemas.microsoft.com/office/drawing/2014/main" id="{1DE0D7FE-9F7F-DC5F-E43D-16589470D4B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03116" y="2351112"/>
            <a:ext cx="331005" cy="138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Rotterdam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168BD17B-757B-0FA7-2A34-5A6306C58B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955753" y="2908956"/>
            <a:ext cx="577835" cy="1454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ovorossiys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826B3650-A69C-E042-7AF7-31522B16492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586581" y="2364216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Ozink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6016D42D-CEC6-1BBC-38EC-7BC5026ECDC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3313" y="266532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osty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3" name="TextBox 512">
            <a:extLst>
              <a:ext uri="{FF2B5EF4-FFF2-40B4-BE49-F238E27FC236}">
                <a16:creationId xmlns:a16="http://schemas.microsoft.com/office/drawing/2014/main" id="{DA669848-B790-2818-02CD-0B9A67A83CB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84703" y="2275102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ulund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BB64A6BA-2C94-379B-F6CF-01DCF08D051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61095" y="2957287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horgos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5" name="TextBox 514">
            <a:extLst>
              <a:ext uri="{FF2B5EF4-FFF2-40B4-BE49-F238E27FC236}">
                <a16:creationId xmlns:a16="http://schemas.microsoft.com/office/drawing/2014/main" id="{62D93881-B5F1-BFF0-4425-878F89CDC0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35204" y="336374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us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83874952-F775-59AB-1CEC-80557546A8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972228" y="285919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7D0A0132-433F-56C4-10D1-FB0AE0F29A6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12152" y="3301287"/>
            <a:ext cx="651030" cy="132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Qingda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C7602783-FE20-61DE-818A-D8D359EF339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27535" y="2254905"/>
            <a:ext cx="331005" cy="1344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mbur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28CC8104-6D55-876A-B0E8-FABEC2E27E0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28753" y="2449250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ntwerp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C7781321-5FFC-3233-2614-B4DCFBCF1C4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895086" y="2780958"/>
            <a:ext cx="438753" cy="153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lmaty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ACB5FD96-2802-5BA9-8454-F08815CBC48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76110" y="3176371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ashkent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FB3FECB-0C05-CB76-B7A5-46676273C6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852427" y="2546946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unkir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447F62FB-06FD-45F4-6913-0EB2EB7D614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224217" y="1673818"/>
            <a:ext cx="292706" cy="179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otk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42F031DF-85AD-A048-9D05-2AB8597B1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57288" y="2446421"/>
            <a:ext cx="912018" cy="769211"/>
          </a:xfrm>
          <a:custGeom>
            <a:avLst/>
            <a:gdLst>
              <a:gd name="connsiteX0" fmla="*/ 0 w 912018"/>
              <a:gd name="connsiteY0" fmla="*/ 769211 h 769211"/>
              <a:gd name="connsiteX1" fmla="*/ 61912 w 912018"/>
              <a:gd name="connsiteY1" fmla="*/ 709679 h 769211"/>
              <a:gd name="connsiteX2" fmla="*/ 152400 w 912018"/>
              <a:gd name="connsiteY2" fmla="*/ 566804 h 769211"/>
              <a:gd name="connsiteX3" fmla="*/ 285750 w 912018"/>
              <a:gd name="connsiteY3" fmla="*/ 416786 h 769211"/>
              <a:gd name="connsiteX4" fmla="*/ 381000 w 912018"/>
              <a:gd name="connsiteY4" fmla="*/ 245336 h 769211"/>
              <a:gd name="connsiteX5" fmla="*/ 490537 w 912018"/>
              <a:gd name="connsiteY5" fmla="*/ 159611 h 769211"/>
              <a:gd name="connsiteX6" fmla="*/ 602456 w 912018"/>
              <a:gd name="connsiteY6" fmla="*/ 92936 h 769211"/>
              <a:gd name="connsiteX7" fmla="*/ 795337 w 912018"/>
              <a:gd name="connsiteY7" fmla="*/ 61979 h 769211"/>
              <a:gd name="connsiteX8" fmla="*/ 788193 w 912018"/>
              <a:gd name="connsiteY8" fmla="*/ 35786 h 769211"/>
              <a:gd name="connsiteX9" fmla="*/ 840581 w 912018"/>
              <a:gd name="connsiteY9" fmla="*/ 67 h 769211"/>
              <a:gd name="connsiteX10" fmla="*/ 912018 w 912018"/>
              <a:gd name="connsiteY10" fmla="*/ 28642 h 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2018" h="769211">
                <a:moveTo>
                  <a:pt x="0" y="769211"/>
                </a:moveTo>
                <a:cubicBezTo>
                  <a:pt x="18256" y="756312"/>
                  <a:pt x="36512" y="743413"/>
                  <a:pt x="61912" y="709679"/>
                </a:cubicBezTo>
                <a:cubicBezTo>
                  <a:pt x="87312" y="675945"/>
                  <a:pt x="115094" y="615619"/>
                  <a:pt x="152400" y="566804"/>
                </a:cubicBezTo>
                <a:cubicBezTo>
                  <a:pt x="189706" y="517988"/>
                  <a:pt x="247650" y="470364"/>
                  <a:pt x="285750" y="416786"/>
                </a:cubicBezTo>
                <a:cubicBezTo>
                  <a:pt x="323850" y="363208"/>
                  <a:pt x="346869" y="288198"/>
                  <a:pt x="381000" y="245336"/>
                </a:cubicBezTo>
                <a:cubicBezTo>
                  <a:pt x="415131" y="202474"/>
                  <a:pt x="453628" y="185011"/>
                  <a:pt x="490537" y="159611"/>
                </a:cubicBezTo>
                <a:cubicBezTo>
                  <a:pt x="527446" y="134211"/>
                  <a:pt x="551656" y="109208"/>
                  <a:pt x="602456" y="92936"/>
                </a:cubicBezTo>
                <a:cubicBezTo>
                  <a:pt x="653256" y="76664"/>
                  <a:pt x="764381" y="71504"/>
                  <a:pt x="795337" y="61979"/>
                </a:cubicBezTo>
                <a:cubicBezTo>
                  <a:pt x="826293" y="52454"/>
                  <a:pt x="780652" y="46105"/>
                  <a:pt x="788193" y="35786"/>
                </a:cubicBezTo>
                <a:cubicBezTo>
                  <a:pt x="795734" y="25467"/>
                  <a:pt x="819944" y="1258"/>
                  <a:pt x="840581" y="67"/>
                </a:cubicBezTo>
                <a:cubicBezTo>
                  <a:pt x="861218" y="-1124"/>
                  <a:pt x="886618" y="13759"/>
                  <a:pt x="912018" y="28642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5" name="Freeform: Shape 524">
            <a:extLst>
              <a:ext uri="{FF2B5EF4-FFF2-40B4-BE49-F238E27FC236}">
                <a16:creationId xmlns:a16="http://schemas.microsoft.com/office/drawing/2014/main" id="{C956BED7-7D5D-0A42-6A96-64A431F9A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69181" y="2002698"/>
            <a:ext cx="2078832" cy="1160546"/>
          </a:xfrm>
          <a:custGeom>
            <a:avLst/>
            <a:gdLst>
              <a:gd name="connsiteX0" fmla="*/ 0 w 2078832"/>
              <a:gd name="connsiteY0" fmla="*/ 1160546 h 1160546"/>
              <a:gd name="connsiteX1" fmla="*/ 271463 w 2078832"/>
              <a:gd name="connsiteY1" fmla="*/ 979571 h 1160546"/>
              <a:gd name="connsiteX2" fmla="*/ 531019 w 2078832"/>
              <a:gd name="connsiteY2" fmla="*/ 617621 h 1160546"/>
              <a:gd name="connsiteX3" fmla="*/ 814388 w 2078832"/>
              <a:gd name="connsiteY3" fmla="*/ 510465 h 1160546"/>
              <a:gd name="connsiteX4" fmla="*/ 883444 w 2078832"/>
              <a:gd name="connsiteY4" fmla="*/ 491415 h 1160546"/>
              <a:gd name="connsiteX5" fmla="*/ 1104900 w 2078832"/>
              <a:gd name="connsiteY5" fmla="*/ 148515 h 1160546"/>
              <a:gd name="connsiteX6" fmla="*/ 1354932 w 2078832"/>
              <a:gd name="connsiteY6" fmla="*/ 877 h 1160546"/>
              <a:gd name="connsiteX7" fmla="*/ 1500188 w 2078832"/>
              <a:gd name="connsiteY7" fmla="*/ 208046 h 1160546"/>
              <a:gd name="connsiteX8" fmla="*/ 1778794 w 2078832"/>
              <a:gd name="connsiteY8" fmla="*/ 148515 h 1160546"/>
              <a:gd name="connsiteX9" fmla="*/ 1909763 w 2078832"/>
              <a:gd name="connsiteY9" fmla="*/ 27071 h 1160546"/>
              <a:gd name="connsiteX10" fmla="*/ 2026444 w 2078832"/>
              <a:gd name="connsiteY10" fmla="*/ 24690 h 1160546"/>
              <a:gd name="connsiteX11" fmla="*/ 2078832 w 2078832"/>
              <a:gd name="connsiteY11" fmla="*/ 65171 h 1160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78832" h="1160546">
                <a:moveTo>
                  <a:pt x="0" y="1160546"/>
                </a:moveTo>
                <a:cubicBezTo>
                  <a:pt x="91480" y="1115302"/>
                  <a:pt x="182960" y="1070058"/>
                  <a:pt x="271463" y="979571"/>
                </a:cubicBezTo>
                <a:cubicBezTo>
                  <a:pt x="359966" y="889084"/>
                  <a:pt x="440532" y="695805"/>
                  <a:pt x="531019" y="617621"/>
                </a:cubicBezTo>
                <a:cubicBezTo>
                  <a:pt x="621507" y="539437"/>
                  <a:pt x="755651" y="531499"/>
                  <a:pt x="814388" y="510465"/>
                </a:cubicBezTo>
                <a:cubicBezTo>
                  <a:pt x="873125" y="489431"/>
                  <a:pt x="835025" y="551740"/>
                  <a:pt x="883444" y="491415"/>
                </a:cubicBezTo>
                <a:cubicBezTo>
                  <a:pt x="931863" y="431090"/>
                  <a:pt x="1026319" y="230271"/>
                  <a:pt x="1104900" y="148515"/>
                </a:cubicBezTo>
                <a:cubicBezTo>
                  <a:pt x="1183481" y="66759"/>
                  <a:pt x="1289051" y="-9045"/>
                  <a:pt x="1354932" y="877"/>
                </a:cubicBezTo>
                <a:cubicBezTo>
                  <a:pt x="1420813" y="10799"/>
                  <a:pt x="1429544" y="183440"/>
                  <a:pt x="1500188" y="208046"/>
                </a:cubicBezTo>
                <a:cubicBezTo>
                  <a:pt x="1570832" y="232652"/>
                  <a:pt x="1710532" y="178677"/>
                  <a:pt x="1778794" y="148515"/>
                </a:cubicBezTo>
                <a:cubicBezTo>
                  <a:pt x="1847056" y="118353"/>
                  <a:pt x="1868488" y="47708"/>
                  <a:pt x="1909763" y="27071"/>
                </a:cubicBezTo>
                <a:cubicBezTo>
                  <a:pt x="1951038" y="6433"/>
                  <a:pt x="1998266" y="18340"/>
                  <a:pt x="2026444" y="24690"/>
                </a:cubicBezTo>
                <a:cubicBezTo>
                  <a:pt x="2054622" y="31040"/>
                  <a:pt x="2066727" y="48105"/>
                  <a:pt x="2078832" y="65171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6" name="Rectangle: Rounded Corners 525">
            <a:extLst>
              <a:ext uri="{FF2B5EF4-FFF2-40B4-BE49-F238E27FC236}">
                <a16:creationId xmlns:a16="http://schemas.microsoft.com/office/drawing/2014/main" id="{130524FD-EB1B-B8B8-960E-F7A6F9F3D7D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414145" y="3234012"/>
            <a:ext cx="149465" cy="14169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2</a:t>
            </a:r>
          </a:p>
        </p:txBody>
      </p:sp>
      <p:sp>
        <p:nvSpPr>
          <p:cNvPr id="527" name="Rectangle: Rounded Corners 526">
            <a:extLst>
              <a:ext uri="{FF2B5EF4-FFF2-40B4-BE49-F238E27FC236}">
                <a16:creationId xmlns:a16="http://schemas.microsoft.com/office/drawing/2014/main" id="{851F5C53-EB73-0EDF-7E04-D1DE3B2D26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05528" y="1991049"/>
            <a:ext cx="149465" cy="141698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4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3D3DF2DD-3B7B-1B89-A69E-91C59E38C80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125742" y="4470893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alcutt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C0AC6B8D-2518-39A3-FEC0-116CF4ADC45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374045" y="4536092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umb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A2651B27-5843-20ED-2889-D7EF8A1DBA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827496" y="4977285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henn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30BB62F-33E2-325A-40F5-6FCD588DFE9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873818" y="5429424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olomb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771E4137-CB7B-8D3E-6279-E1954F5887A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13887" y="5180924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ochi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59CD8A1D-A0B1-233D-A785-A71CB1F30C3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08620" y="4845779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angko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4" name="Indonesia" descr="© INSCALE GmbH, 05.05.2010&#10;http://www.presentationload.com/">
            <a:extLst>
              <a:ext uri="{FF2B5EF4-FFF2-40B4-BE49-F238E27FC236}">
                <a16:creationId xmlns:a16="http://schemas.microsoft.com/office/drawing/2014/main" id="{9208C90C-25B3-CE16-D885-8572FA98A05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763577" y="5589859"/>
            <a:ext cx="2880201" cy="1114108"/>
          </a:xfrm>
          <a:custGeom>
            <a:avLst/>
            <a:gdLst>
              <a:gd name="T0" fmla="*/ 2147483647 w 3264"/>
              <a:gd name="T1" fmla="*/ 2147483647 h 1302"/>
              <a:gd name="T2" fmla="*/ 2147483647 w 3264"/>
              <a:gd name="T3" fmla="*/ 2147483647 h 1302"/>
              <a:gd name="T4" fmla="*/ 2147483647 w 3264"/>
              <a:gd name="T5" fmla="*/ 2147483647 h 1302"/>
              <a:gd name="T6" fmla="*/ 2147483647 w 3264"/>
              <a:gd name="T7" fmla="*/ 2147483647 h 1302"/>
              <a:gd name="T8" fmla="*/ 2147483647 w 3264"/>
              <a:gd name="T9" fmla="*/ 2147483647 h 1302"/>
              <a:gd name="T10" fmla="*/ 2147483647 w 3264"/>
              <a:gd name="T11" fmla="*/ 2147483647 h 1302"/>
              <a:gd name="T12" fmla="*/ 2147483647 w 3264"/>
              <a:gd name="T13" fmla="*/ 2147483647 h 1302"/>
              <a:gd name="T14" fmla="*/ 2147483647 w 3264"/>
              <a:gd name="T15" fmla="*/ 2147483647 h 1302"/>
              <a:gd name="T16" fmla="*/ 2147483647 w 3264"/>
              <a:gd name="T17" fmla="*/ 2147483647 h 1302"/>
              <a:gd name="T18" fmla="*/ 2147483647 w 3264"/>
              <a:gd name="T19" fmla="*/ 2147483647 h 1302"/>
              <a:gd name="T20" fmla="*/ 2147483647 w 3264"/>
              <a:gd name="T21" fmla="*/ 2147483647 h 1302"/>
              <a:gd name="T22" fmla="*/ 2147483647 w 3264"/>
              <a:gd name="T23" fmla="*/ 2147483647 h 1302"/>
              <a:gd name="T24" fmla="*/ 2147483647 w 3264"/>
              <a:gd name="T25" fmla="*/ 2147483647 h 1302"/>
              <a:gd name="T26" fmla="*/ 2147483647 w 3264"/>
              <a:gd name="T27" fmla="*/ 2147483647 h 1302"/>
              <a:gd name="T28" fmla="*/ 2147483647 w 3264"/>
              <a:gd name="T29" fmla="*/ 2147483647 h 1302"/>
              <a:gd name="T30" fmla="*/ 2147483647 w 3264"/>
              <a:gd name="T31" fmla="*/ 2147483647 h 1302"/>
              <a:gd name="T32" fmla="*/ 2147483647 w 3264"/>
              <a:gd name="T33" fmla="*/ 2147483647 h 1302"/>
              <a:gd name="T34" fmla="*/ 2147483647 w 3264"/>
              <a:gd name="T35" fmla="*/ 2147483647 h 1302"/>
              <a:gd name="T36" fmla="*/ 2147483647 w 3264"/>
              <a:gd name="T37" fmla="*/ 2147483647 h 1302"/>
              <a:gd name="T38" fmla="*/ 2147483647 w 3264"/>
              <a:gd name="T39" fmla="*/ 2147483647 h 1302"/>
              <a:gd name="T40" fmla="*/ 2147483647 w 3264"/>
              <a:gd name="T41" fmla="*/ 2147483647 h 1302"/>
              <a:gd name="T42" fmla="*/ 2147483647 w 3264"/>
              <a:gd name="T43" fmla="*/ 2147483647 h 1302"/>
              <a:gd name="T44" fmla="*/ 2147483647 w 3264"/>
              <a:gd name="T45" fmla="*/ 2147483647 h 1302"/>
              <a:gd name="T46" fmla="*/ 2147483647 w 3264"/>
              <a:gd name="T47" fmla="*/ 2147483647 h 1302"/>
              <a:gd name="T48" fmla="*/ 2147483647 w 3264"/>
              <a:gd name="T49" fmla="*/ 2147483647 h 1302"/>
              <a:gd name="T50" fmla="*/ 2147483647 w 3264"/>
              <a:gd name="T51" fmla="*/ 2147483647 h 1302"/>
              <a:gd name="T52" fmla="*/ 2147483647 w 3264"/>
              <a:gd name="T53" fmla="*/ 2147483647 h 1302"/>
              <a:gd name="T54" fmla="*/ 2147483647 w 3264"/>
              <a:gd name="T55" fmla="*/ 2147483647 h 1302"/>
              <a:gd name="T56" fmla="*/ 2147483647 w 3264"/>
              <a:gd name="T57" fmla="*/ 2147483647 h 1302"/>
              <a:gd name="T58" fmla="*/ 2147483647 w 3264"/>
              <a:gd name="T59" fmla="*/ 2147483647 h 1302"/>
              <a:gd name="T60" fmla="*/ 2147483647 w 3264"/>
              <a:gd name="T61" fmla="*/ 2147483647 h 1302"/>
              <a:gd name="T62" fmla="*/ 2147483647 w 3264"/>
              <a:gd name="T63" fmla="*/ 2147483647 h 1302"/>
              <a:gd name="T64" fmla="*/ 2147483647 w 3264"/>
              <a:gd name="T65" fmla="*/ 2147483647 h 1302"/>
              <a:gd name="T66" fmla="*/ 2147483647 w 3264"/>
              <a:gd name="T67" fmla="*/ 2147483647 h 1302"/>
              <a:gd name="T68" fmla="*/ 2147483647 w 3264"/>
              <a:gd name="T69" fmla="*/ 2147483647 h 1302"/>
              <a:gd name="T70" fmla="*/ 2147483647 w 3264"/>
              <a:gd name="T71" fmla="*/ 2147483647 h 1302"/>
              <a:gd name="T72" fmla="*/ 2147483647 w 3264"/>
              <a:gd name="T73" fmla="*/ 2147483647 h 1302"/>
              <a:gd name="T74" fmla="*/ 2147483647 w 3264"/>
              <a:gd name="T75" fmla="*/ 2147483647 h 1302"/>
              <a:gd name="T76" fmla="*/ 2147483647 w 3264"/>
              <a:gd name="T77" fmla="*/ 2147483647 h 1302"/>
              <a:gd name="T78" fmla="*/ 2147483647 w 3264"/>
              <a:gd name="T79" fmla="*/ 2147483647 h 1302"/>
              <a:gd name="T80" fmla="*/ 2147483647 w 3264"/>
              <a:gd name="T81" fmla="*/ 2147483647 h 1302"/>
              <a:gd name="T82" fmla="*/ 2147483647 w 3264"/>
              <a:gd name="T83" fmla="*/ 2147483647 h 1302"/>
              <a:gd name="T84" fmla="*/ 2147483647 w 3264"/>
              <a:gd name="T85" fmla="*/ 2147483647 h 1302"/>
              <a:gd name="T86" fmla="*/ 2147483647 w 3264"/>
              <a:gd name="T87" fmla="*/ 2147483647 h 1302"/>
              <a:gd name="T88" fmla="*/ 2147483647 w 3264"/>
              <a:gd name="T89" fmla="*/ 2147483647 h 1302"/>
              <a:gd name="T90" fmla="*/ 2147483647 w 3264"/>
              <a:gd name="T91" fmla="*/ 2147483647 h 1302"/>
              <a:gd name="T92" fmla="*/ 2147483647 w 3264"/>
              <a:gd name="T93" fmla="*/ 2147483647 h 1302"/>
              <a:gd name="T94" fmla="*/ 2147483647 w 3264"/>
              <a:gd name="T95" fmla="*/ 2147483647 h 1302"/>
              <a:gd name="T96" fmla="*/ 2147483647 w 3264"/>
              <a:gd name="T97" fmla="*/ 2147483647 h 1302"/>
              <a:gd name="T98" fmla="*/ 2147483647 w 3264"/>
              <a:gd name="T99" fmla="*/ 2147483647 h 1302"/>
              <a:gd name="T100" fmla="*/ 2147483647 w 3264"/>
              <a:gd name="T101" fmla="*/ 2147483647 h 1302"/>
              <a:gd name="T102" fmla="*/ 2147483647 w 3264"/>
              <a:gd name="T103" fmla="*/ 2147483647 h 1302"/>
              <a:gd name="T104" fmla="*/ 2147483647 w 3264"/>
              <a:gd name="T105" fmla="*/ 2147483647 h 1302"/>
              <a:gd name="T106" fmla="*/ 2147483647 w 3264"/>
              <a:gd name="T107" fmla="*/ 2147483647 h 1302"/>
              <a:gd name="T108" fmla="*/ 2147483647 w 3264"/>
              <a:gd name="T109" fmla="*/ 2147483647 h 1302"/>
              <a:gd name="T110" fmla="*/ 2147483647 w 3264"/>
              <a:gd name="T111" fmla="*/ 2147483647 h 1302"/>
              <a:gd name="T112" fmla="*/ 2147483647 w 3264"/>
              <a:gd name="T113" fmla="*/ 2147483647 h 1302"/>
              <a:gd name="T114" fmla="*/ 2147483647 w 3264"/>
              <a:gd name="T115" fmla="*/ 2147483647 h 1302"/>
              <a:gd name="T116" fmla="*/ 2147483647 w 3264"/>
              <a:gd name="T117" fmla="*/ 2147483647 h 1302"/>
              <a:gd name="T118" fmla="*/ 2147483647 w 3264"/>
              <a:gd name="T119" fmla="*/ 2147483647 h 1302"/>
              <a:gd name="T120" fmla="*/ 2147483647 w 3264"/>
              <a:gd name="T121" fmla="*/ 2147483647 h 1302"/>
              <a:gd name="T122" fmla="*/ 2147483647 w 3264"/>
              <a:gd name="T123" fmla="*/ 2147483647 h 1302"/>
              <a:gd name="T124" fmla="*/ 2147483647 w 3264"/>
              <a:gd name="T125" fmla="*/ 2147483647 h 13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264"/>
              <a:gd name="T190" fmla="*/ 0 h 1302"/>
              <a:gd name="T191" fmla="*/ 3264 w 3264"/>
              <a:gd name="T192" fmla="*/ 1302 h 13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264" h="1302">
                <a:moveTo>
                  <a:pt x="1788" y="984"/>
                </a:moveTo>
                <a:lnTo>
                  <a:pt x="1806" y="978"/>
                </a:lnTo>
                <a:lnTo>
                  <a:pt x="1818" y="954"/>
                </a:lnTo>
                <a:lnTo>
                  <a:pt x="1812" y="930"/>
                </a:lnTo>
                <a:lnTo>
                  <a:pt x="1788" y="984"/>
                </a:lnTo>
                <a:close/>
                <a:moveTo>
                  <a:pt x="672" y="462"/>
                </a:moveTo>
                <a:lnTo>
                  <a:pt x="702" y="480"/>
                </a:lnTo>
                <a:lnTo>
                  <a:pt x="702" y="450"/>
                </a:lnTo>
                <a:lnTo>
                  <a:pt x="672" y="426"/>
                </a:lnTo>
                <a:lnTo>
                  <a:pt x="672" y="462"/>
                </a:lnTo>
                <a:close/>
                <a:moveTo>
                  <a:pt x="678" y="492"/>
                </a:moveTo>
                <a:lnTo>
                  <a:pt x="654" y="516"/>
                </a:lnTo>
                <a:lnTo>
                  <a:pt x="678" y="546"/>
                </a:lnTo>
                <a:lnTo>
                  <a:pt x="678" y="492"/>
                </a:lnTo>
                <a:close/>
                <a:moveTo>
                  <a:pt x="906" y="714"/>
                </a:moveTo>
                <a:lnTo>
                  <a:pt x="930" y="732"/>
                </a:lnTo>
                <a:lnTo>
                  <a:pt x="936" y="708"/>
                </a:lnTo>
                <a:lnTo>
                  <a:pt x="936" y="702"/>
                </a:lnTo>
                <a:lnTo>
                  <a:pt x="930" y="696"/>
                </a:lnTo>
                <a:lnTo>
                  <a:pt x="930" y="690"/>
                </a:lnTo>
                <a:lnTo>
                  <a:pt x="912" y="672"/>
                </a:lnTo>
                <a:lnTo>
                  <a:pt x="900" y="666"/>
                </a:lnTo>
                <a:lnTo>
                  <a:pt x="888" y="666"/>
                </a:lnTo>
                <a:lnTo>
                  <a:pt x="882" y="672"/>
                </a:lnTo>
                <a:lnTo>
                  <a:pt x="876" y="684"/>
                </a:lnTo>
                <a:lnTo>
                  <a:pt x="882" y="696"/>
                </a:lnTo>
                <a:lnTo>
                  <a:pt x="882" y="708"/>
                </a:lnTo>
                <a:lnTo>
                  <a:pt x="888" y="720"/>
                </a:lnTo>
                <a:lnTo>
                  <a:pt x="906" y="714"/>
                </a:lnTo>
                <a:close/>
                <a:moveTo>
                  <a:pt x="684" y="372"/>
                </a:moveTo>
                <a:lnTo>
                  <a:pt x="672" y="360"/>
                </a:lnTo>
                <a:lnTo>
                  <a:pt x="660" y="372"/>
                </a:lnTo>
                <a:lnTo>
                  <a:pt x="672" y="396"/>
                </a:lnTo>
                <a:lnTo>
                  <a:pt x="684" y="396"/>
                </a:lnTo>
                <a:lnTo>
                  <a:pt x="684" y="372"/>
                </a:lnTo>
                <a:close/>
                <a:moveTo>
                  <a:pt x="750" y="624"/>
                </a:moveTo>
                <a:lnTo>
                  <a:pt x="750" y="630"/>
                </a:lnTo>
                <a:lnTo>
                  <a:pt x="756" y="636"/>
                </a:lnTo>
                <a:lnTo>
                  <a:pt x="756" y="648"/>
                </a:lnTo>
                <a:lnTo>
                  <a:pt x="774" y="684"/>
                </a:lnTo>
                <a:lnTo>
                  <a:pt x="786" y="690"/>
                </a:lnTo>
                <a:lnTo>
                  <a:pt x="804" y="696"/>
                </a:lnTo>
                <a:lnTo>
                  <a:pt x="816" y="702"/>
                </a:lnTo>
                <a:lnTo>
                  <a:pt x="834" y="702"/>
                </a:lnTo>
                <a:lnTo>
                  <a:pt x="828" y="660"/>
                </a:lnTo>
                <a:lnTo>
                  <a:pt x="810" y="648"/>
                </a:lnTo>
                <a:lnTo>
                  <a:pt x="810" y="618"/>
                </a:lnTo>
                <a:lnTo>
                  <a:pt x="804" y="606"/>
                </a:lnTo>
                <a:lnTo>
                  <a:pt x="792" y="600"/>
                </a:lnTo>
                <a:lnTo>
                  <a:pt x="786" y="588"/>
                </a:lnTo>
                <a:lnTo>
                  <a:pt x="768" y="582"/>
                </a:lnTo>
                <a:lnTo>
                  <a:pt x="756" y="576"/>
                </a:lnTo>
                <a:lnTo>
                  <a:pt x="732" y="576"/>
                </a:lnTo>
                <a:lnTo>
                  <a:pt x="732" y="582"/>
                </a:lnTo>
                <a:lnTo>
                  <a:pt x="726" y="588"/>
                </a:lnTo>
                <a:lnTo>
                  <a:pt x="726" y="600"/>
                </a:lnTo>
                <a:lnTo>
                  <a:pt x="714" y="600"/>
                </a:lnTo>
                <a:lnTo>
                  <a:pt x="714" y="606"/>
                </a:lnTo>
                <a:lnTo>
                  <a:pt x="708" y="612"/>
                </a:lnTo>
                <a:lnTo>
                  <a:pt x="714" y="624"/>
                </a:lnTo>
                <a:lnTo>
                  <a:pt x="750" y="624"/>
                </a:lnTo>
                <a:close/>
                <a:moveTo>
                  <a:pt x="246" y="438"/>
                </a:moveTo>
                <a:lnTo>
                  <a:pt x="222" y="462"/>
                </a:lnTo>
                <a:lnTo>
                  <a:pt x="234" y="492"/>
                </a:lnTo>
                <a:lnTo>
                  <a:pt x="234" y="498"/>
                </a:lnTo>
                <a:lnTo>
                  <a:pt x="228" y="504"/>
                </a:lnTo>
                <a:lnTo>
                  <a:pt x="228" y="510"/>
                </a:lnTo>
                <a:lnTo>
                  <a:pt x="240" y="510"/>
                </a:lnTo>
                <a:lnTo>
                  <a:pt x="246" y="504"/>
                </a:lnTo>
                <a:lnTo>
                  <a:pt x="246" y="468"/>
                </a:lnTo>
                <a:lnTo>
                  <a:pt x="252" y="456"/>
                </a:lnTo>
                <a:lnTo>
                  <a:pt x="246" y="438"/>
                </a:lnTo>
                <a:close/>
                <a:moveTo>
                  <a:pt x="264" y="534"/>
                </a:moveTo>
                <a:lnTo>
                  <a:pt x="258" y="546"/>
                </a:lnTo>
                <a:lnTo>
                  <a:pt x="258" y="588"/>
                </a:lnTo>
                <a:lnTo>
                  <a:pt x="264" y="600"/>
                </a:lnTo>
                <a:lnTo>
                  <a:pt x="276" y="612"/>
                </a:lnTo>
                <a:lnTo>
                  <a:pt x="288" y="612"/>
                </a:lnTo>
                <a:lnTo>
                  <a:pt x="294" y="606"/>
                </a:lnTo>
                <a:lnTo>
                  <a:pt x="294" y="588"/>
                </a:lnTo>
                <a:lnTo>
                  <a:pt x="288" y="576"/>
                </a:lnTo>
                <a:lnTo>
                  <a:pt x="282" y="558"/>
                </a:lnTo>
                <a:lnTo>
                  <a:pt x="282" y="546"/>
                </a:lnTo>
                <a:lnTo>
                  <a:pt x="276" y="534"/>
                </a:lnTo>
                <a:lnTo>
                  <a:pt x="264" y="534"/>
                </a:lnTo>
                <a:close/>
                <a:moveTo>
                  <a:pt x="48" y="222"/>
                </a:moveTo>
                <a:lnTo>
                  <a:pt x="42" y="228"/>
                </a:lnTo>
                <a:lnTo>
                  <a:pt x="42" y="246"/>
                </a:lnTo>
                <a:lnTo>
                  <a:pt x="48" y="258"/>
                </a:lnTo>
                <a:lnTo>
                  <a:pt x="66" y="258"/>
                </a:lnTo>
                <a:lnTo>
                  <a:pt x="84" y="276"/>
                </a:lnTo>
                <a:lnTo>
                  <a:pt x="90" y="270"/>
                </a:lnTo>
                <a:lnTo>
                  <a:pt x="90" y="252"/>
                </a:lnTo>
                <a:lnTo>
                  <a:pt x="78" y="246"/>
                </a:lnTo>
                <a:lnTo>
                  <a:pt x="72" y="234"/>
                </a:lnTo>
                <a:lnTo>
                  <a:pt x="60" y="228"/>
                </a:lnTo>
                <a:lnTo>
                  <a:pt x="54" y="222"/>
                </a:lnTo>
                <a:lnTo>
                  <a:pt x="48" y="222"/>
                </a:lnTo>
                <a:close/>
                <a:moveTo>
                  <a:pt x="162" y="330"/>
                </a:moveTo>
                <a:lnTo>
                  <a:pt x="156" y="330"/>
                </a:lnTo>
                <a:lnTo>
                  <a:pt x="144" y="342"/>
                </a:lnTo>
                <a:lnTo>
                  <a:pt x="144" y="354"/>
                </a:lnTo>
                <a:lnTo>
                  <a:pt x="156" y="366"/>
                </a:lnTo>
                <a:lnTo>
                  <a:pt x="162" y="378"/>
                </a:lnTo>
                <a:lnTo>
                  <a:pt x="174" y="390"/>
                </a:lnTo>
                <a:lnTo>
                  <a:pt x="180" y="402"/>
                </a:lnTo>
                <a:lnTo>
                  <a:pt x="192" y="414"/>
                </a:lnTo>
                <a:lnTo>
                  <a:pt x="198" y="408"/>
                </a:lnTo>
                <a:lnTo>
                  <a:pt x="198" y="402"/>
                </a:lnTo>
                <a:lnTo>
                  <a:pt x="204" y="390"/>
                </a:lnTo>
                <a:lnTo>
                  <a:pt x="204" y="384"/>
                </a:lnTo>
                <a:lnTo>
                  <a:pt x="198" y="372"/>
                </a:lnTo>
                <a:lnTo>
                  <a:pt x="198" y="366"/>
                </a:lnTo>
                <a:lnTo>
                  <a:pt x="192" y="360"/>
                </a:lnTo>
                <a:lnTo>
                  <a:pt x="186" y="348"/>
                </a:lnTo>
                <a:lnTo>
                  <a:pt x="180" y="342"/>
                </a:lnTo>
                <a:lnTo>
                  <a:pt x="168" y="336"/>
                </a:lnTo>
                <a:lnTo>
                  <a:pt x="162" y="330"/>
                </a:lnTo>
                <a:close/>
                <a:moveTo>
                  <a:pt x="2574" y="486"/>
                </a:moveTo>
                <a:lnTo>
                  <a:pt x="2574" y="474"/>
                </a:lnTo>
                <a:lnTo>
                  <a:pt x="2568" y="474"/>
                </a:lnTo>
                <a:lnTo>
                  <a:pt x="2556" y="468"/>
                </a:lnTo>
                <a:lnTo>
                  <a:pt x="2520" y="468"/>
                </a:lnTo>
                <a:lnTo>
                  <a:pt x="2514" y="474"/>
                </a:lnTo>
                <a:lnTo>
                  <a:pt x="2520" y="498"/>
                </a:lnTo>
                <a:lnTo>
                  <a:pt x="2526" y="498"/>
                </a:lnTo>
                <a:lnTo>
                  <a:pt x="2538" y="492"/>
                </a:lnTo>
                <a:lnTo>
                  <a:pt x="2562" y="492"/>
                </a:lnTo>
                <a:lnTo>
                  <a:pt x="2568" y="486"/>
                </a:lnTo>
                <a:lnTo>
                  <a:pt x="2574" y="486"/>
                </a:lnTo>
                <a:close/>
                <a:moveTo>
                  <a:pt x="336" y="648"/>
                </a:moveTo>
                <a:lnTo>
                  <a:pt x="342" y="648"/>
                </a:lnTo>
                <a:lnTo>
                  <a:pt x="342" y="636"/>
                </a:lnTo>
                <a:lnTo>
                  <a:pt x="330" y="624"/>
                </a:lnTo>
                <a:lnTo>
                  <a:pt x="318" y="624"/>
                </a:lnTo>
                <a:lnTo>
                  <a:pt x="318" y="636"/>
                </a:lnTo>
                <a:lnTo>
                  <a:pt x="330" y="648"/>
                </a:lnTo>
                <a:lnTo>
                  <a:pt x="336" y="648"/>
                </a:lnTo>
                <a:close/>
                <a:moveTo>
                  <a:pt x="2472" y="654"/>
                </a:moveTo>
                <a:lnTo>
                  <a:pt x="2484" y="648"/>
                </a:lnTo>
                <a:lnTo>
                  <a:pt x="2502" y="630"/>
                </a:lnTo>
                <a:lnTo>
                  <a:pt x="2502" y="618"/>
                </a:lnTo>
                <a:lnTo>
                  <a:pt x="2430" y="612"/>
                </a:lnTo>
                <a:lnTo>
                  <a:pt x="2430" y="624"/>
                </a:lnTo>
                <a:lnTo>
                  <a:pt x="2436" y="630"/>
                </a:lnTo>
                <a:lnTo>
                  <a:pt x="2442" y="642"/>
                </a:lnTo>
                <a:lnTo>
                  <a:pt x="2448" y="648"/>
                </a:lnTo>
                <a:lnTo>
                  <a:pt x="2460" y="654"/>
                </a:lnTo>
                <a:lnTo>
                  <a:pt x="2472" y="654"/>
                </a:lnTo>
                <a:close/>
                <a:moveTo>
                  <a:pt x="2406" y="288"/>
                </a:moveTo>
                <a:lnTo>
                  <a:pt x="2418" y="276"/>
                </a:lnTo>
                <a:lnTo>
                  <a:pt x="2418" y="264"/>
                </a:lnTo>
                <a:lnTo>
                  <a:pt x="2412" y="258"/>
                </a:lnTo>
                <a:lnTo>
                  <a:pt x="2400" y="252"/>
                </a:lnTo>
                <a:lnTo>
                  <a:pt x="2376" y="252"/>
                </a:lnTo>
                <a:lnTo>
                  <a:pt x="2370" y="258"/>
                </a:lnTo>
                <a:lnTo>
                  <a:pt x="2370" y="264"/>
                </a:lnTo>
                <a:lnTo>
                  <a:pt x="2394" y="288"/>
                </a:lnTo>
                <a:lnTo>
                  <a:pt x="2406" y="288"/>
                </a:lnTo>
                <a:close/>
                <a:moveTo>
                  <a:pt x="2868" y="528"/>
                </a:moveTo>
                <a:lnTo>
                  <a:pt x="2886" y="534"/>
                </a:lnTo>
                <a:lnTo>
                  <a:pt x="2892" y="534"/>
                </a:lnTo>
                <a:lnTo>
                  <a:pt x="2898" y="528"/>
                </a:lnTo>
                <a:lnTo>
                  <a:pt x="2898" y="522"/>
                </a:lnTo>
                <a:lnTo>
                  <a:pt x="2874" y="510"/>
                </a:lnTo>
                <a:lnTo>
                  <a:pt x="2868" y="516"/>
                </a:lnTo>
                <a:lnTo>
                  <a:pt x="2862" y="516"/>
                </a:lnTo>
                <a:lnTo>
                  <a:pt x="2862" y="522"/>
                </a:lnTo>
                <a:lnTo>
                  <a:pt x="2868" y="528"/>
                </a:lnTo>
                <a:close/>
                <a:moveTo>
                  <a:pt x="2916" y="618"/>
                </a:moveTo>
                <a:lnTo>
                  <a:pt x="2928" y="618"/>
                </a:lnTo>
                <a:lnTo>
                  <a:pt x="2940" y="612"/>
                </a:lnTo>
                <a:lnTo>
                  <a:pt x="2958" y="612"/>
                </a:lnTo>
                <a:lnTo>
                  <a:pt x="2964" y="606"/>
                </a:lnTo>
                <a:lnTo>
                  <a:pt x="2970" y="606"/>
                </a:lnTo>
                <a:lnTo>
                  <a:pt x="2964" y="606"/>
                </a:lnTo>
                <a:lnTo>
                  <a:pt x="2958" y="600"/>
                </a:lnTo>
                <a:lnTo>
                  <a:pt x="2946" y="594"/>
                </a:lnTo>
                <a:lnTo>
                  <a:pt x="2934" y="594"/>
                </a:lnTo>
                <a:lnTo>
                  <a:pt x="2928" y="588"/>
                </a:lnTo>
                <a:lnTo>
                  <a:pt x="2922" y="588"/>
                </a:lnTo>
                <a:lnTo>
                  <a:pt x="2910" y="594"/>
                </a:lnTo>
                <a:lnTo>
                  <a:pt x="2892" y="594"/>
                </a:lnTo>
                <a:lnTo>
                  <a:pt x="2886" y="600"/>
                </a:lnTo>
                <a:lnTo>
                  <a:pt x="2880" y="600"/>
                </a:lnTo>
                <a:lnTo>
                  <a:pt x="2892" y="606"/>
                </a:lnTo>
                <a:lnTo>
                  <a:pt x="2898" y="612"/>
                </a:lnTo>
                <a:lnTo>
                  <a:pt x="2910" y="618"/>
                </a:lnTo>
                <a:lnTo>
                  <a:pt x="2916" y="618"/>
                </a:lnTo>
                <a:close/>
                <a:moveTo>
                  <a:pt x="1710" y="552"/>
                </a:moveTo>
                <a:lnTo>
                  <a:pt x="1710" y="564"/>
                </a:lnTo>
                <a:lnTo>
                  <a:pt x="1716" y="570"/>
                </a:lnTo>
                <a:lnTo>
                  <a:pt x="1716" y="582"/>
                </a:lnTo>
                <a:lnTo>
                  <a:pt x="1722" y="594"/>
                </a:lnTo>
                <a:lnTo>
                  <a:pt x="1722" y="612"/>
                </a:lnTo>
                <a:lnTo>
                  <a:pt x="1716" y="618"/>
                </a:lnTo>
                <a:lnTo>
                  <a:pt x="1692" y="630"/>
                </a:lnTo>
                <a:lnTo>
                  <a:pt x="1686" y="636"/>
                </a:lnTo>
                <a:lnTo>
                  <a:pt x="1674" y="642"/>
                </a:lnTo>
                <a:lnTo>
                  <a:pt x="1674" y="678"/>
                </a:lnTo>
                <a:lnTo>
                  <a:pt x="1680" y="684"/>
                </a:lnTo>
                <a:lnTo>
                  <a:pt x="1686" y="696"/>
                </a:lnTo>
                <a:lnTo>
                  <a:pt x="1674" y="708"/>
                </a:lnTo>
                <a:lnTo>
                  <a:pt x="1674" y="720"/>
                </a:lnTo>
                <a:lnTo>
                  <a:pt x="1680" y="726"/>
                </a:lnTo>
                <a:lnTo>
                  <a:pt x="1692" y="732"/>
                </a:lnTo>
                <a:lnTo>
                  <a:pt x="1698" y="726"/>
                </a:lnTo>
                <a:lnTo>
                  <a:pt x="1722" y="726"/>
                </a:lnTo>
                <a:lnTo>
                  <a:pt x="1728" y="732"/>
                </a:lnTo>
                <a:lnTo>
                  <a:pt x="1728" y="756"/>
                </a:lnTo>
                <a:lnTo>
                  <a:pt x="1722" y="762"/>
                </a:lnTo>
                <a:lnTo>
                  <a:pt x="1740" y="780"/>
                </a:lnTo>
                <a:lnTo>
                  <a:pt x="1728" y="846"/>
                </a:lnTo>
                <a:lnTo>
                  <a:pt x="1710" y="864"/>
                </a:lnTo>
                <a:lnTo>
                  <a:pt x="1704" y="876"/>
                </a:lnTo>
                <a:lnTo>
                  <a:pt x="1704" y="888"/>
                </a:lnTo>
                <a:lnTo>
                  <a:pt x="1710" y="906"/>
                </a:lnTo>
                <a:lnTo>
                  <a:pt x="1722" y="924"/>
                </a:lnTo>
                <a:lnTo>
                  <a:pt x="1746" y="936"/>
                </a:lnTo>
                <a:lnTo>
                  <a:pt x="1764" y="930"/>
                </a:lnTo>
                <a:lnTo>
                  <a:pt x="1788" y="906"/>
                </a:lnTo>
                <a:lnTo>
                  <a:pt x="1788" y="864"/>
                </a:lnTo>
                <a:lnTo>
                  <a:pt x="1782" y="858"/>
                </a:lnTo>
                <a:lnTo>
                  <a:pt x="1776" y="846"/>
                </a:lnTo>
                <a:lnTo>
                  <a:pt x="1800" y="822"/>
                </a:lnTo>
                <a:lnTo>
                  <a:pt x="1806" y="804"/>
                </a:lnTo>
                <a:lnTo>
                  <a:pt x="1806" y="774"/>
                </a:lnTo>
                <a:lnTo>
                  <a:pt x="1812" y="756"/>
                </a:lnTo>
                <a:lnTo>
                  <a:pt x="1812" y="726"/>
                </a:lnTo>
                <a:lnTo>
                  <a:pt x="1806" y="714"/>
                </a:lnTo>
                <a:lnTo>
                  <a:pt x="1800" y="696"/>
                </a:lnTo>
                <a:lnTo>
                  <a:pt x="1794" y="684"/>
                </a:lnTo>
                <a:lnTo>
                  <a:pt x="1794" y="636"/>
                </a:lnTo>
                <a:lnTo>
                  <a:pt x="1800" y="630"/>
                </a:lnTo>
                <a:lnTo>
                  <a:pt x="1800" y="624"/>
                </a:lnTo>
                <a:lnTo>
                  <a:pt x="1806" y="618"/>
                </a:lnTo>
                <a:lnTo>
                  <a:pt x="1812" y="618"/>
                </a:lnTo>
                <a:lnTo>
                  <a:pt x="1818" y="624"/>
                </a:lnTo>
                <a:lnTo>
                  <a:pt x="1824" y="642"/>
                </a:lnTo>
                <a:lnTo>
                  <a:pt x="1830" y="666"/>
                </a:lnTo>
                <a:lnTo>
                  <a:pt x="1836" y="684"/>
                </a:lnTo>
                <a:lnTo>
                  <a:pt x="1836" y="702"/>
                </a:lnTo>
                <a:lnTo>
                  <a:pt x="1866" y="738"/>
                </a:lnTo>
                <a:lnTo>
                  <a:pt x="1866" y="792"/>
                </a:lnTo>
                <a:lnTo>
                  <a:pt x="1890" y="822"/>
                </a:lnTo>
                <a:lnTo>
                  <a:pt x="1890" y="858"/>
                </a:lnTo>
                <a:lnTo>
                  <a:pt x="1902" y="930"/>
                </a:lnTo>
                <a:lnTo>
                  <a:pt x="1920" y="918"/>
                </a:lnTo>
                <a:lnTo>
                  <a:pt x="1962" y="930"/>
                </a:lnTo>
                <a:lnTo>
                  <a:pt x="1962" y="870"/>
                </a:lnTo>
                <a:lnTo>
                  <a:pt x="1968" y="864"/>
                </a:lnTo>
                <a:lnTo>
                  <a:pt x="1974" y="852"/>
                </a:lnTo>
                <a:lnTo>
                  <a:pt x="1980" y="876"/>
                </a:lnTo>
                <a:lnTo>
                  <a:pt x="1998" y="876"/>
                </a:lnTo>
                <a:lnTo>
                  <a:pt x="2004" y="870"/>
                </a:lnTo>
                <a:lnTo>
                  <a:pt x="2010" y="858"/>
                </a:lnTo>
                <a:lnTo>
                  <a:pt x="2010" y="828"/>
                </a:lnTo>
                <a:lnTo>
                  <a:pt x="2004" y="822"/>
                </a:lnTo>
                <a:lnTo>
                  <a:pt x="2004" y="816"/>
                </a:lnTo>
                <a:lnTo>
                  <a:pt x="1992" y="810"/>
                </a:lnTo>
                <a:lnTo>
                  <a:pt x="1986" y="798"/>
                </a:lnTo>
                <a:lnTo>
                  <a:pt x="1974" y="792"/>
                </a:lnTo>
                <a:lnTo>
                  <a:pt x="1962" y="780"/>
                </a:lnTo>
                <a:lnTo>
                  <a:pt x="1956" y="768"/>
                </a:lnTo>
                <a:lnTo>
                  <a:pt x="1944" y="756"/>
                </a:lnTo>
                <a:lnTo>
                  <a:pt x="1944" y="750"/>
                </a:lnTo>
                <a:lnTo>
                  <a:pt x="1956" y="726"/>
                </a:lnTo>
                <a:lnTo>
                  <a:pt x="1968" y="720"/>
                </a:lnTo>
                <a:lnTo>
                  <a:pt x="1968" y="708"/>
                </a:lnTo>
                <a:lnTo>
                  <a:pt x="1962" y="696"/>
                </a:lnTo>
                <a:lnTo>
                  <a:pt x="1938" y="684"/>
                </a:lnTo>
                <a:lnTo>
                  <a:pt x="1932" y="672"/>
                </a:lnTo>
                <a:lnTo>
                  <a:pt x="1932" y="642"/>
                </a:lnTo>
                <a:lnTo>
                  <a:pt x="1938" y="636"/>
                </a:lnTo>
                <a:lnTo>
                  <a:pt x="1938" y="630"/>
                </a:lnTo>
                <a:lnTo>
                  <a:pt x="1926" y="618"/>
                </a:lnTo>
                <a:lnTo>
                  <a:pt x="1914" y="612"/>
                </a:lnTo>
                <a:lnTo>
                  <a:pt x="1896" y="594"/>
                </a:lnTo>
                <a:lnTo>
                  <a:pt x="1884" y="588"/>
                </a:lnTo>
                <a:lnTo>
                  <a:pt x="1878" y="582"/>
                </a:lnTo>
                <a:lnTo>
                  <a:pt x="1914" y="582"/>
                </a:lnTo>
                <a:lnTo>
                  <a:pt x="1926" y="576"/>
                </a:lnTo>
                <a:lnTo>
                  <a:pt x="1932" y="570"/>
                </a:lnTo>
                <a:lnTo>
                  <a:pt x="1944" y="546"/>
                </a:lnTo>
                <a:lnTo>
                  <a:pt x="1950" y="540"/>
                </a:lnTo>
                <a:lnTo>
                  <a:pt x="1956" y="528"/>
                </a:lnTo>
                <a:lnTo>
                  <a:pt x="1992" y="528"/>
                </a:lnTo>
                <a:lnTo>
                  <a:pt x="2004" y="522"/>
                </a:lnTo>
                <a:lnTo>
                  <a:pt x="2010" y="522"/>
                </a:lnTo>
                <a:lnTo>
                  <a:pt x="2016" y="516"/>
                </a:lnTo>
                <a:lnTo>
                  <a:pt x="2016" y="504"/>
                </a:lnTo>
                <a:lnTo>
                  <a:pt x="1998" y="486"/>
                </a:lnTo>
                <a:lnTo>
                  <a:pt x="1986" y="480"/>
                </a:lnTo>
                <a:lnTo>
                  <a:pt x="1974" y="486"/>
                </a:lnTo>
                <a:lnTo>
                  <a:pt x="1956" y="504"/>
                </a:lnTo>
                <a:lnTo>
                  <a:pt x="1956" y="510"/>
                </a:lnTo>
                <a:lnTo>
                  <a:pt x="1944" y="510"/>
                </a:lnTo>
                <a:lnTo>
                  <a:pt x="1932" y="504"/>
                </a:lnTo>
                <a:lnTo>
                  <a:pt x="1896" y="504"/>
                </a:lnTo>
                <a:lnTo>
                  <a:pt x="1890" y="510"/>
                </a:lnTo>
                <a:lnTo>
                  <a:pt x="1884" y="522"/>
                </a:lnTo>
                <a:lnTo>
                  <a:pt x="1854" y="552"/>
                </a:lnTo>
                <a:lnTo>
                  <a:pt x="1848" y="546"/>
                </a:lnTo>
                <a:lnTo>
                  <a:pt x="1836" y="540"/>
                </a:lnTo>
                <a:lnTo>
                  <a:pt x="1824" y="516"/>
                </a:lnTo>
                <a:lnTo>
                  <a:pt x="1788" y="498"/>
                </a:lnTo>
                <a:lnTo>
                  <a:pt x="1776" y="498"/>
                </a:lnTo>
                <a:lnTo>
                  <a:pt x="1776" y="486"/>
                </a:lnTo>
                <a:lnTo>
                  <a:pt x="1782" y="468"/>
                </a:lnTo>
                <a:lnTo>
                  <a:pt x="1782" y="456"/>
                </a:lnTo>
                <a:lnTo>
                  <a:pt x="1794" y="420"/>
                </a:lnTo>
                <a:lnTo>
                  <a:pt x="1806" y="408"/>
                </a:lnTo>
                <a:lnTo>
                  <a:pt x="1824" y="408"/>
                </a:lnTo>
                <a:lnTo>
                  <a:pt x="1842" y="414"/>
                </a:lnTo>
                <a:lnTo>
                  <a:pt x="1896" y="414"/>
                </a:lnTo>
                <a:lnTo>
                  <a:pt x="1902" y="408"/>
                </a:lnTo>
                <a:lnTo>
                  <a:pt x="1908" y="408"/>
                </a:lnTo>
                <a:lnTo>
                  <a:pt x="1908" y="402"/>
                </a:lnTo>
                <a:lnTo>
                  <a:pt x="1914" y="396"/>
                </a:lnTo>
                <a:lnTo>
                  <a:pt x="1920" y="396"/>
                </a:lnTo>
                <a:lnTo>
                  <a:pt x="1944" y="402"/>
                </a:lnTo>
                <a:lnTo>
                  <a:pt x="1980" y="420"/>
                </a:lnTo>
                <a:lnTo>
                  <a:pt x="2010" y="432"/>
                </a:lnTo>
                <a:lnTo>
                  <a:pt x="2034" y="438"/>
                </a:lnTo>
                <a:lnTo>
                  <a:pt x="2040" y="438"/>
                </a:lnTo>
                <a:lnTo>
                  <a:pt x="2052" y="432"/>
                </a:lnTo>
                <a:lnTo>
                  <a:pt x="2064" y="420"/>
                </a:lnTo>
                <a:lnTo>
                  <a:pt x="2082" y="420"/>
                </a:lnTo>
                <a:lnTo>
                  <a:pt x="2094" y="414"/>
                </a:lnTo>
                <a:lnTo>
                  <a:pt x="2106" y="414"/>
                </a:lnTo>
                <a:lnTo>
                  <a:pt x="2112" y="408"/>
                </a:lnTo>
                <a:lnTo>
                  <a:pt x="2112" y="402"/>
                </a:lnTo>
                <a:lnTo>
                  <a:pt x="2106" y="396"/>
                </a:lnTo>
                <a:lnTo>
                  <a:pt x="2106" y="390"/>
                </a:lnTo>
                <a:lnTo>
                  <a:pt x="2118" y="378"/>
                </a:lnTo>
                <a:lnTo>
                  <a:pt x="2142" y="366"/>
                </a:lnTo>
                <a:lnTo>
                  <a:pt x="2148" y="360"/>
                </a:lnTo>
                <a:lnTo>
                  <a:pt x="2160" y="354"/>
                </a:lnTo>
                <a:lnTo>
                  <a:pt x="2148" y="324"/>
                </a:lnTo>
                <a:lnTo>
                  <a:pt x="2070" y="360"/>
                </a:lnTo>
                <a:lnTo>
                  <a:pt x="2076" y="366"/>
                </a:lnTo>
                <a:lnTo>
                  <a:pt x="2076" y="372"/>
                </a:lnTo>
                <a:lnTo>
                  <a:pt x="2070" y="378"/>
                </a:lnTo>
                <a:lnTo>
                  <a:pt x="2046" y="378"/>
                </a:lnTo>
                <a:lnTo>
                  <a:pt x="2022" y="366"/>
                </a:lnTo>
                <a:lnTo>
                  <a:pt x="2004" y="366"/>
                </a:lnTo>
                <a:lnTo>
                  <a:pt x="1968" y="384"/>
                </a:lnTo>
                <a:lnTo>
                  <a:pt x="1950" y="384"/>
                </a:lnTo>
                <a:lnTo>
                  <a:pt x="1938" y="378"/>
                </a:lnTo>
                <a:lnTo>
                  <a:pt x="1926" y="378"/>
                </a:lnTo>
                <a:lnTo>
                  <a:pt x="1902" y="366"/>
                </a:lnTo>
                <a:lnTo>
                  <a:pt x="1860" y="366"/>
                </a:lnTo>
                <a:lnTo>
                  <a:pt x="1872" y="348"/>
                </a:lnTo>
                <a:lnTo>
                  <a:pt x="1860" y="348"/>
                </a:lnTo>
                <a:lnTo>
                  <a:pt x="1848" y="342"/>
                </a:lnTo>
                <a:lnTo>
                  <a:pt x="1824" y="342"/>
                </a:lnTo>
                <a:lnTo>
                  <a:pt x="1824" y="366"/>
                </a:lnTo>
                <a:lnTo>
                  <a:pt x="1812" y="378"/>
                </a:lnTo>
                <a:lnTo>
                  <a:pt x="1788" y="390"/>
                </a:lnTo>
                <a:lnTo>
                  <a:pt x="1764" y="390"/>
                </a:lnTo>
                <a:lnTo>
                  <a:pt x="1758" y="396"/>
                </a:lnTo>
                <a:lnTo>
                  <a:pt x="1758" y="426"/>
                </a:lnTo>
                <a:lnTo>
                  <a:pt x="1740" y="432"/>
                </a:lnTo>
                <a:lnTo>
                  <a:pt x="1752" y="498"/>
                </a:lnTo>
                <a:lnTo>
                  <a:pt x="1740" y="498"/>
                </a:lnTo>
                <a:lnTo>
                  <a:pt x="1734" y="510"/>
                </a:lnTo>
                <a:lnTo>
                  <a:pt x="1728" y="516"/>
                </a:lnTo>
                <a:lnTo>
                  <a:pt x="1710" y="552"/>
                </a:lnTo>
                <a:close/>
                <a:moveTo>
                  <a:pt x="1986" y="576"/>
                </a:moveTo>
                <a:lnTo>
                  <a:pt x="1986" y="594"/>
                </a:lnTo>
                <a:lnTo>
                  <a:pt x="1992" y="600"/>
                </a:lnTo>
                <a:lnTo>
                  <a:pt x="2004" y="600"/>
                </a:lnTo>
                <a:lnTo>
                  <a:pt x="2016" y="588"/>
                </a:lnTo>
                <a:lnTo>
                  <a:pt x="2016" y="576"/>
                </a:lnTo>
                <a:lnTo>
                  <a:pt x="1986" y="576"/>
                </a:lnTo>
                <a:close/>
                <a:moveTo>
                  <a:pt x="1686" y="1110"/>
                </a:moveTo>
                <a:lnTo>
                  <a:pt x="1674" y="1110"/>
                </a:lnTo>
                <a:lnTo>
                  <a:pt x="1668" y="1116"/>
                </a:lnTo>
                <a:lnTo>
                  <a:pt x="1662" y="1116"/>
                </a:lnTo>
                <a:lnTo>
                  <a:pt x="1614" y="1104"/>
                </a:lnTo>
                <a:lnTo>
                  <a:pt x="1644" y="1146"/>
                </a:lnTo>
                <a:lnTo>
                  <a:pt x="1650" y="1152"/>
                </a:lnTo>
                <a:lnTo>
                  <a:pt x="1662" y="1158"/>
                </a:lnTo>
                <a:lnTo>
                  <a:pt x="1668" y="1164"/>
                </a:lnTo>
                <a:lnTo>
                  <a:pt x="1680" y="1170"/>
                </a:lnTo>
                <a:lnTo>
                  <a:pt x="1692" y="1158"/>
                </a:lnTo>
                <a:lnTo>
                  <a:pt x="1698" y="1140"/>
                </a:lnTo>
                <a:lnTo>
                  <a:pt x="1698" y="1128"/>
                </a:lnTo>
                <a:lnTo>
                  <a:pt x="1692" y="1116"/>
                </a:lnTo>
                <a:lnTo>
                  <a:pt x="1686" y="1110"/>
                </a:lnTo>
                <a:close/>
                <a:moveTo>
                  <a:pt x="2094" y="1104"/>
                </a:moveTo>
                <a:lnTo>
                  <a:pt x="2064" y="1128"/>
                </a:lnTo>
                <a:lnTo>
                  <a:pt x="2094" y="1134"/>
                </a:lnTo>
                <a:lnTo>
                  <a:pt x="2094" y="1104"/>
                </a:lnTo>
                <a:close/>
                <a:moveTo>
                  <a:pt x="486" y="294"/>
                </a:moveTo>
                <a:lnTo>
                  <a:pt x="474" y="288"/>
                </a:lnTo>
                <a:lnTo>
                  <a:pt x="468" y="288"/>
                </a:lnTo>
                <a:lnTo>
                  <a:pt x="456" y="294"/>
                </a:lnTo>
                <a:lnTo>
                  <a:pt x="456" y="312"/>
                </a:lnTo>
                <a:lnTo>
                  <a:pt x="468" y="324"/>
                </a:lnTo>
                <a:lnTo>
                  <a:pt x="474" y="318"/>
                </a:lnTo>
                <a:lnTo>
                  <a:pt x="486" y="318"/>
                </a:lnTo>
                <a:lnTo>
                  <a:pt x="486" y="312"/>
                </a:lnTo>
                <a:lnTo>
                  <a:pt x="492" y="300"/>
                </a:lnTo>
                <a:lnTo>
                  <a:pt x="486" y="294"/>
                </a:lnTo>
                <a:close/>
                <a:moveTo>
                  <a:pt x="2346" y="588"/>
                </a:moveTo>
                <a:lnTo>
                  <a:pt x="2340" y="576"/>
                </a:lnTo>
                <a:lnTo>
                  <a:pt x="2328" y="570"/>
                </a:lnTo>
                <a:lnTo>
                  <a:pt x="2310" y="552"/>
                </a:lnTo>
                <a:lnTo>
                  <a:pt x="2304" y="552"/>
                </a:lnTo>
                <a:lnTo>
                  <a:pt x="2304" y="600"/>
                </a:lnTo>
                <a:lnTo>
                  <a:pt x="2316" y="600"/>
                </a:lnTo>
                <a:lnTo>
                  <a:pt x="2328" y="606"/>
                </a:lnTo>
                <a:lnTo>
                  <a:pt x="2334" y="606"/>
                </a:lnTo>
                <a:lnTo>
                  <a:pt x="2346" y="600"/>
                </a:lnTo>
                <a:lnTo>
                  <a:pt x="2346" y="588"/>
                </a:lnTo>
                <a:close/>
                <a:moveTo>
                  <a:pt x="2310" y="474"/>
                </a:moveTo>
                <a:lnTo>
                  <a:pt x="2340" y="504"/>
                </a:lnTo>
                <a:lnTo>
                  <a:pt x="2358" y="516"/>
                </a:lnTo>
                <a:lnTo>
                  <a:pt x="2382" y="528"/>
                </a:lnTo>
                <a:lnTo>
                  <a:pt x="2400" y="528"/>
                </a:lnTo>
                <a:lnTo>
                  <a:pt x="2400" y="522"/>
                </a:lnTo>
                <a:lnTo>
                  <a:pt x="2358" y="480"/>
                </a:lnTo>
                <a:lnTo>
                  <a:pt x="2358" y="468"/>
                </a:lnTo>
                <a:lnTo>
                  <a:pt x="2364" y="456"/>
                </a:lnTo>
                <a:lnTo>
                  <a:pt x="2376" y="450"/>
                </a:lnTo>
                <a:lnTo>
                  <a:pt x="2394" y="450"/>
                </a:lnTo>
                <a:lnTo>
                  <a:pt x="2406" y="456"/>
                </a:lnTo>
                <a:lnTo>
                  <a:pt x="2424" y="444"/>
                </a:lnTo>
                <a:lnTo>
                  <a:pt x="2400" y="432"/>
                </a:lnTo>
                <a:lnTo>
                  <a:pt x="2412" y="426"/>
                </a:lnTo>
                <a:lnTo>
                  <a:pt x="2424" y="402"/>
                </a:lnTo>
                <a:lnTo>
                  <a:pt x="2412" y="378"/>
                </a:lnTo>
                <a:lnTo>
                  <a:pt x="2400" y="372"/>
                </a:lnTo>
                <a:lnTo>
                  <a:pt x="2382" y="372"/>
                </a:lnTo>
                <a:lnTo>
                  <a:pt x="2358" y="396"/>
                </a:lnTo>
                <a:lnTo>
                  <a:pt x="2346" y="402"/>
                </a:lnTo>
                <a:lnTo>
                  <a:pt x="2340" y="408"/>
                </a:lnTo>
                <a:lnTo>
                  <a:pt x="2334" y="408"/>
                </a:lnTo>
                <a:lnTo>
                  <a:pt x="2328" y="402"/>
                </a:lnTo>
                <a:lnTo>
                  <a:pt x="2328" y="366"/>
                </a:lnTo>
                <a:lnTo>
                  <a:pt x="2334" y="360"/>
                </a:lnTo>
                <a:lnTo>
                  <a:pt x="2346" y="336"/>
                </a:lnTo>
                <a:lnTo>
                  <a:pt x="2346" y="318"/>
                </a:lnTo>
                <a:lnTo>
                  <a:pt x="2340" y="312"/>
                </a:lnTo>
                <a:lnTo>
                  <a:pt x="2358" y="276"/>
                </a:lnTo>
                <a:lnTo>
                  <a:pt x="2316" y="312"/>
                </a:lnTo>
                <a:lnTo>
                  <a:pt x="2316" y="342"/>
                </a:lnTo>
                <a:lnTo>
                  <a:pt x="2304" y="348"/>
                </a:lnTo>
                <a:lnTo>
                  <a:pt x="2298" y="354"/>
                </a:lnTo>
                <a:lnTo>
                  <a:pt x="2286" y="378"/>
                </a:lnTo>
                <a:lnTo>
                  <a:pt x="2286" y="408"/>
                </a:lnTo>
                <a:lnTo>
                  <a:pt x="2298" y="420"/>
                </a:lnTo>
                <a:lnTo>
                  <a:pt x="2304" y="432"/>
                </a:lnTo>
                <a:lnTo>
                  <a:pt x="2310" y="438"/>
                </a:lnTo>
                <a:lnTo>
                  <a:pt x="2310" y="444"/>
                </a:lnTo>
                <a:lnTo>
                  <a:pt x="2304" y="450"/>
                </a:lnTo>
                <a:lnTo>
                  <a:pt x="2304" y="468"/>
                </a:lnTo>
                <a:lnTo>
                  <a:pt x="2310" y="474"/>
                </a:lnTo>
                <a:close/>
                <a:moveTo>
                  <a:pt x="2250" y="708"/>
                </a:moveTo>
                <a:lnTo>
                  <a:pt x="2238" y="696"/>
                </a:lnTo>
                <a:lnTo>
                  <a:pt x="2214" y="708"/>
                </a:lnTo>
                <a:lnTo>
                  <a:pt x="2214" y="732"/>
                </a:lnTo>
                <a:lnTo>
                  <a:pt x="2220" y="744"/>
                </a:lnTo>
                <a:lnTo>
                  <a:pt x="2226" y="750"/>
                </a:lnTo>
                <a:lnTo>
                  <a:pt x="2250" y="762"/>
                </a:lnTo>
                <a:lnTo>
                  <a:pt x="2274" y="762"/>
                </a:lnTo>
                <a:lnTo>
                  <a:pt x="2280" y="750"/>
                </a:lnTo>
                <a:lnTo>
                  <a:pt x="2280" y="738"/>
                </a:lnTo>
                <a:lnTo>
                  <a:pt x="2274" y="726"/>
                </a:lnTo>
                <a:lnTo>
                  <a:pt x="2274" y="714"/>
                </a:lnTo>
                <a:lnTo>
                  <a:pt x="2268" y="708"/>
                </a:lnTo>
                <a:lnTo>
                  <a:pt x="2268" y="702"/>
                </a:lnTo>
                <a:lnTo>
                  <a:pt x="2250" y="708"/>
                </a:lnTo>
                <a:close/>
                <a:moveTo>
                  <a:pt x="2148" y="1104"/>
                </a:moveTo>
                <a:lnTo>
                  <a:pt x="2226" y="1092"/>
                </a:lnTo>
                <a:lnTo>
                  <a:pt x="2166" y="1074"/>
                </a:lnTo>
                <a:lnTo>
                  <a:pt x="2148" y="1104"/>
                </a:lnTo>
                <a:close/>
                <a:moveTo>
                  <a:pt x="2544" y="750"/>
                </a:moveTo>
                <a:lnTo>
                  <a:pt x="2520" y="732"/>
                </a:lnTo>
                <a:lnTo>
                  <a:pt x="2526" y="714"/>
                </a:lnTo>
                <a:lnTo>
                  <a:pt x="2514" y="702"/>
                </a:lnTo>
                <a:lnTo>
                  <a:pt x="2508" y="690"/>
                </a:lnTo>
                <a:lnTo>
                  <a:pt x="2490" y="684"/>
                </a:lnTo>
                <a:lnTo>
                  <a:pt x="2472" y="672"/>
                </a:lnTo>
                <a:lnTo>
                  <a:pt x="2442" y="666"/>
                </a:lnTo>
                <a:lnTo>
                  <a:pt x="2424" y="666"/>
                </a:lnTo>
                <a:lnTo>
                  <a:pt x="2388" y="684"/>
                </a:lnTo>
                <a:lnTo>
                  <a:pt x="2358" y="684"/>
                </a:lnTo>
                <a:lnTo>
                  <a:pt x="2346" y="696"/>
                </a:lnTo>
                <a:lnTo>
                  <a:pt x="2340" y="708"/>
                </a:lnTo>
                <a:lnTo>
                  <a:pt x="2340" y="726"/>
                </a:lnTo>
                <a:lnTo>
                  <a:pt x="2346" y="732"/>
                </a:lnTo>
                <a:lnTo>
                  <a:pt x="2364" y="714"/>
                </a:lnTo>
                <a:lnTo>
                  <a:pt x="2364" y="726"/>
                </a:lnTo>
                <a:lnTo>
                  <a:pt x="2370" y="738"/>
                </a:lnTo>
                <a:lnTo>
                  <a:pt x="2376" y="744"/>
                </a:lnTo>
                <a:lnTo>
                  <a:pt x="2388" y="738"/>
                </a:lnTo>
                <a:lnTo>
                  <a:pt x="2394" y="732"/>
                </a:lnTo>
                <a:lnTo>
                  <a:pt x="2394" y="726"/>
                </a:lnTo>
                <a:lnTo>
                  <a:pt x="2400" y="720"/>
                </a:lnTo>
                <a:lnTo>
                  <a:pt x="2400" y="714"/>
                </a:lnTo>
                <a:lnTo>
                  <a:pt x="2406" y="726"/>
                </a:lnTo>
                <a:lnTo>
                  <a:pt x="2418" y="732"/>
                </a:lnTo>
                <a:lnTo>
                  <a:pt x="2430" y="732"/>
                </a:lnTo>
                <a:lnTo>
                  <a:pt x="2442" y="720"/>
                </a:lnTo>
                <a:lnTo>
                  <a:pt x="2454" y="714"/>
                </a:lnTo>
                <a:lnTo>
                  <a:pt x="2460" y="708"/>
                </a:lnTo>
                <a:lnTo>
                  <a:pt x="2472" y="762"/>
                </a:lnTo>
                <a:lnTo>
                  <a:pt x="2502" y="738"/>
                </a:lnTo>
                <a:lnTo>
                  <a:pt x="2538" y="774"/>
                </a:lnTo>
                <a:lnTo>
                  <a:pt x="2544" y="750"/>
                </a:lnTo>
                <a:close/>
                <a:moveTo>
                  <a:pt x="3264" y="678"/>
                </a:moveTo>
                <a:lnTo>
                  <a:pt x="3222" y="648"/>
                </a:lnTo>
                <a:lnTo>
                  <a:pt x="3210" y="648"/>
                </a:lnTo>
                <a:lnTo>
                  <a:pt x="3198" y="654"/>
                </a:lnTo>
                <a:lnTo>
                  <a:pt x="3180" y="654"/>
                </a:lnTo>
                <a:lnTo>
                  <a:pt x="3162" y="648"/>
                </a:lnTo>
                <a:lnTo>
                  <a:pt x="3126" y="630"/>
                </a:lnTo>
                <a:lnTo>
                  <a:pt x="3096" y="612"/>
                </a:lnTo>
                <a:lnTo>
                  <a:pt x="3060" y="594"/>
                </a:lnTo>
                <a:lnTo>
                  <a:pt x="3042" y="582"/>
                </a:lnTo>
                <a:lnTo>
                  <a:pt x="3030" y="582"/>
                </a:lnTo>
                <a:lnTo>
                  <a:pt x="3006" y="594"/>
                </a:lnTo>
                <a:lnTo>
                  <a:pt x="3000" y="600"/>
                </a:lnTo>
                <a:lnTo>
                  <a:pt x="2988" y="606"/>
                </a:lnTo>
                <a:lnTo>
                  <a:pt x="3006" y="630"/>
                </a:lnTo>
                <a:lnTo>
                  <a:pt x="2928" y="642"/>
                </a:lnTo>
                <a:lnTo>
                  <a:pt x="2934" y="666"/>
                </a:lnTo>
                <a:lnTo>
                  <a:pt x="2928" y="678"/>
                </a:lnTo>
                <a:lnTo>
                  <a:pt x="2922" y="684"/>
                </a:lnTo>
                <a:lnTo>
                  <a:pt x="2916" y="696"/>
                </a:lnTo>
                <a:lnTo>
                  <a:pt x="2880" y="720"/>
                </a:lnTo>
                <a:lnTo>
                  <a:pt x="2862" y="726"/>
                </a:lnTo>
                <a:lnTo>
                  <a:pt x="2844" y="726"/>
                </a:lnTo>
                <a:lnTo>
                  <a:pt x="2832" y="720"/>
                </a:lnTo>
                <a:lnTo>
                  <a:pt x="2826" y="714"/>
                </a:lnTo>
                <a:lnTo>
                  <a:pt x="2820" y="702"/>
                </a:lnTo>
                <a:lnTo>
                  <a:pt x="2820" y="678"/>
                </a:lnTo>
                <a:lnTo>
                  <a:pt x="2814" y="672"/>
                </a:lnTo>
                <a:lnTo>
                  <a:pt x="2814" y="660"/>
                </a:lnTo>
                <a:lnTo>
                  <a:pt x="2808" y="666"/>
                </a:lnTo>
                <a:lnTo>
                  <a:pt x="2808" y="672"/>
                </a:lnTo>
                <a:lnTo>
                  <a:pt x="2802" y="684"/>
                </a:lnTo>
                <a:lnTo>
                  <a:pt x="2796" y="690"/>
                </a:lnTo>
                <a:lnTo>
                  <a:pt x="2796" y="696"/>
                </a:lnTo>
                <a:lnTo>
                  <a:pt x="2796" y="690"/>
                </a:lnTo>
                <a:lnTo>
                  <a:pt x="2790" y="684"/>
                </a:lnTo>
                <a:lnTo>
                  <a:pt x="2790" y="672"/>
                </a:lnTo>
                <a:lnTo>
                  <a:pt x="2784" y="660"/>
                </a:lnTo>
                <a:lnTo>
                  <a:pt x="2784" y="576"/>
                </a:lnTo>
                <a:lnTo>
                  <a:pt x="2778" y="558"/>
                </a:lnTo>
                <a:lnTo>
                  <a:pt x="2760" y="522"/>
                </a:lnTo>
                <a:lnTo>
                  <a:pt x="2724" y="522"/>
                </a:lnTo>
                <a:lnTo>
                  <a:pt x="2718" y="510"/>
                </a:lnTo>
                <a:lnTo>
                  <a:pt x="2694" y="498"/>
                </a:lnTo>
                <a:lnTo>
                  <a:pt x="2676" y="486"/>
                </a:lnTo>
                <a:lnTo>
                  <a:pt x="2652" y="486"/>
                </a:lnTo>
                <a:lnTo>
                  <a:pt x="2634" y="498"/>
                </a:lnTo>
                <a:lnTo>
                  <a:pt x="2628" y="504"/>
                </a:lnTo>
                <a:lnTo>
                  <a:pt x="2616" y="510"/>
                </a:lnTo>
                <a:lnTo>
                  <a:pt x="2610" y="522"/>
                </a:lnTo>
                <a:lnTo>
                  <a:pt x="2586" y="528"/>
                </a:lnTo>
                <a:lnTo>
                  <a:pt x="2580" y="546"/>
                </a:lnTo>
                <a:lnTo>
                  <a:pt x="2562" y="558"/>
                </a:lnTo>
                <a:lnTo>
                  <a:pt x="2562" y="540"/>
                </a:lnTo>
                <a:lnTo>
                  <a:pt x="2556" y="534"/>
                </a:lnTo>
                <a:lnTo>
                  <a:pt x="2532" y="534"/>
                </a:lnTo>
                <a:lnTo>
                  <a:pt x="2532" y="546"/>
                </a:lnTo>
                <a:lnTo>
                  <a:pt x="2544" y="570"/>
                </a:lnTo>
                <a:lnTo>
                  <a:pt x="2568" y="582"/>
                </a:lnTo>
                <a:lnTo>
                  <a:pt x="2604" y="582"/>
                </a:lnTo>
                <a:lnTo>
                  <a:pt x="2616" y="588"/>
                </a:lnTo>
                <a:lnTo>
                  <a:pt x="2622" y="594"/>
                </a:lnTo>
                <a:lnTo>
                  <a:pt x="2628" y="594"/>
                </a:lnTo>
                <a:lnTo>
                  <a:pt x="2628" y="618"/>
                </a:lnTo>
                <a:lnTo>
                  <a:pt x="2634" y="630"/>
                </a:lnTo>
                <a:lnTo>
                  <a:pt x="2640" y="636"/>
                </a:lnTo>
                <a:lnTo>
                  <a:pt x="2652" y="642"/>
                </a:lnTo>
                <a:lnTo>
                  <a:pt x="2694" y="642"/>
                </a:lnTo>
                <a:lnTo>
                  <a:pt x="2712" y="636"/>
                </a:lnTo>
                <a:lnTo>
                  <a:pt x="2754" y="636"/>
                </a:lnTo>
                <a:lnTo>
                  <a:pt x="2760" y="642"/>
                </a:lnTo>
                <a:lnTo>
                  <a:pt x="2760" y="660"/>
                </a:lnTo>
                <a:lnTo>
                  <a:pt x="2700" y="660"/>
                </a:lnTo>
                <a:lnTo>
                  <a:pt x="2688" y="666"/>
                </a:lnTo>
                <a:lnTo>
                  <a:pt x="2676" y="678"/>
                </a:lnTo>
                <a:lnTo>
                  <a:pt x="2640" y="678"/>
                </a:lnTo>
                <a:lnTo>
                  <a:pt x="2616" y="690"/>
                </a:lnTo>
                <a:lnTo>
                  <a:pt x="2616" y="696"/>
                </a:lnTo>
                <a:lnTo>
                  <a:pt x="2622" y="696"/>
                </a:lnTo>
                <a:lnTo>
                  <a:pt x="2646" y="708"/>
                </a:lnTo>
                <a:lnTo>
                  <a:pt x="2658" y="708"/>
                </a:lnTo>
                <a:lnTo>
                  <a:pt x="2676" y="726"/>
                </a:lnTo>
                <a:lnTo>
                  <a:pt x="2682" y="738"/>
                </a:lnTo>
                <a:lnTo>
                  <a:pt x="2688" y="744"/>
                </a:lnTo>
                <a:lnTo>
                  <a:pt x="2682" y="750"/>
                </a:lnTo>
                <a:lnTo>
                  <a:pt x="2676" y="762"/>
                </a:lnTo>
                <a:lnTo>
                  <a:pt x="2676" y="774"/>
                </a:lnTo>
                <a:lnTo>
                  <a:pt x="2670" y="780"/>
                </a:lnTo>
                <a:lnTo>
                  <a:pt x="2676" y="792"/>
                </a:lnTo>
                <a:lnTo>
                  <a:pt x="2682" y="798"/>
                </a:lnTo>
                <a:lnTo>
                  <a:pt x="2694" y="792"/>
                </a:lnTo>
                <a:lnTo>
                  <a:pt x="2706" y="780"/>
                </a:lnTo>
                <a:lnTo>
                  <a:pt x="2712" y="768"/>
                </a:lnTo>
                <a:lnTo>
                  <a:pt x="2718" y="762"/>
                </a:lnTo>
                <a:lnTo>
                  <a:pt x="2718" y="750"/>
                </a:lnTo>
                <a:lnTo>
                  <a:pt x="2724" y="744"/>
                </a:lnTo>
                <a:lnTo>
                  <a:pt x="2736" y="720"/>
                </a:lnTo>
                <a:lnTo>
                  <a:pt x="2742" y="714"/>
                </a:lnTo>
                <a:lnTo>
                  <a:pt x="2748" y="702"/>
                </a:lnTo>
                <a:lnTo>
                  <a:pt x="2748" y="744"/>
                </a:lnTo>
                <a:lnTo>
                  <a:pt x="2754" y="750"/>
                </a:lnTo>
                <a:lnTo>
                  <a:pt x="2766" y="756"/>
                </a:lnTo>
                <a:lnTo>
                  <a:pt x="2772" y="768"/>
                </a:lnTo>
                <a:lnTo>
                  <a:pt x="2784" y="774"/>
                </a:lnTo>
                <a:lnTo>
                  <a:pt x="2790" y="780"/>
                </a:lnTo>
                <a:lnTo>
                  <a:pt x="2814" y="780"/>
                </a:lnTo>
                <a:lnTo>
                  <a:pt x="2820" y="774"/>
                </a:lnTo>
                <a:lnTo>
                  <a:pt x="2826" y="774"/>
                </a:lnTo>
                <a:lnTo>
                  <a:pt x="2814" y="792"/>
                </a:lnTo>
                <a:lnTo>
                  <a:pt x="2844" y="822"/>
                </a:lnTo>
                <a:lnTo>
                  <a:pt x="2904" y="822"/>
                </a:lnTo>
                <a:lnTo>
                  <a:pt x="2940" y="846"/>
                </a:lnTo>
                <a:lnTo>
                  <a:pt x="2976" y="864"/>
                </a:lnTo>
                <a:lnTo>
                  <a:pt x="3006" y="876"/>
                </a:lnTo>
                <a:lnTo>
                  <a:pt x="3036" y="894"/>
                </a:lnTo>
                <a:lnTo>
                  <a:pt x="3066" y="924"/>
                </a:lnTo>
                <a:lnTo>
                  <a:pt x="3066" y="972"/>
                </a:lnTo>
                <a:lnTo>
                  <a:pt x="3090" y="996"/>
                </a:lnTo>
                <a:lnTo>
                  <a:pt x="3102" y="1002"/>
                </a:lnTo>
                <a:lnTo>
                  <a:pt x="3096" y="1002"/>
                </a:lnTo>
                <a:lnTo>
                  <a:pt x="3084" y="1008"/>
                </a:lnTo>
                <a:lnTo>
                  <a:pt x="3078" y="1014"/>
                </a:lnTo>
                <a:lnTo>
                  <a:pt x="3078" y="1020"/>
                </a:lnTo>
                <a:lnTo>
                  <a:pt x="3090" y="1032"/>
                </a:lnTo>
                <a:lnTo>
                  <a:pt x="3114" y="1032"/>
                </a:lnTo>
                <a:lnTo>
                  <a:pt x="3090" y="1044"/>
                </a:lnTo>
                <a:lnTo>
                  <a:pt x="3090" y="1056"/>
                </a:lnTo>
                <a:lnTo>
                  <a:pt x="3102" y="1062"/>
                </a:lnTo>
                <a:lnTo>
                  <a:pt x="3108" y="1092"/>
                </a:lnTo>
                <a:lnTo>
                  <a:pt x="3096" y="1122"/>
                </a:lnTo>
                <a:lnTo>
                  <a:pt x="3120" y="1122"/>
                </a:lnTo>
                <a:lnTo>
                  <a:pt x="3126" y="1116"/>
                </a:lnTo>
                <a:lnTo>
                  <a:pt x="3138" y="1116"/>
                </a:lnTo>
                <a:lnTo>
                  <a:pt x="3150" y="1110"/>
                </a:lnTo>
                <a:lnTo>
                  <a:pt x="3162" y="1110"/>
                </a:lnTo>
                <a:lnTo>
                  <a:pt x="3168" y="1104"/>
                </a:lnTo>
                <a:lnTo>
                  <a:pt x="3174" y="1104"/>
                </a:lnTo>
                <a:lnTo>
                  <a:pt x="3174" y="1134"/>
                </a:lnTo>
                <a:lnTo>
                  <a:pt x="3234" y="1194"/>
                </a:lnTo>
                <a:lnTo>
                  <a:pt x="3240" y="1194"/>
                </a:lnTo>
                <a:lnTo>
                  <a:pt x="3240" y="1146"/>
                </a:lnTo>
                <a:lnTo>
                  <a:pt x="3234" y="1122"/>
                </a:lnTo>
                <a:lnTo>
                  <a:pt x="3234" y="1116"/>
                </a:lnTo>
                <a:lnTo>
                  <a:pt x="3240" y="1110"/>
                </a:lnTo>
                <a:lnTo>
                  <a:pt x="3240" y="1098"/>
                </a:lnTo>
                <a:lnTo>
                  <a:pt x="3246" y="1086"/>
                </a:lnTo>
                <a:lnTo>
                  <a:pt x="3246" y="1062"/>
                </a:lnTo>
                <a:lnTo>
                  <a:pt x="3252" y="1050"/>
                </a:lnTo>
                <a:lnTo>
                  <a:pt x="3252" y="1020"/>
                </a:lnTo>
                <a:lnTo>
                  <a:pt x="3240" y="1020"/>
                </a:lnTo>
                <a:lnTo>
                  <a:pt x="3228" y="1014"/>
                </a:lnTo>
                <a:lnTo>
                  <a:pt x="3222" y="1008"/>
                </a:lnTo>
                <a:lnTo>
                  <a:pt x="3222" y="1002"/>
                </a:lnTo>
                <a:lnTo>
                  <a:pt x="3234" y="990"/>
                </a:lnTo>
                <a:lnTo>
                  <a:pt x="3246" y="984"/>
                </a:lnTo>
                <a:lnTo>
                  <a:pt x="3252" y="978"/>
                </a:lnTo>
                <a:lnTo>
                  <a:pt x="3252" y="864"/>
                </a:lnTo>
                <a:lnTo>
                  <a:pt x="3258" y="846"/>
                </a:lnTo>
                <a:lnTo>
                  <a:pt x="3258" y="708"/>
                </a:lnTo>
                <a:lnTo>
                  <a:pt x="3264" y="678"/>
                </a:lnTo>
                <a:close/>
                <a:moveTo>
                  <a:pt x="336" y="666"/>
                </a:moveTo>
                <a:lnTo>
                  <a:pt x="330" y="672"/>
                </a:lnTo>
                <a:lnTo>
                  <a:pt x="354" y="696"/>
                </a:lnTo>
                <a:lnTo>
                  <a:pt x="360" y="708"/>
                </a:lnTo>
                <a:lnTo>
                  <a:pt x="366" y="714"/>
                </a:lnTo>
                <a:lnTo>
                  <a:pt x="378" y="714"/>
                </a:lnTo>
                <a:lnTo>
                  <a:pt x="378" y="696"/>
                </a:lnTo>
                <a:lnTo>
                  <a:pt x="366" y="690"/>
                </a:lnTo>
                <a:lnTo>
                  <a:pt x="360" y="678"/>
                </a:lnTo>
                <a:lnTo>
                  <a:pt x="348" y="672"/>
                </a:lnTo>
                <a:lnTo>
                  <a:pt x="342" y="666"/>
                </a:lnTo>
                <a:lnTo>
                  <a:pt x="336" y="666"/>
                </a:lnTo>
                <a:close/>
                <a:moveTo>
                  <a:pt x="2526" y="1104"/>
                </a:moveTo>
                <a:lnTo>
                  <a:pt x="2544" y="1116"/>
                </a:lnTo>
                <a:lnTo>
                  <a:pt x="2574" y="1092"/>
                </a:lnTo>
                <a:lnTo>
                  <a:pt x="2592" y="1092"/>
                </a:lnTo>
                <a:lnTo>
                  <a:pt x="2604" y="1080"/>
                </a:lnTo>
                <a:lnTo>
                  <a:pt x="2604" y="1062"/>
                </a:lnTo>
                <a:lnTo>
                  <a:pt x="2592" y="1056"/>
                </a:lnTo>
                <a:lnTo>
                  <a:pt x="2586" y="1056"/>
                </a:lnTo>
                <a:lnTo>
                  <a:pt x="2574" y="1062"/>
                </a:lnTo>
                <a:lnTo>
                  <a:pt x="2556" y="1068"/>
                </a:lnTo>
                <a:lnTo>
                  <a:pt x="2526" y="1098"/>
                </a:lnTo>
                <a:lnTo>
                  <a:pt x="2526" y="1104"/>
                </a:lnTo>
                <a:close/>
                <a:moveTo>
                  <a:pt x="3096" y="1068"/>
                </a:moveTo>
                <a:lnTo>
                  <a:pt x="3090" y="1068"/>
                </a:lnTo>
                <a:lnTo>
                  <a:pt x="3090" y="1062"/>
                </a:lnTo>
                <a:lnTo>
                  <a:pt x="3084" y="1062"/>
                </a:lnTo>
                <a:lnTo>
                  <a:pt x="3078" y="1056"/>
                </a:lnTo>
                <a:lnTo>
                  <a:pt x="3066" y="1056"/>
                </a:lnTo>
                <a:lnTo>
                  <a:pt x="3048" y="1062"/>
                </a:lnTo>
                <a:lnTo>
                  <a:pt x="3024" y="1086"/>
                </a:lnTo>
                <a:lnTo>
                  <a:pt x="3012" y="1122"/>
                </a:lnTo>
                <a:lnTo>
                  <a:pt x="3012" y="1134"/>
                </a:lnTo>
                <a:lnTo>
                  <a:pt x="3072" y="1128"/>
                </a:lnTo>
                <a:lnTo>
                  <a:pt x="3084" y="1128"/>
                </a:lnTo>
                <a:lnTo>
                  <a:pt x="3090" y="1122"/>
                </a:lnTo>
                <a:lnTo>
                  <a:pt x="3102" y="1092"/>
                </a:lnTo>
                <a:lnTo>
                  <a:pt x="3096" y="1068"/>
                </a:lnTo>
                <a:close/>
                <a:moveTo>
                  <a:pt x="2778" y="942"/>
                </a:moveTo>
                <a:lnTo>
                  <a:pt x="2766" y="960"/>
                </a:lnTo>
                <a:lnTo>
                  <a:pt x="2766" y="1014"/>
                </a:lnTo>
                <a:lnTo>
                  <a:pt x="2784" y="1014"/>
                </a:lnTo>
                <a:lnTo>
                  <a:pt x="2778" y="996"/>
                </a:lnTo>
                <a:lnTo>
                  <a:pt x="2790" y="990"/>
                </a:lnTo>
                <a:lnTo>
                  <a:pt x="2790" y="972"/>
                </a:lnTo>
                <a:lnTo>
                  <a:pt x="2778" y="972"/>
                </a:lnTo>
                <a:lnTo>
                  <a:pt x="2796" y="936"/>
                </a:lnTo>
                <a:lnTo>
                  <a:pt x="2814" y="906"/>
                </a:lnTo>
                <a:lnTo>
                  <a:pt x="2784" y="912"/>
                </a:lnTo>
                <a:lnTo>
                  <a:pt x="2778" y="942"/>
                </a:lnTo>
                <a:close/>
                <a:moveTo>
                  <a:pt x="2136" y="600"/>
                </a:moveTo>
                <a:lnTo>
                  <a:pt x="2124" y="594"/>
                </a:lnTo>
                <a:lnTo>
                  <a:pt x="2118" y="594"/>
                </a:lnTo>
                <a:lnTo>
                  <a:pt x="2106" y="588"/>
                </a:lnTo>
                <a:lnTo>
                  <a:pt x="2088" y="588"/>
                </a:lnTo>
                <a:lnTo>
                  <a:pt x="2082" y="594"/>
                </a:lnTo>
                <a:lnTo>
                  <a:pt x="2082" y="600"/>
                </a:lnTo>
                <a:lnTo>
                  <a:pt x="2076" y="606"/>
                </a:lnTo>
                <a:lnTo>
                  <a:pt x="2082" y="612"/>
                </a:lnTo>
                <a:lnTo>
                  <a:pt x="2094" y="618"/>
                </a:lnTo>
                <a:lnTo>
                  <a:pt x="2136" y="618"/>
                </a:lnTo>
                <a:lnTo>
                  <a:pt x="2214" y="606"/>
                </a:lnTo>
                <a:lnTo>
                  <a:pt x="2136" y="600"/>
                </a:lnTo>
                <a:close/>
                <a:moveTo>
                  <a:pt x="1308" y="1038"/>
                </a:moveTo>
                <a:lnTo>
                  <a:pt x="1368" y="1002"/>
                </a:lnTo>
                <a:lnTo>
                  <a:pt x="1362" y="990"/>
                </a:lnTo>
                <a:lnTo>
                  <a:pt x="1350" y="990"/>
                </a:lnTo>
                <a:lnTo>
                  <a:pt x="1332" y="996"/>
                </a:lnTo>
                <a:lnTo>
                  <a:pt x="1320" y="996"/>
                </a:lnTo>
                <a:lnTo>
                  <a:pt x="1302" y="1002"/>
                </a:lnTo>
                <a:lnTo>
                  <a:pt x="1290" y="1008"/>
                </a:lnTo>
                <a:lnTo>
                  <a:pt x="1284" y="1014"/>
                </a:lnTo>
                <a:lnTo>
                  <a:pt x="1284" y="1032"/>
                </a:lnTo>
                <a:lnTo>
                  <a:pt x="1290" y="1038"/>
                </a:lnTo>
                <a:lnTo>
                  <a:pt x="1308" y="1038"/>
                </a:lnTo>
                <a:close/>
                <a:moveTo>
                  <a:pt x="1428" y="1116"/>
                </a:moveTo>
                <a:lnTo>
                  <a:pt x="1392" y="1116"/>
                </a:lnTo>
                <a:lnTo>
                  <a:pt x="1386" y="1146"/>
                </a:lnTo>
                <a:lnTo>
                  <a:pt x="1386" y="1152"/>
                </a:lnTo>
                <a:lnTo>
                  <a:pt x="1404" y="1170"/>
                </a:lnTo>
                <a:lnTo>
                  <a:pt x="1416" y="1176"/>
                </a:lnTo>
                <a:lnTo>
                  <a:pt x="1428" y="1164"/>
                </a:lnTo>
                <a:lnTo>
                  <a:pt x="1440" y="1140"/>
                </a:lnTo>
                <a:lnTo>
                  <a:pt x="1440" y="1128"/>
                </a:lnTo>
                <a:lnTo>
                  <a:pt x="1428" y="1116"/>
                </a:lnTo>
                <a:close/>
                <a:moveTo>
                  <a:pt x="708" y="930"/>
                </a:moveTo>
                <a:lnTo>
                  <a:pt x="714" y="924"/>
                </a:lnTo>
                <a:lnTo>
                  <a:pt x="714" y="900"/>
                </a:lnTo>
                <a:lnTo>
                  <a:pt x="744" y="924"/>
                </a:lnTo>
                <a:lnTo>
                  <a:pt x="744" y="918"/>
                </a:lnTo>
                <a:lnTo>
                  <a:pt x="750" y="912"/>
                </a:lnTo>
                <a:lnTo>
                  <a:pt x="750" y="900"/>
                </a:lnTo>
                <a:lnTo>
                  <a:pt x="756" y="882"/>
                </a:lnTo>
                <a:lnTo>
                  <a:pt x="756" y="840"/>
                </a:lnTo>
                <a:lnTo>
                  <a:pt x="762" y="822"/>
                </a:lnTo>
                <a:lnTo>
                  <a:pt x="762" y="810"/>
                </a:lnTo>
                <a:lnTo>
                  <a:pt x="768" y="792"/>
                </a:lnTo>
                <a:lnTo>
                  <a:pt x="768" y="780"/>
                </a:lnTo>
                <a:lnTo>
                  <a:pt x="762" y="774"/>
                </a:lnTo>
                <a:lnTo>
                  <a:pt x="756" y="762"/>
                </a:lnTo>
                <a:lnTo>
                  <a:pt x="756" y="750"/>
                </a:lnTo>
                <a:lnTo>
                  <a:pt x="768" y="726"/>
                </a:lnTo>
                <a:lnTo>
                  <a:pt x="774" y="720"/>
                </a:lnTo>
                <a:lnTo>
                  <a:pt x="774" y="714"/>
                </a:lnTo>
                <a:lnTo>
                  <a:pt x="756" y="696"/>
                </a:lnTo>
                <a:lnTo>
                  <a:pt x="744" y="654"/>
                </a:lnTo>
                <a:lnTo>
                  <a:pt x="702" y="654"/>
                </a:lnTo>
                <a:lnTo>
                  <a:pt x="702" y="618"/>
                </a:lnTo>
                <a:lnTo>
                  <a:pt x="666" y="618"/>
                </a:lnTo>
                <a:lnTo>
                  <a:pt x="660" y="546"/>
                </a:lnTo>
                <a:lnTo>
                  <a:pt x="606" y="546"/>
                </a:lnTo>
                <a:lnTo>
                  <a:pt x="594" y="534"/>
                </a:lnTo>
                <a:lnTo>
                  <a:pt x="594" y="504"/>
                </a:lnTo>
                <a:lnTo>
                  <a:pt x="600" y="498"/>
                </a:lnTo>
                <a:lnTo>
                  <a:pt x="606" y="486"/>
                </a:lnTo>
                <a:lnTo>
                  <a:pt x="582" y="486"/>
                </a:lnTo>
                <a:lnTo>
                  <a:pt x="600" y="468"/>
                </a:lnTo>
                <a:lnTo>
                  <a:pt x="606" y="456"/>
                </a:lnTo>
                <a:lnTo>
                  <a:pt x="612" y="450"/>
                </a:lnTo>
                <a:lnTo>
                  <a:pt x="612" y="438"/>
                </a:lnTo>
                <a:lnTo>
                  <a:pt x="600" y="426"/>
                </a:lnTo>
                <a:lnTo>
                  <a:pt x="588" y="432"/>
                </a:lnTo>
                <a:lnTo>
                  <a:pt x="570" y="432"/>
                </a:lnTo>
                <a:lnTo>
                  <a:pt x="552" y="438"/>
                </a:lnTo>
                <a:lnTo>
                  <a:pt x="540" y="438"/>
                </a:lnTo>
                <a:lnTo>
                  <a:pt x="534" y="444"/>
                </a:lnTo>
                <a:lnTo>
                  <a:pt x="528" y="444"/>
                </a:lnTo>
                <a:lnTo>
                  <a:pt x="534" y="438"/>
                </a:lnTo>
                <a:lnTo>
                  <a:pt x="546" y="432"/>
                </a:lnTo>
                <a:lnTo>
                  <a:pt x="552" y="420"/>
                </a:lnTo>
                <a:lnTo>
                  <a:pt x="558" y="414"/>
                </a:lnTo>
                <a:lnTo>
                  <a:pt x="558" y="402"/>
                </a:lnTo>
                <a:lnTo>
                  <a:pt x="546" y="396"/>
                </a:lnTo>
                <a:lnTo>
                  <a:pt x="534" y="396"/>
                </a:lnTo>
                <a:lnTo>
                  <a:pt x="522" y="390"/>
                </a:lnTo>
                <a:lnTo>
                  <a:pt x="510" y="390"/>
                </a:lnTo>
                <a:lnTo>
                  <a:pt x="516" y="384"/>
                </a:lnTo>
                <a:lnTo>
                  <a:pt x="516" y="378"/>
                </a:lnTo>
                <a:lnTo>
                  <a:pt x="504" y="354"/>
                </a:lnTo>
                <a:lnTo>
                  <a:pt x="492" y="342"/>
                </a:lnTo>
                <a:lnTo>
                  <a:pt x="480" y="336"/>
                </a:lnTo>
                <a:lnTo>
                  <a:pt x="462" y="330"/>
                </a:lnTo>
                <a:lnTo>
                  <a:pt x="456" y="324"/>
                </a:lnTo>
                <a:lnTo>
                  <a:pt x="450" y="324"/>
                </a:lnTo>
                <a:lnTo>
                  <a:pt x="450" y="318"/>
                </a:lnTo>
                <a:lnTo>
                  <a:pt x="444" y="312"/>
                </a:lnTo>
                <a:lnTo>
                  <a:pt x="438" y="300"/>
                </a:lnTo>
                <a:lnTo>
                  <a:pt x="438" y="288"/>
                </a:lnTo>
                <a:lnTo>
                  <a:pt x="426" y="276"/>
                </a:lnTo>
                <a:lnTo>
                  <a:pt x="414" y="276"/>
                </a:lnTo>
                <a:lnTo>
                  <a:pt x="408" y="282"/>
                </a:lnTo>
                <a:lnTo>
                  <a:pt x="414" y="306"/>
                </a:lnTo>
                <a:lnTo>
                  <a:pt x="408" y="300"/>
                </a:lnTo>
                <a:lnTo>
                  <a:pt x="396" y="294"/>
                </a:lnTo>
                <a:lnTo>
                  <a:pt x="360" y="258"/>
                </a:lnTo>
                <a:lnTo>
                  <a:pt x="360" y="246"/>
                </a:lnTo>
                <a:lnTo>
                  <a:pt x="354" y="240"/>
                </a:lnTo>
                <a:lnTo>
                  <a:pt x="348" y="228"/>
                </a:lnTo>
                <a:lnTo>
                  <a:pt x="342" y="222"/>
                </a:lnTo>
                <a:lnTo>
                  <a:pt x="342" y="216"/>
                </a:lnTo>
                <a:lnTo>
                  <a:pt x="330" y="210"/>
                </a:lnTo>
                <a:lnTo>
                  <a:pt x="312" y="192"/>
                </a:lnTo>
                <a:lnTo>
                  <a:pt x="294" y="186"/>
                </a:lnTo>
                <a:lnTo>
                  <a:pt x="288" y="174"/>
                </a:lnTo>
                <a:lnTo>
                  <a:pt x="276" y="168"/>
                </a:lnTo>
                <a:lnTo>
                  <a:pt x="264" y="156"/>
                </a:lnTo>
                <a:lnTo>
                  <a:pt x="252" y="150"/>
                </a:lnTo>
                <a:lnTo>
                  <a:pt x="240" y="138"/>
                </a:lnTo>
                <a:lnTo>
                  <a:pt x="234" y="126"/>
                </a:lnTo>
                <a:lnTo>
                  <a:pt x="222" y="120"/>
                </a:lnTo>
                <a:lnTo>
                  <a:pt x="222" y="102"/>
                </a:lnTo>
                <a:lnTo>
                  <a:pt x="204" y="84"/>
                </a:lnTo>
                <a:lnTo>
                  <a:pt x="198" y="72"/>
                </a:lnTo>
                <a:lnTo>
                  <a:pt x="168" y="42"/>
                </a:lnTo>
                <a:lnTo>
                  <a:pt x="150" y="42"/>
                </a:lnTo>
                <a:lnTo>
                  <a:pt x="66" y="36"/>
                </a:lnTo>
                <a:lnTo>
                  <a:pt x="42" y="12"/>
                </a:lnTo>
                <a:lnTo>
                  <a:pt x="30" y="6"/>
                </a:lnTo>
                <a:lnTo>
                  <a:pt x="24" y="0"/>
                </a:lnTo>
                <a:lnTo>
                  <a:pt x="18" y="0"/>
                </a:lnTo>
                <a:lnTo>
                  <a:pt x="6" y="6"/>
                </a:lnTo>
                <a:lnTo>
                  <a:pt x="0" y="18"/>
                </a:lnTo>
                <a:lnTo>
                  <a:pt x="0" y="48"/>
                </a:lnTo>
                <a:lnTo>
                  <a:pt x="6" y="60"/>
                </a:lnTo>
                <a:lnTo>
                  <a:pt x="18" y="78"/>
                </a:lnTo>
                <a:lnTo>
                  <a:pt x="66" y="126"/>
                </a:lnTo>
                <a:lnTo>
                  <a:pt x="96" y="150"/>
                </a:lnTo>
                <a:lnTo>
                  <a:pt x="126" y="180"/>
                </a:lnTo>
                <a:lnTo>
                  <a:pt x="162" y="234"/>
                </a:lnTo>
                <a:lnTo>
                  <a:pt x="174" y="228"/>
                </a:lnTo>
                <a:lnTo>
                  <a:pt x="174" y="252"/>
                </a:lnTo>
                <a:lnTo>
                  <a:pt x="180" y="264"/>
                </a:lnTo>
                <a:lnTo>
                  <a:pt x="186" y="270"/>
                </a:lnTo>
                <a:lnTo>
                  <a:pt x="198" y="276"/>
                </a:lnTo>
                <a:lnTo>
                  <a:pt x="216" y="288"/>
                </a:lnTo>
                <a:lnTo>
                  <a:pt x="228" y="300"/>
                </a:lnTo>
                <a:lnTo>
                  <a:pt x="246" y="312"/>
                </a:lnTo>
                <a:lnTo>
                  <a:pt x="258" y="324"/>
                </a:lnTo>
                <a:lnTo>
                  <a:pt x="264" y="336"/>
                </a:lnTo>
                <a:lnTo>
                  <a:pt x="276" y="372"/>
                </a:lnTo>
                <a:lnTo>
                  <a:pt x="276" y="384"/>
                </a:lnTo>
                <a:lnTo>
                  <a:pt x="282" y="390"/>
                </a:lnTo>
                <a:lnTo>
                  <a:pt x="282" y="426"/>
                </a:lnTo>
                <a:lnTo>
                  <a:pt x="288" y="438"/>
                </a:lnTo>
                <a:lnTo>
                  <a:pt x="288" y="444"/>
                </a:lnTo>
                <a:lnTo>
                  <a:pt x="294" y="450"/>
                </a:lnTo>
                <a:lnTo>
                  <a:pt x="300" y="450"/>
                </a:lnTo>
                <a:lnTo>
                  <a:pt x="312" y="444"/>
                </a:lnTo>
                <a:lnTo>
                  <a:pt x="324" y="444"/>
                </a:lnTo>
                <a:lnTo>
                  <a:pt x="324" y="450"/>
                </a:lnTo>
                <a:lnTo>
                  <a:pt x="330" y="462"/>
                </a:lnTo>
                <a:lnTo>
                  <a:pt x="330" y="474"/>
                </a:lnTo>
                <a:lnTo>
                  <a:pt x="336" y="480"/>
                </a:lnTo>
                <a:lnTo>
                  <a:pt x="336" y="486"/>
                </a:lnTo>
                <a:lnTo>
                  <a:pt x="378" y="522"/>
                </a:lnTo>
                <a:lnTo>
                  <a:pt x="372" y="546"/>
                </a:lnTo>
                <a:lnTo>
                  <a:pt x="408" y="606"/>
                </a:lnTo>
                <a:lnTo>
                  <a:pt x="402" y="618"/>
                </a:lnTo>
                <a:lnTo>
                  <a:pt x="402" y="636"/>
                </a:lnTo>
                <a:lnTo>
                  <a:pt x="408" y="648"/>
                </a:lnTo>
                <a:lnTo>
                  <a:pt x="438" y="678"/>
                </a:lnTo>
                <a:lnTo>
                  <a:pt x="438" y="684"/>
                </a:lnTo>
                <a:lnTo>
                  <a:pt x="444" y="690"/>
                </a:lnTo>
                <a:lnTo>
                  <a:pt x="462" y="726"/>
                </a:lnTo>
                <a:lnTo>
                  <a:pt x="498" y="744"/>
                </a:lnTo>
                <a:lnTo>
                  <a:pt x="504" y="750"/>
                </a:lnTo>
                <a:lnTo>
                  <a:pt x="510" y="750"/>
                </a:lnTo>
                <a:lnTo>
                  <a:pt x="510" y="786"/>
                </a:lnTo>
                <a:lnTo>
                  <a:pt x="522" y="792"/>
                </a:lnTo>
                <a:lnTo>
                  <a:pt x="528" y="804"/>
                </a:lnTo>
                <a:lnTo>
                  <a:pt x="540" y="810"/>
                </a:lnTo>
                <a:lnTo>
                  <a:pt x="564" y="834"/>
                </a:lnTo>
                <a:lnTo>
                  <a:pt x="576" y="840"/>
                </a:lnTo>
                <a:lnTo>
                  <a:pt x="594" y="858"/>
                </a:lnTo>
                <a:lnTo>
                  <a:pt x="600" y="858"/>
                </a:lnTo>
                <a:lnTo>
                  <a:pt x="606" y="864"/>
                </a:lnTo>
                <a:lnTo>
                  <a:pt x="612" y="864"/>
                </a:lnTo>
                <a:lnTo>
                  <a:pt x="612" y="870"/>
                </a:lnTo>
                <a:lnTo>
                  <a:pt x="618" y="876"/>
                </a:lnTo>
                <a:lnTo>
                  <a:pt x="630" y="900"/>
                </a:lnTo>
                <a:lnTo>
                  <a:pt x="642" y="912"/>
                </a:lnTo>
                <a:lnTo>
                  <a:pt x="654" y="936"/>
                </a:lnTo>
                <a:lnTo>
                  <a:pt x="660" y="942"/>
                </a:lnTo>
                <a:lnTo>
                  <a:pt x="660" y="906"/>
                </a:lnTo>
                <a:lnTo>
                  <a:pt x="672" y="906"/>
                </a:lnTo>
                <a:lnTo>
                  <a:pt x="684" y="918"/>
                </a:lnTo>
                <a:lnTo>
                  <a:pt x="696" y="924"/>
                </a:lnTo>
                <a:lnTo>
                  <a:pt x="702" y="930"/>
                </a:lnTo>
                <a:lnTo>
                  <a:pt x="708" y="930"/>
                </a:lnTo>
                <a:close/>
                <a:moveTo>
                  <a:pt x="2118" y="1194"/>
                </a:moveTo>
                <a:lnTo>
                  <a:pt x="2106" y="1176"/>
                </a:lnTo>
                <a:lnTo>
                  <a:pt x="2088" y="1176"/>
                </a:lnTo>
                <a:lnTo>
                  <a:pt x="2064" y="1200"/>
                </a:lnTo>
                <a:lnTo>
                  <a:pt x="2064" y="1212"/>
                </a:lnTo>
                <a:lnTo>
                  <a:pt x="2052" y="1212"/>
                </a:lnTo>
                <a:lnTo>
                  <a:pt x="2040" y="1218"/>
                </a:lnTo>
                <a:lnTo>
                  <a:pt x="2010" y="1248"/>
                </a:lnTo>
                <a:lnTo>
                  <a:pt x="1998" y="1272"/>
                </a:lnTo>
                <a:lnTo>
                  <a:pt x="1992" y="1278"/>
                </a:lnTo>
                <a:lnTo>
                  <a:pt x="1992" y="1290"/>
                </a:lnTo>
                <a:lnTo>
                  <a:pt x="2004" y="1302"/>
                </a:lnTo>
                <a:lnTo>
                  <a:pt x="2022" y="1302"/>
                </a:lnTo>
                <a:lnTo>
                  <a:pt x="2052" y="1284"/>
                </a:lnTo>
                <a:lnTo>
                  <a:pt x="2082" y="1260"/>
                </a:lnTo>
                <a:lnTo>
                  <a:pt x="2106" y="1242"/>
                </a:lnTo>
                <a:lnTo>
                  <a:pt x="2100" y="1236"/>
                </a:lnTo>
                <a:lnTo>
                  <a:pt x="2100" y="1224"/>
                </a:lnTo>
                <a:lnTo>
                  <a:pt x="2112" y="1200"/>
                </a:lnTo>
                <a:lnTo>
                  <a:pt x="2118" y="1194"/>
                </a:lnTo>
                <a:close/>
                <a:moveTo>
                  <a:pt x="1374" y="1128"/>
                </a:moveTo>
                <a:lnTo>
                  <a:pt x="1374" y="1116"/>
                </a:lnTo>
                <a:lnTo>
                  <a:pt x="1368" y="1110"/>
                </a:lnTo>
                <a:lnTo>
                  <a:pt x="1344" y="1098"/>
                </a:lnTo>
                <a:lnTo>
                  <a:pt x="1332" y="1098"/>
                </a:lnTo>
                <a:lnTo>
                  <a:pt x="1320" y="1092"/>
                </a:lnTo>
                <a:lnTo>
                  <a:pt x="1314" y="1092"/>
                </a:lnTo>
                <a:lnTo>
                  <a:pt x="1302" y="1098"/>
                </a:lnTo>
                <a:lnTo>
                  <a:pt x="1296" y="1104"/>
                </a:lnTo>
                <a:lnTo>
                  <a:pt x="1296" y="1116"/>
                </a:lnTo>
                <a:lnTo>
                  <a:pt x="1290" y="1122"/>
                </a:lnTo>
                <a:lnTo>
                  <a:pt x="1290" y="1134"/>
                </a:lnTo>
                <a:lnTo>
                  <a:pt x="1254" y="1104"/>
                </a:lnTo>
                <a:lnTo>
                  <a:pt x="1260" y="1092"/>
                </a:lnTo>
                <a:lnTo>
                  <a:pt x="1260" y="1080"/>
                </a:lnTo>
                <a:lnTo>
                  <a:pt x="1266" y="1068"/>
                </a:lnTo>
                <a:lnTo>
                  <a:pt x="1266" y="1050"/>
                </a:lnTo>
                <a:lnTo>
                  <a:pt x="1260" y="1038"/>
                </a:lnTo>
                <a:lnTo>
                  <a:pt x="1254" y="1032"/>
                </a:lnTo>
                <a:lnTo>
                  <a:pt x="1242" y="1026"/>
                </a:lnTo>
                <a:lnTo>
                  <a:pt x="1188" y="1026"/>
                </a:lnTo>
                <a:lnTo>
                  <a:pt x="1158" y="1008"/>
                </a:lnTo>
                <a:lnTo>
                  <a:pt x="1158" y="984"/>
                </a:lnTo>
                <a:lnTo>
                  <a:pt x="1116" y="984"/>
                </a:lnTo>
                <a:lnTo>
                  <a:pt x="1116" y="996"/>
                </a:lnTo>
                <a:lnTo>
                  <a:pt x="1110" y="1008"/>
                </a:lnTo>
                <a:lnTo>
                  <a:pt x="1110" y="1026"/>
                </a:lnTo>
                <a:lnTo>
                  <a:pt x="1086" y="1026"/>
                </a:lnTo>
                <a:lnTo>
                  <a:pt x="1074" y="1020"/>
                </a:lnTo>
                <a:lnTo>
                  <a:pt x="1056" y="1014"/>
                </a:lnTo>
                <a:lnTo>
                  <a:pt x="1044" y="1014"/>
                </a:lnTo>
                <a:lnTo>
                  <a:pt x="1032" y="1008"/>
                </a:lnTo>
                <a:lnTo>
                  <a:pt x="966" y="1008"/>
                </a:lnTo>
                <a:lnTo>
                  <a:pt x="960" y="996"/>
                </a:lnTo>
                <a:lnTo>
                  <a:pt x="948" y="990"/>
                </a:lnTo>
                <a:lnTo>
                  <a:pt x="942" y="978"/>
                </a:lnTo>
                <a:lnTo>
                  <a:pt x="918" y="954"/>
                </a:lnTo>
                <a:lnTo>
                  <a:pt x="900" y="954"/>
                </a:lnTo>
                <a:lnTo>
                  <a:pt x="888" y="960"/>
                </a:lnTo>
                <a:lnTo>
                  <a:pt x="876" y="954"/>
                </a:lnTo>
                <a:lnTo>
                  <a:pt x="870" y="948"/>
                </a:lnTo>
                <a:lnTo>
                  <a:pt x="858" y="942"/>
                </a:lnTo>
                <a:lnTo>
                  <a:pt x="846" y="942"/>
                </a:lnTo>
                <a:lnTo>
                  <a:pt x="840" y="936"/>
                </a:lnTo>
                <a:lnTo>
                  <a:pt x="822" y="936"/>
                </a:lnTo>
                <a:lnTo>
                  <a:pt x="810" y="930"/>
                </a:lnTo>
                <a:lnTo>
                  <a:pt x="792" y="930"/>
                </a:lnTo>
                <a:lnTo>
                  <a:pt x="786" y="924"/>
                </a:lnTo>
                <a:lnTo>
                  <a:pt x="762" y="924"/>
                </a:lnTo>
                <a:lnTo>
                  <a:pt x="750" y="930"/>
                </a:lnTo>
                <a:lnTo>
                  <a:pt x="738" y="954"/>
                </a:lnTo>
                <a:lnTo>
                  <a:pt x="738" y="966"/>
                </a:lnTo>
                <a:lnTo>
                  <a:pt x="732" y="978"/>
                </a:lnTo>
                <a:lnTo>
                  <a:pt x="720" y="990"/>
                </a:lnTo>
                <a:lnTo>
                  <a:pt x="714" y="990"/>
                </a:lnTo>
                <a:lnTo>
                  <a:pt x="702" y="1002"/>
                </a:lnTo>
                <a:lnTo>
                  <a:pt x="702" y="1014"/>
                </a:lnTo>
                <a:lnTo>
                  <a:pt x="738" y="1008"/>
                </a:lnTo>
                <a:lnTo>
                  <a:pt x="786" y="1008"/>
                </a:lnTo>
                <a:lnTo>
                  <a:pt x="780" y="1014"/>
                </a:lnTo>
                <a:lnTo>
                  <a:pt x="768" y="1020"/>
                </a:lnTo>
                <a:lnTo>
                  <a:pt x="762" y="1032"/>
                </a:lnTo>
                <a:lnTo>
                  <a:pt x="762" y="1044"/>
                </a:lnTo>
                <a:lnTo>
                  <a:pt x="774" y="1050"/>
                </a:lnTo>
                <a:lnTo>
                  <a:pt x="780" y="1050"/>
                </a:lnTo>
                <a:lnTo>
                  <a:pt x="798" y="1044"/>
                </a:lnTo>
                <a:lnTo>
                  <a:pt x="810" y="1044"/>
                </a:lnTo>
                <a:lnTo>
                  <a:pt x="816" y="1038"/>
                </a:lnTo>
                <a:lnTo>
                  <a:pt x="828" y="1032"/>
                </a:lnTo>
                <a:lnTo>
                  <a:pt x="840" y="1038"/>
                </a:lnTo>
                <a:lnTo>
                  <a:pt x="870" y="1056"/>
                </a:lnTo>
                <a:lnTo>
                  <a:pt x="900" y="1068"/>
                </a:lnTo>
                <a:lnTo>
                  <a:pt x="924" y="1080"/>
                </a:lnTo>
                <a:lnTo>
                  <a:pt x="960" y="1086"/>
                </a:lnTo>
                <a:lnTo>
                  <a:pt x="1014" y="1092"/>
                </a:lnTo>
                <a:lnTo>
                  <a:pt x="1062" y="1092"/>
                </a:lnTo>
                <a:lnTo>
                  <a:pt x="1080" y="1110"/>
                </a:lnTo>
                <a:lnTo>
                  <a:pt x="1086" y="1122"/>
                </a:lnTo>
                <a:lnTo>
                  <a:pt x="1098" y="1128"/>
                </a:lnTo>
                <a:lnTo>
                  <a:pt x="1110" y="1140"/>
                </a:lnTo>
                <a:lnTo>
                  <a:pt x="1128" y="1146"/>
                </a:lnTo>
                <a:lnTo>
                  <a:pt x="1152" y="1152"/>
                </a:lnTo>
                <a:lnTo>
                  <a:pt x="1170" y="1152"/>
                </a:lnTo>
                <a:lnTo>
                  <a:pt x="1182" y="1158"/>
                </a:lnTo>
                <a:lnTo>
                  <a:pt x="1248" y="1158"/>
                </a:lnTo>
                <a:lnTo>
                  <a:pt x="1260" y="1164"/>
                </a:lnTo>
                <a:lnTo>
                  <a:pt x="1278" y="1170"/>
                </a:lnTo>
                <a:lnTo>
                  <a:pt x="1290" y="1182"/>
                </a:lnTo>
                <a:lnTo>
                  <a:pt x="1302" y="1188"/>
                </a:lnTo>
                <a:lnTo>
                  <a:pt x="1320" y="1206"/>
                </a:lnTo>
                <a:lnTo>
                  <a:pt x="1338" y="1206"/>
                </a:lnTo>
                <a:lnTo>
                  <a:pt x="1350" y="1200"/>
                </a:lnTo>
                <a:lnTo>
                  <a:pt x="1356" y="1206"/>
                </a:lnTo>
                <a:lnTo>
                  <a:pt x="1374" y="1206"/>
                </a:lnTo>
                <a:lnTo>
                  <a:pt x="1374" y="1194"/>
                </a:lnTo>
                <a:lnTo>
                  <a:pt x="1368" y="1182"/>
                </a:lnTo>
                <a:lnTo>
                  <a:pt x="1362" y="1176"/>
                </a:lnTo>
                <a:lnTo>
                  <a:pt x="1356" y="1164"/>
                </a:lnTo>
                <a:lnTo>
                  <a:pt x="1374" y="1146"/>
                </a:lnTo>
                <a:lnTo>
                  <a:pt x="1374" y="1128"/>
                </a:lnTo>
                <a:close/>
                <a:moveTo>
                  <a:pt x="1500" y="726"/>
                </a:moveTo>
                <a:lnTo>
                  <a:pt x="1542" y="684"/>
                </a:lnTo>
                <a:lnTo>
                  <a:pt x="1548" y="672"/>
                </a:lnTo>
                <a:lnTo>
                  <a:pt x="1554" y="654"/>
                </a:lnTo>
                <a:lnTo>
                  <a:pt x="1560" y="642"/>
                </a:lnTo>
                <a:lnTo>
                  <a:pt x="1566" y="624"/>
                </a:lnTo>
                <a:lnTo>
                  <a:pt x="1566" y="612"/>
                </a:lnTo>
                <a:lnTo>
                  <a:pt x="1572" y="606"/>
                </a:lnTo>
                <a:lnTo>
                  <a:pt x="1572" y="600"/>
                </a:lnTo>
                <a:lnTo>
                  <a:pt x="1566" y="600"/>
                </a:lnTo>
                <a:lnTo>
                  <a:pt x="1554" y="594"/>
                </a:lnTo>
                <a:lnTo>
                  <a:pt x="1542" y="582"/>
                </a:lnTo>
                <a:lnTo>
                  <a:pt x="1542" y="564"/>
                </a:lnTo>
                <a:lnTo>
                  <a:pt x="1554" y="516"/>
                </a:lnTo>
                <a:lnTo>
                  <a:pt x="1590" y="498"/>
                </a:lnTo>
                <a:lnTo>
                  <a:pt x="1626" y="498"/>
                </a:lnTo>
                <a:lnTo>
                  <a:pt x="1632" y="486"/>
                </a:lnTo>
                <a:lnTo>
                  <a:pt x="1638" y="480"/>
                </a:lnTo>
                <a:lnTo>
                  <a:pt x="1644" y="468"/>
                </a:lnTo>
                <a:lnTo>
                  <a:pt x="1644" y="444"/>
                </a:lnTo>
                <a:lnTo>
                  <a:pt x="1626" y="444"/>
                </a:lnTo>
                <a:lnTo>
                  <a:pt x="1620" y="450"/>
                </a:lnTo>
                <a:lnTo>
                  <a:pt x="1608" y="450"/>
                </a:lnTo>
                <a:lnTo>
                  <a:pt x="1608" y="438"/>
                </a:lnTo>
                <a:lnTo>
                  <a:pt x="1614" y="420"/>
                </a:lnTo>
                <a:lnTo>
                  <a:pt x="1626" y="408"/>
                </a:lnTo>
                <a:lnTo>
                  <a:pt x="1650" y="396"/>
                </a:lnTo>
                <a:lnTo>
                  <a:pt x="1662" y="396"/>
                </a:lnTo>
                <a:lnTo>
                  <a:pt x="1680" y="402"/>
                </a:lnTo>
                <a:lnTo>
                  <a:pt x="1704" y="402"/>
                </a:lnTo>
                <a:lnTo>
                  <a:pt x="1716" y="390"/>
                </a:lnTo>
                <a:lnTo>
                  <a:pt x="1716" y="384"/>
                </a:lnTo>
                <a:lnTo>
                  <a:pt x="1680" y="348"/>
                </a:lnTo>
                <a:lnTo>
                  <a:pt x="1680" y="312"/>
                </a:lnTo>
                <a:lnTo>
                  <a:pt x="1668" y="312"/>
                </a:lnTo>
                <a:lnTo>
                  <a:pt x="1650" y="294"/>
                </a:lnTo>
                <a:lnTo>
                  <a:pt x="1650" y="282"/>
                </a:lnTo>
                <a:lnTo>
                  <a:pt x="1662" y="270"/>
                </a:lnTo>
                <a:lnTo>
                  <a:pt x="1668" y="258"/>
                </a:lnTo>
                <a:lnTo>
                  <a:pt x="1668" y="246"/>
                </a:lnTo>
                <a:lnTo>
                  <a:pt x="1662" y="240"/>
                </a:lnTo>
                <a:lnTo>
                  <a:pt x="1638" y="228"/>
                </a:lnTo>
                <a:lnTo>
                  <a:pt x="1614" y="228"/>
                </a:lnTo>
                <a:lnTo>
                  <a:pt x="1632" y="198"/>
                </a:lnTo>
                <a:lnTo>
                  <a:pt x="1614" y="192"/>
                </a:lnTo>
                <a:lnTo>
                  <a:pt x="1620" y="162"/>
                </a:lnTo>
                <a:lnTo>
                  <a:pt x="1608" y="144"/>
                </a:lnTo>
                <a:lnTo>
                  <a:pt x="1602" y="138"/>
                </a:lnTo>
                <a:lnTo>
                  <a:pt x="1590" y="132"/>
                </a:lnTo>
                <a:lnTo>
                  <a:pt x="1566" y="108"/>
                </a:lnTo>
                <a:lnTo>
                  <a:pt x="1470" y="108"/>
                </a:lnTo>
                <a:lnTo>
                  <a:pt x="1464" y="114"/>
                </a:lnTo>
                <a:lnTo>
                  <a:pt x="1458" y="126"/>
                </a:lnTo>
                <a:lnTo>
                  <a:pt x="1458" y="180"/>
                </a:lnTo>
                <a:lnTo>
                  <a:pt x="1452" y="198"/>
                </a:lnTo>
                <a:lnTo>
                  <a:pt x="1452" y="204"/>
                </a:lnTo>
                <a:lnTo>
                  <a:pt x="1446" y="216"/>
                </a:lnTo>
                <a:lnTo>
                  <a:pt x="1428" y="216"/>
                </a:lnTo>
                <a:lnTo>
                  <a:pt x="1422" y="222"/>
                </a:lnTo>
                <a:lnTo>
                  <a:pt x="1422" y="246"/>
                </a:lnTo>
                <a:lnTo>
                  <a:pt x="1428" y="252"/>
                </a:lnTo>
                <a:lnTo>
                  <a:pt x="1434" y="264"/>
                </a:lnTo>
                <a:lnTo>
                  <a:pt x="1398" y="294"/>
                </a:lnTo>
                <a:lnTo>
                  <a:pt x="1404" y="306"/>
                </a:lnTo>
                <a:lnTo>
                  <a:pt x="1374" y="342"/>
                </a:lnTo>
                <a:lnTo>
                  <a:pt x="1350" y="342"/>
                </a:lnTo>
                <a:lnTo>
                  <a:pt x="1344" y="348"/>
                </a:lnTo>
                <a:lnTo>
                  <a:pt x="1332" y="354"/>
                </a:lnTo>
                <a:lnTo>
                  <a:pt x="1320" y="366"/>
                </a:lnTo>
                <a:lnTo>
                  <a:pt x="1314" y="366"/>
                </a:lnTo>
                <a:lnTo>
                  <a:pt x="1308" y="360"/>
                </a:lnTo>
                <a:lnTo>
                  <a:pt x="1284" y="348"/>
                </a:lnTo>
                <a:lnTo>
                  <a:pt x="1272" y="336"/>
                </a:lnTo>
                <a:lnTo>
                  <a:pt x="1230" y="336"/>
                </a:lnTo>
                <a:lnTo>
                  <a:pt x="1224" y="348"/>
                </a:lnTo>
                <a:lnTo>
                  <a:pt x="1194" y="378"/>
                </a:lnTo>
                <a:lnTo>
                  <a:pt x="1170" y="378"/>
                </a:lnTo>
                <a:lnTo>
                  <a:pt x="1152" y="372"/>
                </a:lnTo>
                <a:lnTo>
                  <a:pt x="1128" y="372"/>
                </a:lnTo>
                <a:lnTo>
                  <a:pt x="1110" y="390"/>
                </a:lnTo>
                <a:lnTo>
                  <a:pt x="1104" y="390"/>
                </a:lnTo>
                <a:lnTo>
                  <a:pt x="1080" y="378"/>
                </a:lnTo>
                <a:lnTo>
                  <a:pt x="1074" y="372"/>
                </a:lnTo>
                <a:lnTo>
                  <a:pt x="1062" y="366"/>
                </a:lnTo>
                <a:lnTo>
                  <a:pt x="1050" y="354"/>
                </a:lnTo>
                <a:lnTo>
                  <a:pt x="1050" y="342"/>
                </a:lnTo>
                <a:lnTo>
                  <a:pt x="1044" y="336"/>
                </a:lnTo>
                <a:lnTo>
                  <a:pt x="1032" y="330"/>
                </a:lnTo>
                <a:lnTo>
                  <a:pt x="1008" y="330"/>
                </a:lnTo>
                <a:lnTo>
                  <a:pt x="996" y="336"/>
                </a:lnTo>
                <a:lnTo>
                  <a:pt x="990" y="348"/>
                </a:lnTo>
                <a:lnTo>
                  <a:pt x="978" y="366"/>
                </a:lnTo>
                <a:lnTo>
                  <a:pt x="972" y="384"/>
                </a:lnTo>
                <a:lnTo>
                  <a:pt x="972" y="402"/>
                </a:lnTo>
                <a:lnTo>
                  <a:pt x="966" y="408"/>
                </a:lnTo>
                <a:lnTo>
                  <a:pt x="966" y="414"/>
                </a:lnTo>
                <a:lnTo>
                  <a:pt x="990" y="444"/>
                </a:lnTo>
                <a:lnTo>
                  <a:pt x="1002" y="498"/>
                </a:lnTo>
                <a:lnTo>
                  <a:pt x="1050" y="528"/>
                </a:lnTo>
                <a:lnTo>
                  <a:pt x="1038" y="564"/>
                </a:lnTo>
                <a:lnTo>
                  <a:pt x="1068" y="582"/>
                </a:lnTo>
                <a:lnTo>
                  <a:pt x="1050" y="606"/>
                </a:lnTo>
                <a:lnTo>
                  <a:pt x="1068" y="636"/>
                </a:lnTo>
                <a:lnTo>
                  <a:pt x="1056" y="648"/>
                </a:lnTo>
                <a:lnTo>
                  <a:pt x="1068" y="702"/>
                </a:lnTo>
                <a:lnTo>
                  <a:pt x="1110" y="696"/>
                </a:lnTo>
                <a:lnTo>
                  <a:pt x="1140" y="708"/>
                </a:lnTo>
                <a:lnTo>
                  <a:pt x="1146" y="696"/>
                </a:lnTo>
                <a:lnTo>
                  <a:pt x="1170" y="672"/>
                </a:lnTo>
                <a:lnTo>
                  <a:pt x="1182" y="672"/>
                </a:lnTo>
                <a:lnTo>
                  <a:pt x="1182" y="690"/>
                </a:lnTo>
                <a:lnTo>
                  <a:pt x="1188" y="702"/>
                </a:lnTo>
                <a:lnTo>
                  <a:pt x="1188" y="726"/>
                </a:lnTo>
                <a:lnTo>
                  <a:pt x="1194" y="738"/>
                </a:lnTo>
                <a:lnTo>
                  <a:pt x="1212" y="738"/>
                </a:lnTo>
                <a:lnTo>
                  <a:pt x="1218" y="726"/>
                </a:lnTo>
                <a:lnTo>
                  <a:pt x="1218" y="720"/>
                </a:lnTo>
                <a:lnTo>
                  <a:pt x="1224" y="714"/>
                </a:lnTo>
                <a:lnTo>
                  <a:pt x="1224" y="708"/>
                </a:lnTo>
                <a:lnTo>
                  <a:pt x="1254" y="726"/>
                </a:lnTo>
                <a:lnTo>
                  <a:pt x="1266" y="720"/>
                </a:lnTo>
                <a:lnTo>
                  <a:pt x="1272" y="708"/>
                </a:lnTo>
                <a:lnTo>
                  <a:pt x="1284" y="702"/>
                </a:lnTo>
                <a:lnTo>
                  <a:pt x="1296" y="702"/>
                </a:lnTo>
                <a:lnTo>
                  <a:pt x="1296" y="714"/>
                </a:lnTo>
                <a:lnTo>
                  <a:pt x="1302" y="720"/>
                </a:lnTo>
                <a:lnTo>
                  <a:pt x="1302" y="738"/>
                </a:lnTo>
                <a:lnTo>
                  <a:pt x="1308" y="744"/>
                </a:lnTo>
                <a:lnTo>
                  <a:pt x="1332" y="744"/>
                </a:lnTo>
                <a:lnTo>
                  <a:pt x="1350" y="738"/>
                </a:lnTo>
                <a:lnTo>
                  <a:pt x="1362" y="732"/>
                </a:lnTo>
                <a:lnTo>
                  <a:pt x="1392" y="732"/>
                </a:lnTo>
                <a:lnTo>
                  <a:pt x="1404" y="744"/>
                </a:lnTo>
                <a:lnTo>
                  <a:pt x="1404" y="786"/>
                </a:lnTo>
                <a:lnTo>
                  <a:pt x="1398" y="798"/>
                </a:lnTo>
                <a:lnTo>
                  <a:pt x="1398" y="810"/>
                </a:lnTo>
                <a:lnTo>
                  <a:pt x="1404" y="810"/>
                </a:lnTo>
                <a:lnTo>
                  <a:pt x="1410" y="804"/>
                </a:lnTo>
                <a:lnTo>
                  <a:pt x="1422" y="798"/>
                </a:lnTo>
                <a:lnTo>
                  <a:pt x="1440" y="792"/>
                </a:lnTo>
                <a:lnTo>
                  <a:pt x="1452" y="786"/>
                </a:lnTo>
                <a:lnTo>
                  <a:pt x="1476" y="762"/>
                </a:lnTo>
                <a:lnTo>
                  <a:pt x="1482" y="750"/>
                </a:lnTo>
                <a:lnTo>
                  <a:pt x="1500" y="732"/>
                </a:lnTo>
                <a:lnTo>
                  <a:pt x="1500" y="726"/>
                </a:lnTo>
                <a:close/>
                <a:moveTo>
                  <a:pt x="1476" y="1116"/>
                </a:moveTo>
                <a:lnTo>
                  <a:pt x="1470" y="1116"/>
                </a:lnTo>
                <a:lnTo>
                  <a:pt x="1458" y="1122"/>
                </a:lnTo>
                <a:lnTo>
                  <a:pt x="1452" y="1128"/>
                </a:lnTo>
                <a:lnTo>
                  <a:pt x="1458" y="1134"/>
                </a:lnTo>
                <a:lnTo>
                  <a:pt x="1470" y="1140"/>
                </a:lnTo>
                <a:lnTo>
                  <a:pt x="1476" y="1140"/>
                </a:lnTo>
                <a:lnTo>
                  <a:pt x="1488" y="1146"/>
                </a:lnTo>
                <a:lnTo>
                  <a:pt x="1500" y="1134"/>
                </a:lnTo>
                <a:lnTo>
                  <a:pt x="1500" y="1128"/>
                </a:lnTo>
                <a:lnTo>
                  <a:pt x="1488" y="1116"/>
                </a:lnTo>
                <a:lnTo>
                  <a:pt x="1476" y="1116"/>
                </a:lnTo>
                <a:close/>
                <a:moveTo>
                  <a:pt x="1716" y="1230"/>
                </a:moveTo>
                <a:lnTo>
                  <a:pt x="1680" y="1218"/>
                </a:lnTo>
                <a:lnTo>
                  <a:pt x="1674" y="1224"/>
                </a:lnTo>
                <a:lnTo>
                  <a:pt x="1674" y="1230"/>
                </a:lnTo>
                <a:lnTo>
                  <a:pt x="1686" y="1254"/>
                </a:lnTo>
                <a:lnTo>
                  <a:pt x="1692" y="1260"/>
                </a:lnTo>
                <a:lnTo>
                  <a:pt x="1704" y="1266"/>
                </a:lnTo>
                <a:lnTo>
                  <a:pt x="1716" y="1266"/>
                </a:lnTo>
                <a:lnTo>
                  <a:pt x="1722" y="1260"/>
                </a:lnTo>
                <a:lnTo>
                  <a:pt x="1740" y="1260"/>
                </a:lnTo>
                <a:lnTo>
                  <a:pt x="1746" y="1266"/>
                </a:lnTo>
                <a:lnTo>
                  <a:pt x="1746" y="1278"/>
                </a:lnTo>
                <a:lnTo>
                  <a:pt x="1752" y="1290"/>
                </a:lnTo>
                <a:lnTo>
                  <a:pt x="1764" y="1296"/>
                </a:lnTo>
                <a:lnTo>
                  <a:pt x="1788" y="1296"/>
                </a:lnTo>
                <a:lnTo>
                  <a:pt x="1794" y="1290"/>
                </a:lnTo>
                <a:lnTo>
                  <a:pt x="1800" y="1290"/>
                </a:lnTo>
                <a:lnTo>
                  <a:pt x="1800" y="1284"/>
                </a:lnTo>
                <a:lnTo>
                  <a:pt x="1794" y="1272"/>
                </a:lnTo>
                <a:lnTo>
                  <a:pt x="1782" y="1260"/>
                </a:lnTo>
                <a:lnTo>
                  <a:pt x="1770" y="1236"/>
                </a:lnTo>
                <a:lnTo>
                  <a:pt x="1746" y="1224"/>
                </a:lnTo>
                <a:lnTo>
                  <a:pt x="1728" y="1224"/>
                </a:lnTo>
                <a:lnTo>
                  <a:pt x="1716" y="1230"/>
                </a:lnTo>
                <a:close/>
                <a:moveTo>
                  <a:pt x="1962" y="1122"/>
                </a:moveTo>
                <a:lnTo>
                  <a:pt x="1932" y="1146"/>
                </a:lnTo>
                <a:lnTo>
                  <a:pt x="1920" y="1134"/>
                </a:lnTo>
                <a:lnTo>
                  <a:pt x="1890" y="1134"/>
                </a:lnTo>
                <a:lnTo>
                  <a:pt x="1884" y="1140"/>
                </a:lnTo>
                <a:lnTo>
                  <a:pt x="1872" y="1146"/>
                </a:lnTo>
                <a:lnTo>
                  <a:pt x="1866" y="1152"/>
                </a:lnTo>
                <a:lnTo>
                  <a:pt x="1860" y="1140"/>
                </a:lnTo>
                <a:lnTo>
                  <a:pt x="1836" y="1116"/>
                </a:lnTo>
                <a:lnTo>
                  <a:pt x="1824" y="1116"/>
                </a:lnTo>
                <a:lnTo>
                  <a:pt x="1800" y="1128"/>
                </a:lnTo>
                <a:lnTo>
                  <a:pt x="1764" y="1164"/>
                </a:lnTo>
                <a:lnTo>
                  <a:pt x="1728" y="1158"/>
                </a:lnTo>
                <a:lnTo>
                  <a:pt x="1716" y="1176"/>
                </a:lnTo>
                <a:lnTo>
                  <a:pt x="1746" y="1176"/>
                </a:lnTo>
                <a:lnTo>
                  <a:pt x="1752" y="1182"/>
                </a:lnTo>
                <a:lnTo>
                  <a:pt x="1764" y="1182"/>
                </a:lnTo>
                <a:lnTo>
                  <a:pt x="1776" y="1188"/>
                </a:lnTo>
                <a:lnTo>
                  <a:pt x="1788" y="1188"/>
                </a:lnTo>
                <a:lnTo>
                  <a:pt x="1794" y="1182"/>
                </a:lnTo>
                <a:lnTo>
                  <a:pt x="1806" y="1176"/>
                </a:lnTo>
                <a:lnTo>
                  <a:pt x="1812" y="1170"/>
                </a:lnTo>
                <a:lnTo>
                  <a:pt x="1908" y="1164"/>
                </a:lnTo>
                <a:lnTo>
                  <a:pt x="1956" y="1158"/>
                </a:lnTo>
                <a:lnTo>
                  <a:pt x="1992" y="1128"/>
                </a:lnTo>
                <a:lnTo>
                  <a:pt x="1992" y="1110"/>
                </a:lnTo>
                <a:lnTo>
                  <a:pt x="1962" y="1122"/>
                </a:lnTo>
                <a:close/>
                <a:moveTo>
                  <a:pt x="1578" y="1158"/>
                </a:moveTo>
                <a:lnTo>
                  <a:pt x="1566" y="1152"/>
                </a:lnTo>
                <a:lnTo>
                  <a:pt x="1560" y="1146"/>
                </a:lnTo>
                <a:lnTo>
                  <a:pt x="1548" y="1140"/>
                </a:lnTo>
                <a:lnTo>
                  <a:pt x="1536" y="1140"/>
                </a:lnTo>
                <a:lnTo>
                  <a:pt x="1512" y="1164"/>
                </a:lnTo>
                <a:lnTo>
                  <a:pt x="1506" y="1176"/>
                </a:lnTo>
                <a:lnTo>
                  <a:pt x="1500" y="1182"/>
                </a:lnTo>
                <a:lnTo>
                  <a:pt x="1554" y="1188"/>
                </a:lnTo>
                <a:lnTo>
                  <a:pt x="1554" y="1212"/>
                </a:lnTo>
                <a:lnTo>
                  <a:pt x="1578" y="1206"/>
                </a:lnTo>
                <a:lnTo>
                  <a:pt x="1590" y="1188"/>
                </a:lnTo>
                <a:lnTo>
                  <a:pt x="1614" y="1206"/>
                </a:lnTo>
                <a:lnTo>
                  <a:pt x="1644" y="1170"/>
                </a:lnTo>
                <a:lnTo>
                  <a:pt x="1596" y="1152"/>
                </a:lnTo>
                <a:lnTo>
                  <a:pt x="1578" y="1158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spcBef>
                <a:spcPct val="0"/>
              </a:spcBef>
            </a:pPr>
            <a:endParaRPr lang="de-DE" sz="2133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35" name="TextBox 534">
            <a:extLst>
              <a:ext uri="{FF2B5EF4-FFF2-40B4-BE49-F238E27FC236}">
                <a16:creationId xmlns:a16="http://schemas.microsoft.com/office/drawing/2014/main" id="{5ACDB7B8-EA55-6B35-646E-C6A875D1D4F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49095" y="578651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ingapore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1A1864EB-0F15-DAE9-8B95-3DAB7A57C0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99127" y="5627044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uala Lumpur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7" name="TextBox 536">
            <a:extLst>
              <a:ext uri="{FF2B5EF4-FFF2-40B4-BE49-F238E27FC236}">
                <a16:creationId xmlns:a16="http://schemas.microsoft.com/office/drawing/2014/main" id="{32D5246E-C7B7-BAED-B2BF-5C7ADA8A511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27766" y="507683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o Chi Minh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D1DB137E-0D04-84DD-6135-FC4CC2081A2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343116" y="4876289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anil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FC7553E7-51EC-B683-18B5-79D369074D5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59421" y="4306582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ong Ko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753B5E07-24C4-5A7B-F345-91C3FAEC17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793174" y="445872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ipho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1" name="TextBox 540">
            <a:extLst>
              <a:ext uri="{FF2B5EF4-FFF2-40B4-BE49-F238E27FC236}">
                <a16:creationId xmlns:a16="http://schemas.microsoft.com/office/drawing/2014/main" id="{173EE4FC-F196-B29D-F8E5-DF1367EC5F1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799547" y="390701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ingb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2" name="Rectangle: Rounded Corners 541">
            <a:extLst>
              <a:ext uri="{FF2B5EF4-FFF2-40B4-BE49-F238E27FC236}">
                <a16:creationId xmlns:a16="http://schemas.microsoft.com/office/drawing/2014/main" id="{BFD16FF2-194A-F578-F9C4-3207B48A19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275287" y="2657140"/>
            <a:ext cx="149465" cy="14169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1</a:t>
            </a:r>
          </a:p>
        </p:txBody>
      </p:sp>
      <p:sp>
        <p:nvSpPr>
          <p:cNvPr id="543" name="Rectangle: Rounded Corners 542">
            <a:extLst>
              <a:ext uri="{FF2B5EF4-FFF2-40B4-BE49-F238E27FC236}">
                <a16:creationId xmlns:a16="http://schemas.microsoft.com/office/drawing/2014/main" id="{116C24AA-4A56-33F5-D21E-7AEB0FB50A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46832" y="3161618"/>
            <a:ext cx="149465" cy="141698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3</a:t>
            </a:r>
          </a:p>
        </p:txBody>
      </p:sp>
      <p:sp>
        <p:nvSpPr>
          <p:cNvPr id="544" name="TextBox 543">
            <a:extLst>
              <a:ext uri="{FF2B5EF4-FFF2-40B4-BE49-F238E27FC236}">
                <a16:creationId xmlns:a16="http://schemas.microsoft.com/office/drawing/2014/main" id="{FFC6F083-D3C4-A96E-C872-283B2EBA041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14660" y="3760530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hangh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5" name="TextBox 544">
            <a:extLst>
              <a:ext uri="{FF2B5EF4-FFF2-40B4-BE49-F238E27FC236}">
                <a16:creationId xmlns:a16="http://schemas.microsoft.com/office/drawing/2014/main" id="{C74AF513-4538-71E1-9D29-A4FF8B91F6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104598" y="341796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oky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6" name="TextBox 545">
            <a:extLst>
              <a:ext uri="{FF2B5EF4-FFF2-40B4-BE49-F238E27FC236}">
                <a16:creationId xmlns:a16="http://schemas.microsoft.com/office/drawing/2014/main" id="{2E7C2C46-7D5F-B968-E584-C8CCCCFF375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435997" y="2908956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Vladivosto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6D592D28-4E93-C983-BB18-2A87DA4CC9A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50324" y="3175181"/>
            <a:ext cx="383918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ianji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8" name="TextBox 547">
            <a:extLst>
              <a:ext uri="{FF2B5EF4-FFF2-40B4-BE49-F238E27FC236}">
                <a16:creationId xmlns:a16="http://schemas.microsoft.com/office/drawing/2014/main" id="{5F75D3D9-63E1-91DA-5F95-F99157FEBC4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86637" y="2976480"/>
            <a:ext cx="651030" cy="1558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eiji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24FDF27-6A8A-4B5C-DFA1-50FB31F3E59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28794" y="4338615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aohsiu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50" name="Freeform: Shape 549">
            <a:extLst>
              <a:ext uri="{FF2B5EF4-FFF2-40B4-BE49-F238E27FC236}">
                <a16:creationId xmlns:a16="http://schemas.microsoft.com/office/drawing/2014/main" id="{7C98F93D-F15F-3918-99BE-6470A4DCC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35805" y="4644390"/>
            <a:ext cx="1872815" cy="1152478"/>
          </a:xfrm>
          <a:custGeom>
            <a:avLst/>
            <a:gdLst>
              <a:gd name="connsiteX0" fmla="*/ 150695 w 1872815"/>
              <a:gd name="connsiteY0" fmla="*/ 0 h 1152478"/>
              <a:gd name="connsiteX1" fmla="*/ 5915 w 1872815"/>
              <a:gd name="connsiteY1" fmla="*/ 304800 h 1152478"/>
              <a:gd name="connsiteX2" fmla="*/ 93545 w 1872815"/>
              <a:gd name="connsiteY2" fmla="*/ 826770 h 1152478"/>
              <a:gd name="connsiteX3" fmla="*/ 661235 w 1872815"/>
              <a:gd name="connsiteY3" fmla="*/ 1150620 h 1152478"/>
              <a:gd name="connsiteX4" fmla="*/ 1388945 w 1872815"/>
              <a:gd name="connsiteY4" fmla="*/ 956310 h 1152478"/>
              <a:gd name="connsiteX5" fmla="*/ 1575635 w 1872815"/>
              <a:gd name="connsiteY5" fmla="*/ 891540 h 1152478"/>
              <a:gd name="connsiteX6" fmla="*/ 1872815 w 1872815"/>
              <a:gd name="connsiteY6" fmla="*/ 994410 h 1152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2815" h="1152478">
                <a:moveTo>
                  <a:pt x="150695" y="0"/>
                </a:moveTo>
                <a:cubicBezTo>
                  <a:pt x="83067" y="83502"/>
                  <a:pt x="15440" y="167005"/>
                  <a:pt x="5915" y="304800"/>
                </a:cubicBezTo>
                <a:cubicBezTo>
                  <a:pt x="-3610" y="442595"/>
                  <a:pt x="-15675" y="685800"/>
                  <a:pt x="93545" y="826770"/>
                </a:cubicBezTo>
                <a:cubicBezTo>
                  <a:pt x="202765" y="967740"/>
                  <a:pt x="445335" y="1129030"/>
                  <a:pt x="661235" y="1150620"/>
                </a:cubicBezTo>
                <a:cubicBezTo>
                  <a:pt x="877135" y="1172210"/>
                  <a:pt x="1236545" y="999490"/>
                  <a:pt x="1388945" y="956310"/>
                </a:cubicBezTo>
                <a:cubicBezTo>
                  <a:pt x="1541345" y="913130"/>
                  <a:pt x="1494990" y="885190"/>
                  <a:pt x="1575635" y="891540"/>
                </a:cubicBezTo>
                <a:cubicBezTo>
                  <a:pt x="1656280" y="897890"/>
                  <a:pt x="1764547" y="946150"/>
                  <a:pt x="1872815" y="99441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1" name="Rectangle 550">
            <a:extLst>
              <a:ext uri="{FF2B5EF4-FFF2-40B4-BE49-F238E27FC236}">
                <a16:creationId xmlns:a16="http://schemas.microsoft.com/office/drawing/2014/main" id="{93D018FC-F3B1-B1A4-E43C-A45CB22DAE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41868" y="502943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52" name="Freeform: Shape 551">
            <a:extLst>
              <a:ext uri="{FF2B5EF4-FFF2-40B4-BE49-F238E27FC236}">
                <a16:creationId xmlns:a16="http://schemas.microsoft.com/office/drawing/2014/main" id="{61F1B0C4-4ECB-1DBD-0014-281BE207C1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28996" y="2665880"/>
            <a:ext cx="3316366" cy="1119683"/>
          </a:xfrm>
          <a:custGeom>
            <a:avLst/>
            <a:gdLst>
              <a:gd name="connsiteX0" fmla="*/ 3316366 w 3316366"/>
              <a:gd name="connsiteY0" fmla="*/ 1119683 h 1119683"/>
              <a:gd name="connsiteX1" fmla="*/ 1460907 w 3316366"/>
              <a:gd name="connsiteY1" fmla="*/ 626493 h 1119683"/>
              <a:gd name="connsiteX2" fmla="*/ 658475 w 3316366"/>
              <a:gd name="connsiteY2" fmla="*/ 101313 h 1119683"/>
              <a:gd name="connsiteX3" fmla="*/ 55984 w 3316366"/>
              <a:gd name="connsiteY3" fmla="*/ 9 h 1119683"/>
              <a:gd name="connsiteX4" fmla="*/ 55984 w 3316366"/>
              <a:gd name="connsiteY4" fmla="*/ 9 h 1119683"/>
              <a:gd name="connsiteX5" fmla="*/ 0 w 3316366"/>
              <a:gd name="connsiteY5" fmla="*/ 9 h 111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6366" h="1119683">
                <a:moveTo>
                  <a:pt x="3316366" y="1119683"/>
                </a:moveTo>
                <a:cubicBezTo>
                  <a:pt x="2610127" y="957952"/>
                  <a:pt x="1903889" y="796221"/>
                  <a:pt x="1460907" y="626493"/>
                </a:cubicBezTo>
                <a:cubicBezTo>
                  <a:pt x="1017925" y="456765"/>
                  <a:pt x="892629" y="205727"/>
                  <a:pt x="658475" y="101313"/>
                </a:cubicBezTo>
                <a:cubicBezTo>
                  <a:pt x="424321" y="-3101"/>
                  <a:pt x="55984" y="9"/>
                  <a:pt x="55984" y="9"/>
                </a:cubicBezTo>
                <a:lnTo>
                  <a:pt x="55984" y="9"/>
                </a:lnTo>
                <a:lnTo>
                  <a:pt x="0" y="9"/>
                </a:ln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3" name="Freeform: Shape 552">
            <a:extLst>
              <a:ext uri="{FF2B5EF4-FFF2-40B4-BE49-F238E27FC236}">
                <a16:creationId xmlns:a16="http://schemas.microsoft.com/office/drawing/2014/main" id="{0A4F1E63-3DF6-B4D6-9D4C-4CB040F8BC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10335" y="2623235"/>
            <a:ext cx="3335027" cy="1162328"/>
          </a:xfrm>
          <a:custGeom>
            <a:avLst/>
            <a:gdLst>
              <a:gd name="connsiteX0" fmla="*/ 3335027 w 3335027"/>
              <a:gd name="connsiteY0" fmla="*/ 1162328 h 1162328"/>
              <a:gd name="connsiteX1" fmla="*/ 1762152 w 3335027"/>
              <a:gd name="connsiteY1" fmla="*/ 805099 h 1162328"/>
              <a:gd name="connsiteX2" fmla="*/ 735785 w 3335027"/>
              <a:gd name="connsiteY2" fmla="*/ 202608 h 1162328"/>
              <a:gd name="connsiteX3" fmla="*/ 533178 w 3335027"/>
              <a:gd name="connsiteY3" fmla="*/ 45320 h 1162328"/>
              <a:gd name="connsiteX4" fmla="*/ 0 w 3335027"/>
              <a:gd name="connsiteY4" fmla="*/ 0 h 116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027" h="1162328">
                <a:moveTo>
                  <a:pt x="3335027" y="1162328"/>
                </a:moveTo>
                <a:cubicBezTo>
                  <a:pt x="2765193" y="1063690"/>
                  <a:pt x="2195359" y="965052"/>
                  <a:pt x="1762152" y="805099"/>
                </a:cubicBezTo>
                <a:cubicBezTo>
                  <a:pt x="1328945" y="645146"/>
                  <a:pt x="940614" y="329238"/>
                  <a:pt x="735785" y="202608"/>
                </a:cubicBezTo>
                <a:cubicBezTo>
                  <a:pt x="530956" y="75978"/>
                  <a:pt x="655809" y="79088"/>
                  <a:pt x="533178" y="45320"/>
                </a:cubicBezTo>
                <a:cubicBezTo>
                  <a:pt x="410547" y="11552"/>
                  <a:pt x="205273" y="5776"/>
                  <a:pt x="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4" name="Rectangle 553">
            <a:extLst>
              <a:ext uri="{FF2B5EF4-FFF2-40B4-BE49-F238E27FC236}">
                <a16:creationId xmlns:a16="http://schemas.microsoft.com/office/drawing/2014/main" id="{A71FEFC2-2B16-1AF1-9BBA-1BB540EC13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4951" y="279635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55" name="Freeform: Shape 554">
            <a:extLst>
              <a:ext uri="{FF2B5EF4-FFF2-40B4-BE49-F238E27FC236}">
                <a16:creationId xmlns:a16="http://schemas.microsoft.com/office/drawing/2014/main" id="{1FFDAE66-EB60-09A8-ADF5-1741A84544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80835" y="2927020"/>
            <a:ext cx="410547" cy="64108"/>
          </a:xfrm>
          <a:custGeom>
            <a:avLst/>
            <a:gdLst>
              <a:gd name="connsiteX0" fmla="*/ 410547 w 410547"/>
              <a:gd name="connsiteY0" fmla="*/ 64108 h 64108"/>
              <a:gd name="connsiteX1" fmla="*/ 223935 w 410547"/>
              <a:gd name="connsiteY1" fmla="*/ 2792 h 64108"/>
              <a:gd name="connsiteX2" fmla="*/ 0 w 410547"/>
              <a:gd name="connsiteY2" fmla="*/ 16122 h 64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547" h="64108">
                <a:moveTo>
                  <a:pt x="410547" y="64108"/>
                </a:moveTo>
                <a:cubicBezTo>
                  <a:pt x="351453" y="37449"/>
                  <a:pt x="292359" y="10790"/>
                  <a:pt x="223935" y="2792"/>
                </a:cubicBezTo>
                <a:cubicBezTo>
                  <a:pt x="155510" y="-5206"/>
                  <a:pt x="77755" y="5458"/>
                  <a:pt x="0" y="16122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4E176691-8FB3-A6FB-F3C7-67DA8D05E1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372706" y="290348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57" name="Isosceles Triangle 556">
            <a:extLst>
              <a:ext uri="{FF2B5EF4-FFF2-40B4-BE49-F238E27FC236}">
                <a16:creationId xmlns:a16="http://schemas.microsoft.com/office/drawing/2014/main" id="{A49D8378-A806-DA5E-9B21-916B707C18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7783976">
            <a:off x="6000648" y="1922354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58" name="Isosceles Triangle 557">
            <a:extLst>
              <a:ext uri="{FF2B5EF4-FFF2-40B4-BE49-F238E27FC236}">
                <a16:creationId xmlns:a16="http://schemas.microsoft.com/office/drawing/2014/main" id="{EF2C3B48-563B-D6DB-A95C-4DA83344E01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6200000">
            <a:off x="5083425" y="2135219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59" name="Egypt" descr="© INSCALE GmbH, 05.05.2010&#10;http://www.presentationload.com/">
            <a:extLst>
              <a:ext uri="{FF2B5EF4-FFF2-40B4-BE49-F238E27FC236}">
                <a16:creationId xmlns:a16="http://schemas.microsoft.com/office/drawing/2014/main" id="{C7B7B8A5-1C3E-992A-D4F6-403F4BFE07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290512" y="3801312"/>
            <a:ext cx="704505" cy="674441"/>
          </a:xfrm>
          <a:custGeom>
            <a:avLst/>
            <a:gdLst>
              <a:gd name="T0" fmla="*/ 2147483647 w 792"/>
              <a:gd name="T1" fmla="*/ 2147483647 h 804"/>
              <a:gd name="T2" fmla="*/ 2147483647 w 792"/>
              <a:gd name="T3" fmla="*/ 2147483647 h 804"/>
              <a:gd name="T4" fmla="*/ 2147483647 w 792"/>
              <a:gd name="T5" fmla="*/ 2147483647 h 804"/>
              <a:gd name="T6" fmla="*/ 2147483647 w 792"/>
              <a:gd name="T7" fmla="*/ 2147483647 h 804"/>
              <a:gd name="T8" fmla="*/ 2147483647 w 792"/>
              <a:gd name="T9" fmla="*/ 2147483647 h 804"/>
              <a:gd name="T10" fmla="*/ 2147483647 w 792"/>
              <a:gd name="T11" fmla="*/ 2147483647 h 804"/>
              <a:gd name="T12" fmla="*/ 2147483647 w 792"/>
              <a:gd name="T13" fmla="*/ 2147483647 h 804"/>
              <a:gd name="T14" fmla="*/ 2147483647 w 792"/>
              <a:gd name="T15" fmla="*/ 2147483647 h 804"/>
              <a:gd name="T16" fmla="*/ 2147483647 w 792"/>
              <a:gd name="T17" fmla="*/ 2147483647 h 804"/>
              <a:gd name="T18" fmla="*/ 2147483647 w 792"/>
              <a:gd name="T19" fmla="*/ 2147483647 h 804"/>
              <a:gd name="T20" fmla="*/ 2147483647 w 792"/>
              <a:gd name="T21" fmla="*/ 2147483647 h 804"/>
              <a:gd name="T22" fmla="*/ 2147483647 w 792"/>
              <a:gd name="T23" fmla="*/ 2147483647 h 804"/>
              <a:gd name="T24" fmla="*/ 2147483647 w 792"/>
              <a:gd name="T25" fmla="*/ 2147483647 h 804"/>
              <a:gd name="T26" fmla="*/ 2147483647 w 792"/>
              <a:gd name="T27" fmla="*/ 2147483647 h 804"/>
              <a:gd name="T28" fmla="*/ 2147483647 w 792"/>
              <a:gd name="T29" fmla="*/ 2147483647 h 804"/>
              <a:gd name="T30" fmla="*/ 2147483647 w 792"/>
              <a:gd name="T31" fmla="*/ 2147483647 h 804"/>
              <a:gd name="T32" fmla="*/ 2147483647 w 792"/>
              <a:gd name="T33" fmla="*/ 2147483647 h 804"/>
              <a:gd name="T34" fmla="*/ 2147483647 w 792"/>
              <a:gd name="T35" fmla="*/ 2147483647 h 804"/>
              <a:gd name="T36" fmla="*/ 2147483647 w 792"/>
              <a:gd name="T37" fmla="*/ 2147483647 h 804"/>
              <a:gd name="T38" fmla="*/ 2147483647 w 792"/>
              <a:gd name="T39" fmla="*/ 2147483647 h 804"/>
              <a:gd name="T40" fmla="*/ 2147483647 w 792"/>
              <a:gd name="T41" fmla="*/ 2147483647 h 804"/>
              <a:gd name="T42" fmla="*/ 2147483647 w 792"/>
              <a:gd name="T43" fmla="*/ 2147483647 h 804"/>
              <a:gd name="T44" fmla="*/ 2147483647 w 792"/>
              <a:gd name="T45" fmla="*/ 2147483647 h 804"/>
              <a:gd name="T46" fmla="*/ 2147483647 w 792"/>
              <a:gd name="T47" fmla="*/ 2147483647 h 804"/>
              <a:gd name="T48" fmla="*/ 2147483647 w 792"/>
              <a:gd name="T49" fmla="*/ 2147483647 h 804"/>
              <a:gd name="T50" fmla="*/ 2147483647 w 792"/>
              <a:gd name="T51" fmla="*/ 2147483647 h 804"/>
              <a:gd name="T52" fmla="*/ 2147483647 w 792"/>
              <a:gd name="T53" fmla="*/ 2147483647 h 804"/>
              <a:gd name="T54" fmla="*/ 2147483647 w 792"/>
              <a:gd name="T55" fmla="*/ 2147483647 h 804"/>
              <a:gd name="T56" fmla="*/ 2147483647 w 792"/>
              <a:gd name="T57" fmla="*/ 2147483647 h 804"/>
              <a:gd name="T58" fmla="*/ 2147483647 w 792"/>
              <a:gd name="T59" fmla="*/ 2147483647 h 804"/>
              <a:gd name="T60" fmla="*/ 2147483647 w 792"/>
              <a:gd name="T61" fmla="*/ 2147483647 h 804"/>
              <a:gd name="T62" fmla="*/ 2147483647 w 792"/>
              <a:gd name="T63" fmla="*/ 2147483647 h 804"/>
              <a:gd name="T64" fmla="*/ 2147483647 w 792"/>
              <a:gd name="T65" fmla="*/ 2147483647 h 804"/>
              <a:gd name="T66" fmla="*/ 2147483647 w 792"/>
              <a:gd name="T67" fmla="*/ 2147483647 h 804"/>
              <a:gd name="T68" fmla="*/ 2147483647 w 792"/>
              <a:gd name="T69" fmla="*/ 2147483647 h 804"/>
              <a:gd name="T70" fmla="*/ 2147483647 w 792"/>
              <a:gd name="T71" fmla="*/ 2147483647 h 804"/>
              <a:gd name="T72" fmla="*/ 2147483647 w 792"/>
              <a:gd name="T73" fmla="*/ 2147483647 h 804"/>
              <a:gd name="T74" fmla="*/ 2147483647 w 792"/>
              <a:gd name="T75" fmla="*/ 2147483647 h 804"/>
              <a:gd name="T76" fmla="*/ 2147483647 w 792"/>
              <a:gd name="T77" fmla="*/ 2147483647 h 804"/>
              <a:gd name="T78" fmla="*/ 2147483647 w 792"/>
              <a:gd name="T79" fmla="*/ 2147483647 h 804"/>
              <a:gd name="T80" fmla="*/ 2147483647 w 792"/>
              <a:gd name="T81" fmla="*/ 2147483647 h 804"/>
              <a:gd name="T82" fmla="*/ 2147483647 w 792"/>
              <a:gd name="T83" fmla="*/ 2147483647 h 804"/>
              <a:gd name="T84" fmla="*/ 2147483647 w 792"/>
              <a:gd name="T85" fmla="*/ 2147483647 h 804"/>
              <a:gd name="T86" fmla="*/ 2147483647 w 792"/>
              <a:gd name="T87" fmla="*/ 2147483647 h 804"/>
              <a:gd name="T88" fmla="*/ 2147483647 w 792"/>
              <a:gd name="T89" fmla="*/ 2147483647 h 804"/>
              <a:gd name="T90" fmla="*/ 2147483647 w 792"/>
              <a:gd name="T91" fmla="*/ 0 h 804"/>
              <a:gd name="T92" fmla="*/ 2147483647 w 792"/>
              <a:gd name="T93" fmla="*/ 2147483647 h 804"/>
              <a:gd name="T94" fmla="*/ 2147483647 w 792"/>
              <a:gd name="T95" fmla="*/ 0 h 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92"/>
              <a:gd name="T145" fmla="*/ 0 h 804"/>
              <a:gd name="T146" fmla="*/ 792 w 792"/>
              <a:gd name="T147" fmla="*/ 804 h 80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92" h="804">
                <a:moveTo>
                  <a:pt x="12" y="18"/>
                </a:moveTo>
                <a:lnTo>
                  <a:pt x="6" y="24"/>
                </a:lnTo>
                <a:lnTo>
                  <a:pt x="6" y="54"/>
                </a:lnTo>
                <a:lnTo>
                  <a:pt x="18" y="60"/>
                </a:lnTo>
                <a:lnTo>
                  <a:pt x="24" y="72"/>
                </a:lnTo>
                <a:lnTo>
                  <a:pt x="24" y="78"/>
                </a:lnTo>
                <a:lnTo>
                  <a:pt x="18" y="84"/>
                </a:lnTo>
                <a:lnTo>
                  <a:pt x="12" y="96"/>
                </a:lnTo>
                <a:lnTo>
                  <a:pt x="6" y="102"/>
                </a:lnTo>
                <a:lnTo>
                  <a:pt x="0" y="114"/>
                </a:lnTo>
                <a:lnTo>
                  <a:pt x="0" y="120"/>
                </a:lnTo>
                <a:lnTo>
                  <a:pt x="6" y="132"/>
                </a:lnTo>
                <a:lnTo>
                  <a:pt x="18" y="144"/>
                </a:lnTo>
                <a:lnTo>
                  <a:pt x="30" y="180"/>
                </a:lnTo>
                <a:lnTo>
                  <a:pt x="30" y="264"/>
                </a:lnTo>
                <a:lnTo>
                  <a:pt x="36" y="342"/>
                </a:lnTo>
                <a:lnTo>
                  <a:pt x="36" y="438"/>
                </a:lnTo>
                <a:lnTo>
                  <a:pt x="42" y="534"/>
                </a:lnTo>
                <a:lnTo>
                  <a:pt x="42" y="624"/>
                </a:lnTo>
                <a:lnTo>
                  <a:pt x="48" y="702"/>
                </a:lnTo>
                <a:lnTo>
                  <a:pt x="48" y="774"/>
                </a:lnTo>
                <a:lnTo>
                  <a:pt x="474" y="780"/>
                </a:lnTo>
                <a:lnTo>
                  <a:pt x="492" y="762"/>
                </a:lnTo>
                <a:lnTo>
                  <a:pt x="498" y="762"/>
                </a:lnTo>
                <a:lnTo>
                  <a:pt x="498" y="774"/>
                </a:lnTo>
                <a:lnTo>
                  <a:pt x="618" y="780"/>
                </a:lnTo>
                <a:lnTo>
                  <a:pt x="624" y="786"/>
                </a:lnTo>
                <a:lnTo>
                  <a:pt x="630" y="798"/>
                </a:lnTo>
                <a:lnTo>
                  <a:pt x="636" y="804"/>
                </a:lnTo>
                <a:lnTo>
                  <a:pt x="654" y="804"/>
                </a:lnTo>
                <a:lnTo>
                  <a:pt x="660" y="798"/>
                </a:lnTo>
                <a:lnTo>
                  <a:pt x="672" y="774"/>
                </a:lnTo>
                <a:lnTo>
                  <a:pt x="684" y="762"/>
                </a:lnTo>
                <a:lnTo>
                  <a:pt x="696" y="762"/>
                </a:lnTo>
                <a:lnTo>
                  <a:pt x="702" y="756"/>
                </a:lnTo>
                <a:lnTo>
                  <a:pt x="720" y="756"/>
                </a:lnTo>
                <a:lnTo>
                  <a:pt x="726" y="750"/>
                </a:lnTo>
                <a:lnTo>
                  <a:pt x="732" y="738"/>
                </a:lnTo>
                <a:lnTo>
                  <a:pt x="732" y="714"/>
                </a:lnTo>
                <a:lnTo>
                  <a:pt x="762" y="714"/>
                </a:lnTo>
                <a:lnTo>
                  <a:pt x="786" y="690"/>
                </a:lnTo>
                <a:lnTo>
                  <a:pt x="780" y="684"/>
                </a:lnTo>
                <a:lnTo>
                  <a:pt x="774" y="672"/>
                </a:lnTo>
                <a:lnTo>
                  <a:pt x="774" y="624"/>
                </a:lnTo>
                <a:lnTo>
                  <a:pt x="792" y="618"/>
                </a:lnTo>
                <a:lnTo>
                  <a:pt x="786" y="618"/>
                </a:lnTo>
                <a:lnTo>
                  <a:pt x="756" y="588"/>
                </a:lnTo>
                <a:lnTo>
                  <a:pt x="732" y="552"/>
                </a:lnTo>
                <a:lnTo>
                  <a:pt x="726" y="528"/>
                </a:lnTo>
                <a:lnTo>
                  <a:pt x="714" y="492"/>
                </a:lnTo>
                <a:lnTo>
                  <a:pt x="702" y="468"/>
                </a:lnTo>
                <a:lnTo>
                  <a:pt x="690" y="462"/>
                </a:lnTo>
                <a:lnTo>
                  <a:pt x="684" y="450"/>
                </a:lnTo>
                <a:lnTo>
                  <a:pt x="672" y="444"/>
                </a:lnTo>
                <a:lnTo>
                  <a:pt x="666" y="432"/>
                </a:lnTo>
                <a:lnTo>
                  <a:pt x="654" y="396"/>
                </a:lnTo>
                <a:lnTo>
                  <a:pt x="654" y="378"/>
                </a:lnTo>
                <a:lnTo>
                  <a:pt x="618" y="336"/>
                </a:lnTo>
                <a:lnTo>
                  <a:pt x="618" y="318"/>
                </a:lnTo>
                <a:lnTo>
                  <a:pt x="606" y="294"/>
                </a:lnTo>
                <a:lnTo>
                  <a:pt x="594" y="282"/>
                </a:lnTo>
                <a:lnTo>
                  <a:pt x="588" y="270"/>
                </a:lnTo>
                <a:lnTo>
                  <a:pt x="576" y="258"/>
                </a:lnTo>
                <a:lnTo>
                  <a:pt x="570" y="246"/>
                </a:lnTo>
                <a:lnTo>
                  <a:pt x="558" y="234"/>
                </a:lnTo>
                <a:lnTo>
                  <a:pt x="552" y="222"/>
                </a:lnTo>
                <a:lnTo>
                  <a:pt x="546" y="216"/>
                </a:lnTo>
                <a:lnTo>
                  <a:pt x="552" y="210"/>
                </a:lnTo>
                <a:lnTo>
                  <a:pt x="552" y="198"/>
                </a:lnTo>
                <a:lnTo>
                  <a:pt x="540" y="174"/>
                </a:lnTo>
                <a:lnTo>
                  <a:pt x="528" y="168"/>
                </a:lnTo>
                <a:lnTo>
                  <a:pt x="522" y="168"/>
                </a:lnTo>
                <a:lnTo>
                  <a:pt x="540" y="144"/>
                </a:lnTo>
                <a:lnTo>
                  <a:pt x="558" y="156"/>
                </a:lnTo>
                <a:lnTo>
                  <a:pt x="558" y="174"/>
                </a:lnTo>
                <a:lnTo>
                  <a:pt x="564" y="186"/>
                </a:lnTo>
                <a:lnTo>
                  <a:pt x="576" y="198"/>
                </a:lnTo>
                <a:lnTo>
                  <a:pt x="582" y="210"/>
                </a:lnTo>
                <a:lnTo>
                  <a:pt x="588" y="216"/>
                </a:lnTo>
                <a:lnTo>
                  <a:pt x="588" y="246"/>
                </a:lnTo>
                <a:lnTo>
                  <a:pt x="606" y="264"/>
                </a:lnTo>
                <a:lnTo>
                  <a:pt x="612" y="276"/>
                </a:lnTo>
                <a:lnTo>
                  <a:pt x="636" y="300"/>
                </a:lnTo>
                <a:lnTo>
                  <a:pt x="648" y="306"/>
                </a:lnTo>
                <a:lnTo>
                  <a:pt x="654" y="306"/>
                </a:lnTo>
                <a:lnTo>
                  <a:pt x="666" y="300"/>
                </a:lnTo>
                <a:lnTo>
                  <a:pt x="678" y="288"/>
                </a:lnTo>
                <a:lnTo>
                  <a:pt x="672" y="270"/>
                </a:lnTo>
                <a:lnTo>
                  <a:pt x="684" y="246"/>
                </a:lnTo>
                <a:lnTo>
                  <a:pt x="684" y="234"/>
                </a:lnTo>
                <a:lnTo>
                  <a:pt x="690" y="222"/>
                </a:lnTo>
                <a:lnTo>
                  <a:pt x="690" y="198"/>
                </a:lnTo>
                <a:lnTo>
                  <a:pt x="696" y="186"/>
                </a:lnTo>
                <a:lnTo>
                  <a:pt x="696" y="180"/>
                </a:lnTo>
                <a:lnTo>
                  <a:pt x="702" y="168"/>
                </a:lnTo>
                <a:lnTo>
                  <a:pt x="648" y="24"/>
                </a:lnTo>
                <a:lnTo>
                  <a:pt x="642" y="24"/>
                </a:lnTo>
                <a:lnTo>
                  <a:pt x="636" y="30"/>
                </a:lnTo>
                <a:lnTo>
                  <a:pt x="624" y="30"/>
                </a:lnTo>
                <a:lnTo>
                  <a:pt x="600" y="42"/>
                </a:lnTo>
                <a:lnTo>
                  <a:pt x="576" y="42"/>
                </a:lnTo>
                <a:lnTo>
                  <a:pt x="564" y="36"/>
                </a:lnTo>
                <a:lnTo>
                  <a:pt x="558" y="30"/>
                </a:lnTo>
                <a:lnTo>
                  <a:pt x="552" y="36"/>
                </a:lnTo>
                <a:lnTo>
                  <a:pt x="540" y="42"/>
                </a:lnTo>
                <a:lnTo>
                  <a:pt x="534" y="42"/>
                </a:lnTo>
                <a:lnTo>
                  <a:pt x="510" y="30"/>
                </a:lnTo>
                <a:lnTo>
                  <a:pt x="504" y="24"/>
                </a:lnTo>
                <a:lnTo>
                  <a:pt x="504" y="18"/>
                </a:lnTo>
                <a:lnTo>
                  <a:pt x="498" y="12"/>
                </a:lnTo>
                <a:lnTo>
                  <a:pt x="486" y="6"/>
                </a:lnTo>
                <a:lnTo>
                  <a:pt x="468" y="6"/>
                </a:lnTo>
                <a:lnTo>
                  <a:pt x="456" y="12"/>
                </a:lnTo>
                <a:lnTo>
                  <a:pt x="438" y="12"/>
                </a:lnTo>
                <a:lnTo>
                  <a:pt x="432" y="18"/>
                </a:lnTo>
                <a:lnTo>
                  <a:pt x="420" y="18"/>
                </a:lnTo>
                <a:lnTo>
                  <a:pt x="414" y="12"/>
                </a:lnTo>
                <a:lnTo>
                  <a:pt x="390" y="12"/>
                </a:lnTo>
                <a:lnTo>
                  <a:pt x="378" y="18"/>
                </a:lnTo>
                <a:lnTo>
                  <a:pt x="372" y="24"/>
                </a:lnTo>
                <a:lnTo>
                  <a:pt x="366" y="36"/>
                </a:lnTo>
                <a:lnTo>
                  <a:pt x="360" y="42"/>
                </a:lnTo>
                <a:lnTo>
                  <a:pt x="336" y="42"/>
                </a:lnTo>
                <a:lnTo>
                  <a:pt x="324" y="54"/>
                </a:lnTo>
                <a:lnTo>
                  <a:pt x="312" y="60"/>
                </a:lnTo>
                <a:lnTo>
                  <a:pt x="306" y="60"/>
                </a:lnTo>
                <a:lnTo>
                  <a:pt x="300" y="54"/>
                </a:lnTo>
                <a:lnTo>
                  <a:pt x="288" y="54"/>
                </a:lnTo>
                <a:lnTo>
                  <a:pt x="276" y="48"/>
                </a:lnTo>
                <a:lnTo>
                  <a:pt x="264" y="48"/>
                </a:lnTo>
                <a:lnTo>
                  <a:pt x="258" y="42"/>
                </a:lnTo>
                <a:lnTo>
                  <a:pt x="204" y="42"/>
                </a:lnTo>
                <a:lnTo>
                  <a:pt x="198" y="36"/>
                </a:lnTo>
                <a:lnTo>
                  <a:pt x="186" y="30"/>
                </a:lnTo>
                <a:lnTo>
                  <a:pt x="174" y="18"/>
                </a:lnTo>
                <a:lnTo>
                  <a:pt x="126" y="18"/>
                </a:lnTo>
                <a:lnTo>
                  <a:pt x="120" y="12"/>
                </a:lnTo>
                <a:lnTo>
                  <a:pt x="96" y="0"/>
                </a:lnTo>
                <a:lnTo>
                  <a:pt x="78" y="0"/>
                </a:lnTo>
                <a:lnTo>
                  <a:pt x="66" y="12"/>
                </a:lnTo>
                <a:lnTo>
                  <a:pt x="54" y="12"/>
                </a:lnTo>
                <a:lnTo>
                  <a:pt x="42" y="6"/>
                </a:lnTo>
                <a:lnTo>
                  <a:pt x="36" y="6"/>
                </a:lnTo>
                <a:lnTo>
                  <a:pt x="36" y="0"/>
                </a:lnTo>
                <a:lnTo>
                  <a:pt x="30" y="0"/>
                </a:lnTo>
                <a:lnTo>
                  <a:pt x="12" y="18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spcBef>
                <a:spcPct val="0"/>
              </a:spcBef>
            </a:pPr>
            <a:endParaRPr lang="de-DE" sz="2133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60" name="Freeform: Shape 559">
            <a:extLst>
              <a:ext uri="{FF2B5EF4-FFF2-40B4-BE49-F238E27FC236}">
                <a16:creationId xmlns:a16="http://schemas.microsoft.com/office/drawing/2014/main" id="{C70E2822-21FD-6F5D-FF09-9054037337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557588" y="2840831"/>
            <a:ext cx="97886" cy="235744"/>
          </a:xfrm>
          <a:custGeom>
            <a:avLst/>
            <a:gdLst>
              <a:gd name="connsiteX0" fmla="*/ 0 w 97886"/>
              <a:gd name="connsiteY0" fmla="*/ 235744 h 235744"/>
              <a:gd name="connsiteX1" fmla="*/ 95250 w 97886"/>
              <a:gd name="connsiteY1" fmla="*/ 80963 h 235744"/>
              <a:gd name="connsiteX2" fmla="*/ 61912 w 97886"/>
              <a:gd name="connsiteY2" fmla="*/ 0 h 235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86" h="235744">
                <a:moveTo>
                  <a:pt x="0" y="235744"/>
                </a:moveTo>
                <a:cubicBezTo>
                  <a:pt x="42465" y="177999"/>
                  <a:pt x="84931" y="120254"/>
                  <a:pt x="95250" y="80963"/>
                </a:cubicBezTo>
                <a:cubicBezTo>
                  <a:pt x="105569" y="41672"/>
                  <a:pt x="83740" y="20836"/>
                  <a:pt x="61912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1" name="Freeform: Shape 560">
            <a:extLst>
              <a:ext uri="{FF2B5EF4-FFF2-40B4-BE49-F238E27FC236}">
                <a16:creationId xmlns:a16="http://schemas.microsoft.com/office/drawing/2014/main" id="{A476D96F-46ED-6D56-E39D-2055BD5DF0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302794" y="2917031"/>
            <a:ext cx="638175" cy="330994"/>
          </a:xfrm>
          <a:custGeom>
            <a:avLst/>
            <a:gdLst>
              <a:gd name="connsiteX0" fmla="*/ 0 w 638175"/>
              <a:gd name="connsiteY0" fmla="*/ 330994 h 330994"/>
              <a:gd name="connsiteX1" fmla="*/ 80962 w 638175"/>
              <a:gd name="connsiteY1" fmla="*/ 271463 h 330994"/>
              <a:gd name="connsiteX2" fmla="*/ 178594 w 638175"/>
              <a:gd name="connsiteY2" fmla="*/ 252413 h 330994"/>
              <a:gd name="connsiteX3" fmla="*/ 326231 w 638175"/>
              <a:gd name="connsiteY3" fmla="*/ 100013 h 330994"/>
              <a:gd name="connsiteX4" fmla="*/ 638175 w 638175"/>
              <a:gd name="connsiteY4" fmla="*/ 0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175" h="330994">
                <a:moveTo>
                  <a:pt x="0" y="330994"/>
                </a:moveTo>
                <a:cubicBezTo>
                  <a:pt x="25598" y="307777"/>
                  <a:pt x="51196" y="284560"/>
                  <a:pt x="80962" y="271463"/>
                </a:cubicBezTo>
                <a:cubicBezTo>
                  <a:pt x="110728" y="258366"/>
                  <a:pt x="137716" y="280988"/>
                  <a:pt x="178594" y="252413"/>
                </a:cubicBezTo>
                <a:cubicBezTo>
                  <a:pt x="219472" y="223838"/>
                  <a:pt x="249634" y="142082"/>
                  <a:pt x="326231" y="100013"/>
                </a:cubicBezTo>
                <a:cubicBezTo>
                  <a:pt x="402828" y="57944"/>
                  <a:pt x="520501" y="28972"/>
                  <a:pt x="638175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2" name="Isosceles Triangle 561">
            <a:extLst>
              <a:ext uri="{FF2B5EF4-FFF2-40B4-BE49-F238E27FC236}">
                <a16:creationId xmlns:a16="http://schemas.microsoft.com/office/drawing/2014/main" id="{7D0EC85F-3A34-B0CA-D518-0417321E8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4555790">
            <a:off x="3935584" y="2877111"/>
            <a:ext cx="61642" cy="68452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3" name="Freeform: Shape 562">
            <a:extLst>
              <a:ext uri="{FF2B5EF4-FFF2-40B4-BE49-F238E27FC236}">
                <a16:creationId xmlns:a16="http://schemas.microsoft.com/office/drawing/2014/main" id="{5371E287-5D22-22A0-7D61-08CFED8683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97875" y="3486150"/>
            <a:ext cx="482600" cy="139700"/>
          </a:xfrm>
          <a:custGeom>
            <a:avLst/>
            <a:gdLst>
              <a:gd name="connsiteX0" fmla="*/ 482600 w 482600"/>
              <a:gd name="connsiteY0" fmla="*/ 0 h 139700"/>
              <a:gd name="connsiteX1" fmla="*/ 390525 w 482600"/>
              <a:gd name="connsiteY1" fmla="*/ 104775 h 139700"/>
              <a:gd name="connsiteX2" fmla="*/ 0 w 482600"/>
              <a:gd name="connsiteY2" fmla="*/ 139700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2600" h="139700">
                <a:moveTo>
                  <a:pt x="482600" y="0"/>
                </a:moveTo>
                <a:cubicBezTo>
                  <a:pt x="476779" y="40746"/>
                  <a:pt x="470958" y="81492"/>
                  <a:pt x="390525" y="104775"/>
                </a:cubicBezTo>
                <a:cubicBezTo>
                  <a:pt x="310092" y="128058"/>
                  <a:pt x="155046" y="133879"/>
                  <a:pt x="0" y="13970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F02697F6-FB30-C7CE-E439-A56DDE8FA5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01000" y="3197225"/>
            <a:ext cx="544551" cy="333375"/>
          </a:xfrm>
          <a:custGeom>
            <a:avLst/>
            <a:gdLst>
              <a:gd name="connsiteX0" fmla="*/ 542925 w 544551"/>
              <a:gd name="connsiteY0" fmla="*/ 0 h 333375"/>
              <a:gd name="connsiteX1" fmla="*/ 460375 w 544551"/>
              <a:gd name="connsiteY1" fmla="*/ 254000 h 333375"/>
              <a:gd name="connsiteX2" fmla="*/ 0 w 544551"/>
              <a:gd name="connsiteY2" fmla="*/ 33337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4551" h="333375">
                <a:moveTo>
                  <a:pt x="542925" y="0"/>
                </a:moveTo>
                <a:cubicBezTo>
                  <a:pt x="546893" y="99219"/>
                  <a:pt x="550862" y="198438"/>
                  <a:pt x="460375" y="254000"/>
                </a:cubicBezTo>
                <a:cubicBezTo>
                  <a:pt x="369888" y="309562"/>
                  <a:pt x="184944" y="321468"/>
                  <a:pt x="0" y="333375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65" name="Straight Connector 564">
            <a:extLst>
              <a:ext uri="{FF2B5EF4-FFF2-40B4-BE49-F238E27FC236}">
                <a16:creationId xmlns:a16="http://schemas.microsoft.com/office/drawing/2014/main" id="{565A48E0-9150-7E63-B9D0-5DE108EC443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 bwMode="gray">
          <a:xfrm>
            <a:off x="8542550" y="3157435"/>
            <a:ext cx="93924" cy="68324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66" name="Freeform: Shape 565">
            <a:extLst>
              <a:ext uri="{FF2B5EF4-FFF2-40B4-BE49-F238E27FC236}">
                <a16:creationId xmlns:a16="http://schemas.microsoft.com/office/drawing/2014/main" id="{63DDD487-ABDB-910F-FD35-FD29B7469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95388" y="2152650"/>
            <a:ext cx="959643" cy="1021556"/>
          </a:xfrm>
          <a:custGeom>
            <a:avLst/>
            <a:gdLst>
              <a:gd name="connsiteX0" fmla="*/ 0 w 959643"/>
              <a:gd name="connsiteY0" fmla="*/ 1021556 h 1021556"/>
              <a:gd name="connsiteX1" fmla="*/ 85725 w 959643"/>
              <a:gd name="connsiteY1" fmla="*/ 904875 h 1021556"/>
              <a:gd name="connsiteX2" fmla="*/ 130968 w 959643"/>
              <a:gd name="connsiteY2" fmla="*/ 771525 h 1021556"/>
              <a:gd name="connsiteX3" fmla="*/ 309562 w 959643"/>
              <a:gd name="connsiteY3" fmla="*/ 695325 h 1021556"/>
              <a:gd name="connsiteX4" fmla="*/ 350043 w 959643"/>
              <a:gd name="connsiteY4" fmla="*/ 495300 h 1021556"/>
              <a:gd name="connsiteX5" fmla="*/ 719137 w 959643"/>
              <a:gd name="connsiteY5" fmla="*/ 354806 h 1021556"/>
              <a:gd name="connsiteX6" fmla="*/ 959643 w 959643"/>
              <a:gd name="connsiteY6" fmla="*/ 0 h 1021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9643" h="1021556">
                <a:moveTo>
                  <a:pt x="0" y="1021556"/>
                </a:moveTo>
                <a:cubicBezTo>
                  <a:pt x="31948" y="984051"/>
                  <a:pt x="63897" y="946547"/>
                  <a:pt x="85725" y="904875"/>
                </a:cubicBezTo>
                <a:cubicBezTo>
                  <a:pt x="107553" y="863203"/>
                  <a:pt x="93662" y="806450"/>
                  <a:pt x="130968" y="771525"/>
                </a:cubicBezTo>
                <a:cubicBezTo>
                  <a:pt x="168274" y="736600"/>
                  <a:pt x="273050" y="741362"/>
                  <a:pt x="309562" y="695325"/>
                </a:cubicBezTo>
                <a:cubicBezTo>
                  <a:pt x="346074" y="649288"/>
                  <a:pt x="281781" y="552053"/>
                  <a:pt x="350043" y="495300"/>
                </a:cubicBezTo>
                <a:cubicBezTo>
                  <a:pt x="418305" y="438547"/>
                  <a:pt x="617537" y="437356"/>
                  <a:pt x="719137" y="354806"/>
                </a:cubicBezTo>
                <a:cubicBezTo>
                  <a:pt x="820737" y="272256"/>
                  <a:pt x="890190" y="136128"/>
                  <a:pt x="959643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7" name="Freeform: Shape 566">
            <a:extLst>
              <a:ext uri="{FF2B5EF4-FFF2-40B4-BE49-F238E27FC236}">
                <a16:creationId xmlns:a16="http://schemas.microsoft.com/office/drawing/2014/main" id="{1880B1E9-114D-5D72-101D-A8CAD193DF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911862" y="2466976"/>
            <a:ext cx="64574" cy="68536"/>
          </a:xfrm>
          <a:custGeom>
            <a:avLst/>
            <a:gdLst>
              <a:gd name="connsiteX0" fmla="*/ 45524 w 64574"/>
              <a:gd name="connsiteY0" fmla="*/ 0 h 68536"/>
              <a:gd name="connsiteX1" fmla="*/ 281 w 64574"/>
              <a:gd name="connsiteY1" fmla="*/ 64293 h 68536"/>
              <a:gd name="connsiteX2" fmla="*/ 64574 w 64574"/>
              <a:gd name="connsiteY2" fmla="*/ 57150 h 6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574" h="68536">
                <a:moveTo>
                  <a:pt x="45524" y="0"/>
                </a:moveTo>
                <a:cubicBezTo>
                  <a:pt x="21315" y="27384"/>
                  <a:pt x="-2894" y="54768"/>
                  <a:pt x="281" y="64293"/>
                </a:cubicBezTo>
                <a:cubicBezTo>
                  <a:pt x="3456" y="73818"/>
                  <a:pt x="34015" y="65484"/>
                  <a:pt x="64574" y="5715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C1CF5CF7-177E-6D99-6937-1A6BE3BA92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953368" y="247776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69" name="Freeform: Shape 568">
            <a:extLst>
              <a:ext uri="{FF2B5EF4-FFF2-40B4-BE49-F238E27FC236}">
                <a16:creationId xmlns:a16="http://schemas.microsoft.com/office/drawing/2014/main" id="{29017709-5906-A75E-1803-F0DA988C9A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49054" y="2302669"/>
            <a:ext cx="58352" cy="161925"/>
          </a:xfrm>
          <a:custGeom>
            <a:avLst/>
            <a:gdLst>
              <a:gd name="connsiteX0" fmla="*/ 58352 w 58352"/>
              <a:gd name="connsiteY0" fmla="*/ 161925 h 161925"/>
              <a:gd name="connsiteX1" fmla="*/ 1202 w 58352"/>
              <a:gd name="connsiteY1" fmla="*/ 111919 h 161925"/>
              <a:gd name="connsiteX2" fmla="*/ 25015 w 58352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352" h="161925">
                <a:moveTo>
                  <a:pt x="58352" y="161925"/>
                </a:moveTo>
                <a:cubicBezTo>
                  <a:pt x="32555" y="150415"/>
                  <a:pt x="6758" y="138906"/>
                  <a:pt x="1202" y="111919"/>
                </a:cubicBezTo>
                <a:cubicBezTo>
                  <a:pt x="-4354" y="84932"/>
                  <a:pt x="10330" y="42466"/>
                  <a:pt x="25015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4B6F2650-52E7-D1A9-00D2-7BB541160C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71315" y="245337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1" name="Freeform: Shape 570">
            <a:extLst>
              <a:ext uri="{FF2B5EF4-FFF2-40B4-BE49-F238E27FC236}">
                <a16:creationId xmlns:a16="http://schemas.microsoft.com/office/drawing/2014/main" id="{3E327D6E-95FD-CF5F-136A-1E8A3A3BE2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78679" y="2297906"/>
            <a:ext cx="62065" cy="77471"/>
          </a:xfrm>
          <a:custGeom>
            <a:avLst/>
            <a:gdLst>
              <a:gd name="connsiteX0" fmla="*/ 62065 w 62065"/>
              <a:gd name="connsiteY0" fmla="*/ 73819 h 77471"/>
              <a:gd name="connsiteX1" fmla="*/ 9677 w 62065"/>
              <a:gd name="connsiteY1" fmla="*/ 69057 h 77471"/>
              <a:gd name="connsiteX2" fmla="*/ 152 w 62065"/>
              <a:gd name="connsiteY2" fmla="*/ 0 h 77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065" h="77471">
                <a:moveTo>
                  <a:pt x="62065" y="73819"/>
                </a:moveTo>
                <a:cubicBezTo>
                  <a:pt x="41030" y="77589"/>
                  <a:pt x="19996" y="81360"/>
                  <a:pt x="9677" y="69057"/>
                </a:cubicBezTo>
                <a:cubicBezTo>
                  <a:pt x="-642" y="56754"/>
                  <a:pt x="-245" y="28377"/>
                  <a:pt x="152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4C1806F5-421B-AB55-EF41-D9F32DD6B3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30150" y="235945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3" name="Freeform: Shape 572">
            <a:extLst>
              <a:ext uri="{FF2B5EF4-FFF2-40B4-BE49-F238E27FC236}">
                <a16:creationId xmlns:a16="http://schemas.microsoft.com/office/drawing/2014/main" id="{7B1C83C3-8922-3204-A6A6-E063D6E925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09828" y="2212181"/>
            <a:ext cx="369068" cy="102394"/>
          </a:xfrm>
          <a:custGeom>
            <a:avLst/>
            <a:gdLst>
              <a:gd name="connsiteX0" fmla="*/ 47599 w 369068"/>
              <a:gd name="connsiteY0" fmla="*/ 102394 h 102394"/>
              <a:gd name="connsiteX1" fmla="*/ 11881 w 369068"/>
              <a:gd name="connsiteY1" fmla="*/ 45244 h 102394"/>
              <a:gd name="connsiteX2" fmla="*/ 228574 w 369068"/>
              <a:gd name="connsiteY2" fmla="*/ 9525 h 102394"/>
              <a:gd name="connsiteX3" fmla="*/ 369068 w 369068"/>
              <a:gd name="connsiteY3" fmla="*/ 0 h 102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9068" h="102394">
                <a:moveTo>
                  <a:pt x="47599" y="102394"/>
                </a:moveTo>
                <a:cubicBezTo>
                  <a:pt x="14658" y="81558"/>
                  <a:pt x="-18282" y="60722"/>
                  <a:pt x="11881" y="45244"/>
                </a:cubicBezTo>
                <a:cubicBezTo>
                  <a:pt x="42043" y="29766"/>
                  <a:pt x="169043" y="17066"/>
                  <a:pt x="228574" y="9525"/>
                </a:cubicBezTo>
                <a:cubicBezTo>
                  <a:pt x="288105" y="1984"/>
                  <a:pt x="328586" y="992"/>
                  <a:pt x="369068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4" name="Rectangle 573">
            <a:extLst>
              <a:ext uri="{FF2B5EF4-FFF2-40B4-BE49-F238E27FC236}">
                <a16:creationId xmlns:a16="http://schemas.microsoft.com/office/drawing/2014/main" id="{73E64652-C754-5D65-93CB-CD4D397907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53970" y="230852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5" name="Rectangle 574">
            <a:extLst>
              <a:ext uri="{FF2B5EF4-FFF2-40B4-BE49-F238E27FC236}">
                <a16:creationId xmlns:a16="http://schemas.microsoft.com/office/drawing/2014/main" id="{72D9249F-D62B-DA48-8022-19D6EA6787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90965" y="459270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24AE6DF3-8236-4CC5-92A6-C890FD9A98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53488" y="3028950"/>
            <a:ext cx="754202" cy="1407241"/>
          </a:xfrm>
          <a:custGeom>
            <a:avLst/>
            <a:gdLst>
              <a:gd name="connsiteX0" fmla="*/ 0 w 754202"/>
              <a:gd name="connsiteY0" fmla="*/ 1371600 h 1407241"/>
              <a:gd name="connsiteX1" fmla="*/ 138112 w 754202"/>
              <a:gd name="connsiteY1" fmla="*/ 1388269 h 1407241"/>
              <a:gd name="connsiteX2" fmla="*/ 411956 w 754202"/>
              <a:gd name="connsiteY2" fmla="*/ 1140619 h 1407241"/>
              <a:gd name="connsiteX3" fmla="*/ 750093 w 754202"/>
              <a:gd name="connsiteY3" fmla="*/ 390525 h 1407241"/>
              <a:gd name="connsiteX4" fmla="*/ 569118 w 754202"/>
              <a:gd name="connsiteY4" fmla="*/ 0 h 14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4202" h="1407241">
                <a:moveTo>
                  <a:pt x="0" y="1371600"/>
                </a:moveTo>
                <a:cubicBezTo>
                  <a:pt x="34726" y="1399183"/>
                  <a:pt x="69453" y="1426766"/>
                  <a:pt x="138112" y="1388269"/>
                </a:cubicBezTo>
                <a:cubicBezTo>
                  <a:pt x="206771" y="1349772"/>
                  <a:pt x="309959" y="1306910"/>
                  <a:pt x="411956" y="1140619"/>
                </a:cubicBezTo>
                <a:cubicBezTo>
                  <a:pt x="513953" y="974328"/>
                  <a:pt x="723899" y="580628"/>
                  <a:pt x="750093" y="390525"/>
                </a:cubicBezTo>
                <a:cubicBezTo>
                  <a:pt x="776287" y="200422"/>
                  <a:pt x="672702" y="100211"/>
                  <a:pt x="569118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7" name="Isosceles Triangle 576">
            <a:extLst>
              <a:ext uri="{FF2B5EF4-FFF2-40B4-BE49-F238E27FC236}">
                <a16:creationId xmlns:a16="http://schemas.microsoft.com/office/drawing/2014/main" id="{FF3FD56E-205B-62B9-B81A-446B63146A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20650057">
            <a:off x="9566797" y="3249345"/>
            <a:ext cx="61642" cy="68452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78" name="Freeform: Shape 577">
            <a:extLst>
              <a:ext uri="{FF2B5EF4-FFF2-40B4-BE49-F238E27FC236}">
                <a16:creationId xmlns:a16="http://schemas.microsoft.com/office/drawing/2014/main" id="{6008AFEC-6EF5-2DCF-5999-96E258C26B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03531" y="3745140"/>
            <a:ext cx="288132" cy="184578"/>
          </a:xfrm>
          <a:custGeom>
            <a:avLst/>
            <a:gdLst>
              <a:gd name="connsiteX0" fmla="*/ 0 w 288132"/>
              <a:gd name="connsiteY0" fmla="*/ 166687 h 184578"/>
              <a:gd name="connsiteX1" fmla="*/ 128588 w 288132"/>
              <a:gd name="connsiteY1" fmla="*/ 169069 h 184578"/>
              <a:gd name="connsiteX2" fmla="*/ 288132 w 288132"/>
              <a:gd name="connsiteY2" fmla="*/ 0 h 184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8132" h="184578">
                <a:moveTo>
                  <a:pt x="0" y="166687"/>
                </a:moveTo>
                <a:cubicBezTo>
                  <a:pt x="40283" y="181768"/>
                  <a:pt x="80566" y="196850"/>
                  <a:pt x="128588" y="169069"/>
                </a:cubicBezTo>
                <a:cubicBezTo>
                  <a:pt x="176610" y="141288"/>
                  <a:pt x="232371" y="70644"/>
                  <a:pt x="288132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9" name="Freeform: Shape 578">
            <a:extLst>
              <a:ext uri="{FF2B5EF4-FFF2-40B4-BE49-F238E27FC236}">
                <a16:creationId xmlns:a16="http://schemas.microsoft.com/office/drawing/2014/main" id="{00518428-FB5F-FD5A-16E3-E7AD2267B2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08281" y="3732892"/>
            <a:ext cx="385763" cy="135117"/>
          </a:xfrm>
          <a:custGeom>
            <a:avLst/>
            <a:gdLst>
              <a:gd name="connsiteX0" fmla="*/ 0 w 385763"/>
              <a:gd name="connsiteY0" fmla="*/ 64294 h 135117"/>
              <a:gd name="connsiteX1" fmla="*/ 100013 w 385763"/>
              <a:gd name="connsiteY1" fmla="*/ 133350 h 135117"/>
              <a:gd name="connsiteX2" fmla="*/ 385763 w 385763"/>
              <a:gd name="connsiteY2" fmla="*/ 0 h 135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763" h="135117">
                <a:moveTo>
                  <a:pt x="0" y="64294"/>
                </a:moveTo>
                <a:cubicBezTo>
                  <a:pt x="17859" y="104180"/>
                  <a:pt x="35719" y="144066"/>
                  <a:pt x="100013" y="133350"/>
                </a:cubicBezTo>
                <a:cubicBezTo>
                  <a:pt x="164307" y="122634"/>
                  <a:pt x="275035" y="61317"/>
                  <a:pt x="385763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0" name="Rectangle 579">
            <a:extLst>
              <a:ext uri="{FF2B5EF4-FFF2-40B4-BE49-F238E27FC236}">
                <a16:creationId xmlns:a16="http://schemas.microsoft.com/office/drawing/2014/main" id="{5A8C6B87-80AE-ADC2-B251-94DE683F16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041470" y="377105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81" name="Freeform: Shape 580">
            <a:extLst>
              <a:ext uri="{FF2B5EF4-FFF2-40B4-BE49-F238E27FC236}">
                <a16:creationId xmlns:a16="http://schemas.microsoft.com/office/drawing/2014/main" id="{279D7EC6-C9BE-85BB-A31B-2D0DF50F3D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67788" y="3260547"/>
            <a:ext cx="621506" cy="367145"/>
          </a:xfrm>
          <a:custGeom>
            <a:avLst/>
            <a:gdLst>
              <a:gd name="connsiteX0" fmla="*/ 0 w 621506"/>
              <a:gd name="connsiteY0" fmla="*/ 4147 h 367145"/>
              <a:gd name="connsiteX1" fmla="*/ 109537 w 621506"/>
              <a:gd name="connsiteY1" fmla="*/ 44628 h 367145"/>
              <a:gd name="connsiteX2" fmla="*/ 323850 w 621506"/>
              <a:gd name="connsiteY2" fmla="*/ 323234 h 367145"/>
              <a:gd name="connsiteX3" fmla="*/ 385762 w 621506"/>
              <a:gd name="connsiteY3" fmla="*/ 366097 h 367145"/>
              <a:gd name="connsiteX4" fmla="*/ 540543 w 621506"/>
              <a:gd name="connsiteY4" fmla="*/ 320853 h 367145"/>
              <a:gd name="connsiteX5" fmla="*/ 621506 w 621506"/>
              <a:gd name="connsiteY5" fmla="*/ 211316 h 36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1506" h="367145">
                <a:moveTo>
                  <a:pt x="0" y="4147"/>
                </a:moveTo>
                <a:cubicBezTo>
                  <a:pt x="27781" y="-2203"/>
                  <a:pt x="55562" y="-8553"/>
                  <a:pt x="109537" y="44628"/>
                </a:cubicBezTo>
                <a:cubicBezTo>
                  <a:pt x="163512" y="97809"/>
                  <a:pt x="277813" y="269656"/>
                  <a:pt x="323850" y="323234"/>
                </a:cubicBezTo>
                <a:cubicBezTo>
                  <a:pt x="369888" y="376812"/>
                  <a:pt x="349647" y="366494"/>
                  <a:pt x="385762" y="366097"/>
                </a:cubicBezTo>
                <a:cubicBezTo>
                  <a:pt x="421877" y="365700"/>
                  <a:pt x="501252" y="346650"/>
                  <a:pt x="540543" y="320853"/>
                </a:cubicBezTo>
                <a:cubicBezTo>
                  <a:pt x="579834" y="295056"/>
                  <a:pt x="600670" y="253186"/>
                  <a:pt x="621506" y="211316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2" name="Freeform: Shape 581">
            <a:extLst>
              <a:ext uri="{FF2B5EF4-FFF2-40B4-BE49-F238E27FC236}">
                <a16:creationId xmlns:a16="http://schemas.microsoft.com/office/drawing/2014/main" id="{7118AAB4-66A3-8248-7E28-272B3E3D25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70169" y="3267075"/>
            <a:ext cx="590550" cy="384582"/>
          </a:xfrm>
          <a:custGeom>
            <a:avLst/>
            <a:gdLst>
              <a:gd name="connsiteX0" fmla="*/ 590550 w 590550"/>
              <a:gd name="connsiteY0" fmla="*/ 309563 h 384582"/>
              <a:gd name="connsiteX1" fmla="*/ 504825 w 590550"/>
              <a:gd name="connsiteY1" fmla="*/ 373856 h 384582"/>
              <a:gd name="connsiteX2" fmla="*/ 364331 w 590550"/>
              <a:gd name="connsiteY2" fmla="*/ 359569 h 384582"/>
              <a:gd name="connsiteX3" fmla="*/ 204787 w 590550"/>
              <a:gd name="connsiteY3" fmla="*/ 138113 h 384582"/>
              <a:gd name="connsiteX4" fmla="*/ 0 w 590550"/>
              <a:gd name="connsiteY4" fmla="*/ 0 h 3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0550" h="384582">
                <a:moveTo>
                  <a:pt x="590550" y="309563"/>
                </a:moveTo>
                <a:cubicBezTo>
                  <a:pt x="566539" y="337542"/>
                  <a:pt x="542528" y="365522"/>
                  <a:pt x="504825" y="373856"/>
                </a:cubicBezTo>
                <a:cubicBezTo>
                  <a:pt x="467122" y="382190"/>
                  <a:pt x="414337" y="398859"/>
                  <a:pt x="364331" y="359569"/>
                </a:cubicBezTo>
                <a:cubicBezTo>
                  <a:pt x="314325" y="320279"/>
                  <a:pt x="265509" y="198041"/>
                  <a:pt x="204787" y="138113"/>
                </a:cubicBezTo>
                <a:cubicBezTo>
                  <a:pt x="144065" y="78185"/>
                  <a:pt x="72032" y="39092"/>
                  <a:pt x="0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3" name="Freeform: Shape 582">
            <a:extLst>
              <a:ext uri="{FF2B5EF4-FFF2-40B4-BE49-F238E27FC236}">
                <a16:creationId xmlns:a16="http://schemas.microsoft.com/office/drawing/2014/main" id="{9ADB42C8-5FDA-6982-EF78-FABD686901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43975" y="3505200"/>
            <a:ext cx="554831" cy="246536"/>
          </a:xfrm>
          <a:custGeom>
            <a:avLst/>
            <a:gdLst>
              <a:gd name="connsiteX0" fmla="*/ 554831 w 554831"/>
              <a:gd name="connsiteY0" fmla="*/ 219075 h 246536"/>
              <a:gd name="connsiteX1" fmla="*/ 411956 w 554831"/>
              <a:gd name="connsiteY1" fmla="*/ 245269 h 246536"/>
              <a:gd name="connsiteX2" fmla="*/ 195263 w 554831"/>
              <a:gd name="connsiteY2" fmla="*/ 183356 h 246536"/>
              <a:gd name="connsiteX3" fmla="*/ 0 w 554831"/>
              <a:gd name="connsiteY3" fmla="*/ 0 h 246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4831" h="246536">
                <a:moveTo>
                  <a:pt x="554831" y="219075"/>
                </a:moveTo>
                <a:cubicBezTo>
                  <a:pt x="513357" y="235148"/>
                  <a:pt x="471884" y="251222"/>
                  <a:pt x="411956" y="245269"/>
                </a:cubicBezTo>
                <a:cubicBezTo>
                  <a:pt x="352028" y="239316"/>
                  <a:pt x="263922" y="224234"/>
                  <a:pt x="195263" y="183356"/>
                </a:cubicBezTo>
                <a:cubicBezTo>
                  <a:pt x="126604" y="142478"/>
                  <a:pt x="63302" y="71239"/>
                  <a:pt x="0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4" name="Freeform: Shape 583">
            <a:extLst>
              <a:ext uri="{FF2B5EF4-FFF2-40B4-BE49-F238E27FC236}">
                <a16:creationId xmlns:a16="http://schemas.microsoft.com/office/drawing/2014/main" id="{7E5D7D71-862B-58F9-2C59-22FB585B5A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43729" y="3169444"/>
            <a:ext cx="2909158" cy="1204912"/>
          </a:xfrm>
          <a:custGeom>
            <a:avLst/>
            <a:gdLst>
              <a:gd name="connsiteX0" fmla="*/ 54040 w 2909158"/>
              <a:gd name="connsiteY0" fmla="*/ 0 h 1204912"/>
              <a:gd name="connsiteX1" fmla="*/ 11177 w 2909158"/>
              <a:gd name="connsiteY1" fmla="*/ 180975 h 1204912"/>
              <a:gd name="connsiteX2" fmla="*/ 235015 w 2909158"/>
              <a:gd name="connsiteY2" fmla="*/ 383381 h 1204912"/>
              <a:gd name="connsiteX3" fmla="*/ 839852 w 2909158"/>
              <a:gd name="connsiteY3" fmla="*/ 211931 h 1204912"/>
              <a:gd name="connsiteX4" fmla="*/ 1249427 w 2909158"/>
              <a:gd name="connsiteY4" fmla="*/ 230981 h 1204912"/>
              <a:gd name="connsiteX5" fmla="*/ 1649477 w 2909158"/>
              <a:gd name="connsiteY5" fmla="*/ 445294 h 1204912"/>
              <a:gd name="connsiteX6" fmla="*/ 2211452 w 2909158"/>
              <a:gd name="connsiteY6" fmla="*/ 459581 h 1204912"/>
              <a:gd name="connsiteX7" fmla="*/ 2554352 w 2909158"/>
              <a:gd name="connsiteY7" fmla="*/ 626269 h 1204912"/>
              <a:gd name="connsiteX8" fmla="*/ 2659127 w 2909158"/>
              <a:gd name="connsiteY8" fmla="*/ 819150 h 1204912"/>
              <a:gd name="connsiteX9" fmla="*/ 2847246 w 2909158"/>
              <a:gd name="connsiteY9" fmla="*/ 1090612 h 1204912"/>
              <a:gd name="connsiteX10" fmla="*/ 2909158 w 2909158"/>
              <a:gd name="connsiteY10" fmla="*/ 1204912 h 120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09158" h="1204912">
                <a:moveTo>
                  <a:pt x="54040" y="0"/>
                </a:moveTo>
                <a:cubicBezTo>
                  <a:pt x="17527" y="58539"/>
                  <a:pt x="-18986" y="117078"/>
                  <a:pt x="11177" y="180975"/>
                </a:cubicBezTo>
                <a:cubicBezTo>
                  <a:pt x="41340" y="244872"/>
                  <a:pt x="96903" y="378222"/>
                  <a:pt x="235015" y="383381"/>
                </a:cubicBezTo>
                <a:cubicBezTo>
                  <a:pt x="373127" y="388540"/>
                  <a:pt x="670783" y="237331"/>
                  <a:pt x="839852" y="211931"/>
                </a:cubicBezTo>
                <a:cubicBezTo>
                  <a:pt x="1008921" y="186531"/>
                  <a:pt x="1114490" y="192087"/>
                  <a:pt x="1249427" y="230981"/>
                </a:cubicBezTo>
                <a:cubicBezTo>
                  <a:pt x="1384364" y="269875"/>
                  <a:pt x="1489140" y="407194"/>
                  <a:pt x="1649477" y="445294"/>
                </a:cubicBezTo>
                <a:cubicBezTo>
                  <a:pt x="1809815" y="483394"/>
                  <a:pt x="2060640" y="429419"/>
                  <a:pt x="2211452" y="459581"/>
                </a:cubicBezTo>
                <a:cubicBezTo>
                  <a:pt x="2362264" y="489743"/>
                  <a:pt x="2479740" y="566341"/>
                  <a:pt x="2554352" y="626269"/>
                </a:cubicBezTo>
                <a:cubicBezTo>
                  <a:pt x="2628964" y="686197"/>
                  <a:pt x="2610311" y="741760"/>
                  <a:pt x="2659127" y="819150"/>
                </a:cubicBezTo>
                <a:cubicBezTo>
                  <a:pt x="2707943" y="896540"/>
                  <a:pt x="2805574" y="1026318"/>
                  <a:pt x="2847246" y="1090612"/>
                </a:cubicBezTo>
                <a:cubicBezTo>
                  <a:pt x="2888918" y="1154906"/>
                  <a:pt x="2899038" y="1179909"/>
                  <a:pt x="2909158" y="1204912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5" name="Freeform: Shape 584">
            <a:extLst>
              <a:ext uri="{FF2B5EF4-FFF2-40B4-BE49-F238E27FC236}">
                <a16:creationId xmlns:a16="http://schemas.microsoft.com/office/drawing/2014/main" id="{134CBF0D-B6C5-FB69-DDE7-A96BFC8D81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90492" y="3240881"/>
            <a:ext cx="117064" cy="373857"/>
          </a:xfrm>
          <a:custGeom>
            <a:avLst/>
            <a:gdLst>
              <a:gd name="connsiteX0" fmla="*/ 117064 w 117064"/>
              <a:gd name="connsiteY0" fmla="*/ 0 h 373857"/>
              <a:gd name="connsiteX1" fmla="*/ 86108 w 117064"/>
              <a:gd name="connsiteY1" fmla="*/ 78582 h 373857"/>
              <a:gd name="connsiteX2" fmla="*/ 81345 w 117064"/>
              <a:gd name="connsiteY2" fmla="*/ 152400 h 373857"/>
              <a:gd name="connsiteX3" fmla="*/ 50389 w 117064"/>
              <a:gd name="connsiteY3" fmla="*/ 233363 h 373857"/>
              <a:gd name="connsiteX4" fmla="*/ 383 w 117064"/>
              <a:gd name="connsiteY4" fmla="*/ 288132 h 373857"/>
              <a:gd name="connsiteX5" fmla="*/ 31339 w 117064"/>
              <a:gd name="connsiteY5" fmla="*/ 373857 h 37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064" h="373857">
                <a:moveTo>
                  <a:pt x="117064" y="0"/>
                </a:moveTo>
                <a:cubicBezTo>
                  <a:pt x="104562" y="26591"/>
                  <a:pt x="92061" y="53182"/>
                  <a:pt x="86108" y="78582"/>
                </a:cubicBezTo>
                <a:cubicBezTo>
                  <a:pt x="80155" y="103982"/>
                  <a:pt x="87298" y="126603"/>
                  <a:pt x="81345" y="152400"/>
                </a:cubicBezTo>
                <a:cubicBezTo>
                  <a:pt x="75392" y="178197"/>
                  <a:pt x="63883" y="210741"/>
                  <a:pt x="50389" y="233363"/>
                </a:cubicBezTo>
                <a:cubicBezTo>
                  <a:pt x="36895" y="255985"/>
                  <a:pt x="3558" y="264716"/>
                  <a:pt x="383" y="288132"/>
                </a:cubicBezTo>
                <a:cubicBezTo>
                  <a:pt x="-2792" y="311548"/>
                  <a:pt x="14273" y="342702"/>
                  <a:pt x="31339" y="373857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6" name="Freeform: Shape 585">
            <a:extLst>
              <a:ext uri="{FF2B5EF4-FFF2-40B4-BE49-F238E27FC236}">
                <a16:creationId xmlns:a16="http://schemas.microsoft.com/office/drawing/2014/main" id="{4083993C-7D65-19C5-82C1-5FD508F3B2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052888" y="4371975"/>
            <a:ext cx="2490787" cy="1304925"/>
          </a:xfrm>
          <a:custGeom>
            <a:avLst/>
            <a:gdLst>
              <a:gd name="connsiteX0" fmla="*/ 0 w 2490787"/>
              <a:gd name="connsiteY0" fmla="*/ 0 h 1304925"/>
              <a:gd name="connsiteX1" fmla="*/ 388143 w 2490787"/>
              <a:gd name="connsiteY1" fmla="*/ 640556 h 1304925"/>
              <a:gd name="connsiteX2" fmla="*/ 542925 w 2490787"/>
              <a:gd name="connsiteY2" fmla="*/ 762000 h 1304925"/>
              <a:gd name="connsiteX3" fmla="*/ 1042987 w 2490787"/>
              <a:gd name="connsiteY3" fmla="*/ 723900 h 1304925"/>
              <a:gd name="connsiteX4" fmla="*/ 2055018 w 2490787"/>
              <a:gd name="connsiteY4" fmla="*/ 914400 h 1304925"/>
              <a:gd name="connsiteX5" fmla="*/ 2490787 w 2490787"/>
              <a:gd name="connsiteY5" fmla="*/ 1304925 h 130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90787" h="1304925">
                <a:moveTo>
                  <a:pt x="0" y="0"/>
                </a:moveTo>
                <a:cubicBezTo>
                  <a:pt x="148828" y="256778"/>
                  <a:pt x="297656" y="513556"/>
                  <a:pt x="388143" y="640556"/>
                </a:cubicBezTo>
                <a:cubicBezTo>
                  <a:pt x="478630" y="767556"/>
                  <a:pt x="433784" y="748109"/>
                  <a:pt x="542925" y="762000"/>
                </a:cubicBezTo>
                <a:cubicBezTo>
                  <a:pt x="652066" y="775891"/>
                  <a:pt x="790972" y="698500"/>
                  <a:pt x="1042987" y="723900"/>
                </a:cubicBezTo>
                <a:cubicBezTo>
                  <a:pt x="1295002" y="749300"/>
                  <a:pt x="1813718" y="817563"/>
                  <a:pt x="2055018" y="914400"/>
                </a:cubicBezTo>
                <a:cubicBezTo>
                  <a:pt x="2296318" y="1011237"/>
                  <a:pt x="2393552" y="1158081"/>
                  <a:pt x="2490787" y="1304925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7" name="Freeform: Shape 586">
            <a:extLst>
              <a:ext uri="{FF2B5EF4-FFF2-40B4-BE49-F238E27FC236}">
                <a16:creationId xmlns:a16="http://schemas.microsoft.com/office/drawing/2014/main" id="{99F16737-55E7-18F5-F032-3795619A27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24525" y="4657725"/>
            <a:ext cx="569119" cy="526256"/>
          </a:xfrm>
          <a:custGeom>
            <a:avLst/>
            <a:gdLst>
              <a:gd name="connsiteX0" fmla="*/ 0 w 569119"/>
              <a:gd name="connsiteY0" fmla="*/ 526256 h 526256"/>
              <a:gd name="connsiteX1" fmla="*/ 340519 w 569119"/>
              <a:gd name="connsiteY1" fmla="*/ 402431 h 526256"/>
              <a:gd name="connsiteX2" fmla="*/ 569119 w 569119"/>
              <a:gd name="connsiteY2" fmla="*/ 0 h 52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9119" h="526256">
                <a:moveTo>
                  <a:pt x="0" y="526256"/>
                </a:moveTo>
                <a:cubicBezTo>
                  <a:pt x="122833" y="508198"/>
                  <a:pt x="245666" y="490140"/>
                  <a:pt x="340519" y="402431"/>
                </a:cubicBezTo>
                <a:cubicBezTo>
                  <a:pt x="435372" y="314722"/>
                  <a:pt x="502245" y="157361"/>
                  <a:pt x="569119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8" name="Freeform: Shape 587">
            <a:extLst>
              <a:ext uri="{FF2B5EF4-FFF2-40B4-BE49-F238E27FC236}">
                <a16:creationId xmlns:a16="http://schemas.microsoft.com/office/drawing/2014/main" id="{F7614CDC-D612-1B45-BD4A-3A87717B80D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41256" y="5293519"/>
            <a:ext cx="304800" cy="79653"/>
          </a:xfrm>
          <a:custGeom>
            <a:avLst/>
            <a:gdLst>
              <a:gd name="connsiteX0" fmla="*/ 0 w 304800"/>
              <a:gd name="connsiteY0" fmla="*/ 59531 h 79653"/>
              <a:gd name="connsiteX1" fmla="*/ 159544 w 304800"/>
              <a:gd name="connsiteY1" fmla="*/ 76200 h 79653"/>
              <a:gd name="connsiteX2" fmla="*/ 304800 w 304800"/>
              <a:gd name="connsiteY2" fmla="*/ 0 h 7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4800" h="79653">
                <a:moveTo>
                  <a:pt x="0" y="59531"/>
                </a:moveTo>
                <a:cubicBezTo>
                  <a:pt x="54372" y="72826"/>
                  <a:pt x="108744" y="86122"/>
                  <a:pt x="159544" y="76200"/>
                </a:cubicBezTo>
                <a:cubicBezTo>
                  <a:pt x="210344" y="66278"/>
                  <a:pt x="257572" y="33139"/>
                  <a:pt x="30480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9" name="Rectangle 588">
            <a:extLst>
              <a:ext uri="{FF2B5EF4-FFF2-40B4-BE49-F238E27FC236}">
                <a16:creationId xmlns:a16="http://schemas.microsoft.com/office/drawing/2014/main" id="{E8C06B30-404D-D56C-CB02-9839EE65BE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529946" y="522920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90" name="Freeform: Shape 589">
            <a:extLst>
              <a:ext uri="{FF2B5EF4-FFF2-40B4-BE49-F238E27FC236}">
                <a16:creationId xmlns:a16="http://schemas.microsoft.com/office/drawing/2014/main" id="{8A7245A7-27D4-C53F-1936-FAB16C1706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535658" y="5542317"/>
            <a:ext cx="276293" cy="133410"/>
          </a:xfrm>
          <a:custGeom>
            <a:avLst/>
            <a:gdLst>
              <a:gd name="connsiteX0" fmla="*/ 0 w 276293"/>
              <a:gd name="connsiteY0" fmla="*/ 121700 h 133410"/>
              <a:gd name="connsiteX1" fmla="*/ 187484 w 276293"/>
              <a:gd name="connsiteY1" fmla="*/ 121700 h 133410"/>
              <a:gd name="connsiteX2" fmla="*/ 276293 w 276293"/>
              <a:gd name="connsiteY2" fmla="*/ 0 h 133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293" h="133410">
                <a:moveTo>
                  <a:pt x="0" y="121700"/>
                </a:moveTo>
                <a:cubicBezTo>
                  <a:pt x="70717" y="131841"/>
                  <a:pt x="141435" y="141983"/>
                  <a:pt x="187484" y="121700"/>
                </a:cubicBezTo>
                <a:cubicBezTo>
                  <a:pt x="233533" y="101417"/>
                  <a:pt x="254913" y="50708"/>
                  <a:pt x="276293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A54EEEA4-9352-22AD-9BF4-221093EA47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91726" y="548625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92" name="Freeform: Shape 591">
            <a:extLst>
              <a:ext uri="{FF2B5EF4-FFF2-40B4-BE49-F238E27FC236}">
                <a16:creationId xmlns:a16="http://schemas.microsoft.com/office/drawing/2014/main" id="{43E7A97F-77A5-341C-CA3B-830E31C6521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23143" y="4575289"/>
            <a:ext cx="736260" cy="1373410"/>
          </a:xfrm>
          <a:custGeom>
            <a:avLst/>
            <a:gdLst>
              <a:gd name="connsiteX0" fmla="*/ 0 w 736260"/>
              <a:gd name="connsiteY0" fmla="*/ 1338708 h 1373410"/>
              <a:gd name="connsiteX1" fmla="*/ 555876 w 736260"/>
              <a:gd name="connsiteY1" fmla="*/ 1292659 h 1373410"/>
              <a:gd name="connsiteX2" fmla="*/ 730204 w 736260"/>
              <a:gd name="connsiteY2" fmla="*/ 631528 h 1373410"/>
              <a:gd name="connsiteX3" fmla="*/ 378259 w 736260"/>
              <a:gd name="connsiteY3" fmla="*/ 0 h 1373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6260" h="1373410">
                <a:moveTo>
                  <a:pt x="0" y="1338708"/>
                </a:moveTo>
                <a:cubicBezTo>
                  <a:pt x="217087" y="1374615"/>
                  <a:pt x="434175" y="1410522"/>
                  <a:pt x="555876" y="1292659"/>
                </a:cubicBezTo>
                <a:cubicBezTo>
                  <a:pt x="677577" y="1174796"/>
                  <a:pt x="759807" y="846971"/>
                  <a:pt x="730204" y="631528"/>
                </a:cubicBezTo>
                <a:cubicBezTo>
                  <a:pt x="700601" y="416085"/>
                  <a:pt x="539430" y="208042"/>
                  <a:pt x="378259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2A5F46F8-5D18-B7E8-2B64-ADD4B43433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042323" y="452056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94" name="Freeform: Shape 593">
            <a:extLst>
              <a:ext uri="{FF2B5EF4-FFF2-40B4-BE49-F238E27FC236}">
                <a16:creationId xmlns:a16="http://schemas.microsoft.com/office/drawing/2014/main" id="{7EAE8957-2796-50AC-77CB-F438D52372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167186" y="5489683"/>
            <a:ext cx="960449" cy="444049"/>
          </a:xfrm>
          <a:custGeom>
            <a:avLst/>
            <a:gdLst>
              <a:gd name="connsiteX0" fmla="*/ 0 w 960449"/>
              <a:gd name="connsiteY0" fmla="*/ 444049 h 444049"/>
              <a:gd name="connsiteX1" fmla="*/ 447332 w 960449"/>
              <a:gd name="connsiteY1" fmla="*/ 213805 h 444049"/>
              <a:gd name="connsiteX2" fmla="*/ 608503 w 960449"/>
              <a:gd name="connsiteY2" fmla="*/ 6 h 444049"/>
              <a:gd name="connsiteX3" fmla="*/ 960449 w 960449"/>
              <a:gd name="connsiteY3" fmla="*/ 220383 h 444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0449" h="444049">
                <a:moveTo>
                  <a:pt x="0" y="444049"/>
                </a:moveTo>
                <a:cubicBezTo>
                  <a:pt x="172957" y="365930"/>
                  <a:pt x="345915" y="287812"/>
                  <a:pt x="447332" y="213805"/>
                </a:cubicBezTo>
                <a:cubicBezTo>
                  <a:pt x="548749" y="139798"/>
                  <a:pt x="522984" y="-1090"/>
                  <a:pt x="608503" y="6"/>
                </a:cubicBezTo>
                <a:cubicBezTo>
                  <a:pt x="694022" y="1102"/>
                  <a:pt x="827235" y="110742"/>
                  <a:pt x="960449" y="220383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5" name="Freeform: Shape 594">
            <a:extLst>
              <a:ext uri="{FF2B5EF4-FFF2-40B4-BE49-F238E27FC236}">
                <a16:creationId xmlns:a16="http://schemas.microsoft.com/office/drawing/2014/main" id="{11301AED-EE1F-7111-AE6A-DC00198B63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25669" y="5627836"/>
            <a:ext cx="263137" cy="267377"/>
          </a:xfrm>
          <a:custGeom>
            <a:avLst/>
            <a:gdLst>
              <a:gd name="connsiteX0" fmla="*/ 0 w 263137"/>
              <a:gd name="connsiteY0" fmla="*/ 0 h 267377"/>
              <a:gd name="connsiteX1" fmla="*/ 95387 w 263137"/>
              <a:gd name="connsiteY1" fmla="*/ 171039 h 267377"/>
              <a:gd name="connsiteX2" fmla="*/ 213799 w 263137"/>
              <a:gd name="connsiteY2" fmla="*/ 263137 h 267377"/>
              <a:gd name="connsiteX3" fmla="*/ 263137 w 263137"/>
              <a:gd name="connsiteY3" fmla="*/ 243401 h 26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137" h="267377">
                <a:moveTo>
                  <a:pt x="0" y="0"/>
                </a:moveTo>
                <a:cubicBezTo>
                  <a:pt x="29877" y="63591"/>
                  <a:pt x="59754" y="127183"/>
                  <a:pt x="95387" y="171039"/>
                </a:cubicBezTo>
                <a:cubicBezTo>
                  <a:pt x="131020" y="214895"/>
                  <a:pt x="185841" y="251077"/>
                  <a:pt x="213799" y="263137"/>
                </a:cubicBezTo>
                <a:cubicBezTo>
                  <a:pt x="241757" y="275197"/>
                  <a:pt x="252447" y="259299"/>
                  <a:pt x="263137" y="243401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D58CAA70-CDE9-2573-4DB5-8AAAE0E365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69701" y="583634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C308DDCD-78B3-ACC9-14C5-AA3BF03D898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18689" y="567214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598" name="Freeform: Shape 597">
            <a:extLst>
              <a:ext uri="{FF2B5EF4-FFF2-40B4-BE49-F238E27FC236}">
                <a16:creationId xmlns:a16="http://schemas.microsoft.com/office/drawing/2014/main" id="{6C540941-9191-7834-EC23-6DD398B531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538947" y="5667306"/>
            <a:ext cx="184196" cy="246345"/>
          </a:xfrm>
          <a:custGeom>
            <a:avLst/>
            <a:gdLst>
              <a:gd name="connsiteX0" fmla="*/ 0 w 190774"/>
              <a:gd name="connsiteY0" fmla="*/ 0 h 253270"/>
              <a:gd name="connsiteX1" fmla="*/ 78941 w 190774"/>
              <a:gd name="connsiteY1" fmla="*/ 157882 h 253270"/>
              <a:gd name="connsiteX2" fmla="*/ 190774 w 190774"/>
              <a:gd name="connsiteY2" fmla="*/ 253270 h 253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774" h="253270">
                <a:moveTo>
                  <a:pt x="0" y="0"/>
                </a:moveTo>
                <a:cubicBezTo>
                  <a:pt x="23572" y="57835"/>
                  <a:pt x="47145" y="115670"/>
                  <a:pt x="78941" y="157882"/>
                </a:cubicBezTo>
                <a:cubicBezTo>
                  <a:pt x="110737" y="200094"/>
                  <a:pt x="150755" y="226682"/>
                  <a:pt x="190774" y="25327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9" name="Freeform: Shape 598">
            <a:extLst>
              <a:ext uri="{FF2B5EF4-FFF2-40B4-BE49-F238E27FC236}">
                <a16:creationId xmlns:a16="http://schemas.microsoft.com/office/drawing/2014/main" id="{7FC74FB9-6F01-5AA1-C9C7-B6B5CC3D5B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03286" y="4127957"/>
            <a:ext cx="980185" cy="1854413"/>
          </a:xfrm>
          <a:custGeom>
            <a:avLst/>
            <a:gdLst>
              <a:gd name="connsiteX0" fmla="*/ 0 w 980185"/>
              <a:gd name="connsiteY0" fmla="*/ 1743280 h 1854413"/>
              <a:gd name="connsiteX1" fmla="*/ 161172 w 980185"/>
              <a:gd name="connsiteY1" fmla="*/ 1845246 h 1854413"/>
              <a:gd name="connsiteX2" fmla="*/ 328921 w 980185"/>
              <a:gd name="connsiteY2" fmla="*/ 1776172 h 1854413"/>
              <a:gd name="connsiteX3" fmla="*/ 608504 w 980185"/>
              <a:gd name="connsiteY3" fmla="*/ 1197272 h 1854413"/>
              <a:gd name="connsiteX4" fmla="*/ 838749 w 980185"/>
              <a:gd name="connsiteY4" fmla="*/ 421019 h 1854413"/>
              <a:gd name="connsiteX5" fmla="*/ 980185 w 980185"/>
              <a:gd name="connsiteY5" fmla="*/ 0 h 1854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0185" h="1854413">
                <a:moveTo>
                  <a:pt x="0" y="1743280"/>
                </a:moveTo>
                <a:cubicBezTo>
                  <a:pt x="53176" y="1791522"/>
                  <a:pt x="106352" y="1839764"/>
                  <a:pt x="161172" y="1845246"/>
                </a:cubicBezTo>
                <a:cubicBezTo>
                  <a:pt x="215992" y="1850728"/>
                  <a:pt x="254366" y="1884168"/>
                  <a:pt x="328921" y="1776172"/>
                </a:cubicBezTo>
                <a:cubicBezTo>
                  <a:pt x="403476" y="1668176"/>
                  <a:pt x="523533" y="1423131"/>
                  <a:pt x="608504" y="1197272"/>
                </a:cubicBezTo>
                <a:cubicBezTo>
                  <a:pt x="693475" y="971413"/>
                  <a:pt x="776802" y="620564"/>
                  <a:pt x="838749" y="421019"/>
                </a:cubicBezTo>
                <a:cubicBezTo>
                  <a:pt x="900696" y="221474"/>
                  <a:pt x="940440" y="110737"/>
                  <a:pt x="980185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0" name="Freeform: Shape 599">
            <a:extLst>
              <a:ext uri="{FF2B5EF4-FFF2-40B4-BE49-F238E27FC236}">
                <a16:creationId xmlns:a16="http://schemas.microsoft.com/office/drawing/2014/main" id="{F4D27E4C-706A-AC30-5708-868397502F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42115" y="5039068"/>
            <a:ext cx="573799" cy="802567"/>
          </a:xfrm>
          <a:custGeom>
            <a:avLst/>
            <a:gdLst>
              <a:gd name="connsiteX0" fmla="*/ 522984 w 573799"/>
              <a:gd name="connsiteY0" fmla="*/ 802567 h 802567"/>
              <a:gd name="connsiteX1" fmla="*/ 569033 w 573799"/>
              <a:gd name="connsiteY1" fmla="*/ 582190 h 802567"/>
              <a:gd name="connsiteX2" fmla="*/ 421019 w 573799"/>
              <a:gd name="connsiteY2" fmla="*/ 447332 h 802567"/>
              <a:gd name="connsiteX3" fmla="*/ 134858 w 573799"/>
              <a:gd name="connsiteY3" fmla="*/ 332210 h 802567"/>
              <a:gd name="connsiteX4" fmla="*/ 0 w 573799"/>
              <a:gd name="connsiteY4" fmla="*/ 0 h 802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799" h="802567">
                <a:moveTo>
                  <a:pt x="522984" y="802567"/>
                </a:moveTo>
                <a:cubicBezTo>
                  <a:pt x="554505" y="721981"/>
                  <a:pt x="586027" y="641396"/>
                  <a:pt x="569033" y="582190"/>
                </a:cubicBezTo>
                <a:cubicBezTo>
                  <a:pt x="552039" y="522984"/>
                  <a:pt x="493381" y="488995"/>
                  <a:pt x="421019" y="447332"/>
                </a:cubicBezTo>
                <a:cubicBezTo>
                  <a:pt x="348656" y="405669"/>
                  <a:pt x="205028" y="406765"/>
                  <a:pt x="134858" y="332210"/>
                </a:cubicBezTo>
                <a:cubicBezTo>
                  <a:pt x="64688" y="257655"/>
                  <a:pt x="32344" y="128827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1EF2BE8A-E33B-E247-BB65-6EE89A305BC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06443" y="498169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02" name="Freeform: Shape 601">
            <a:extLst>
              <a:ext uri="{FF2B5EF4-FFF2-40B4-BE49-F238E27FC236}">
                <a16:creationId xmlns:a16="http://schemas.microsoft.com/office/drawing/2014/main" id="{98D6422A-06DC-FCA7-7DF4-3A877B18AF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96026" y="5269312"/>
            <a:ext cx="225830" cy="302607"/>
          </a:xfrm>
          <a:custGeom>
            <a:avLst/>
            <a:gdLst>
              <a:gd name="connsiteX0" fmla="*/ 210509 w 225830"/>
              <a:gd name="connsiteY0" fmla="*/ 302607 h 302607"/>
              <a:gd name="connsiteX1" fmla="*/ 203931 w 225830"/>
              <a:gd name="connsiteY1" fmla="*/ 151304 h 302607"/>
              <a:gd name="connsiteX2" fmla="*/ 0 w 225830"/>
              <a:gd name="connsiteY2" fmla="*/ 0 h 302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5830" h="302607">
                <a:moveTo>
                  <a:pt x="210509" y="302607"/>
                </a:moveTo>
                <a:cubicBezTo>
                  <a:pt x="224762" y="252172"/>
                  <a:pt x="239016" y="201738"/>
                  <a:pt x="203931" y="151304"/>
                </a:cubicBezTo>
                <a:cubicBezTo>
                  <a:pt x="168846" y="100869"/>
                  <a:pt x="84423" y="50434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3" name="Rectangle 602">
            <a:extLst>
              <a:ext uri="{FF2B5EF4-FFF2-40B4-BE49-F238E27FC236}">
                <a16:creationId xmlns:a16="http://schemas.microsoft.com/office/drawing/2014/main" id="{C6A460A3-F3C8-62B1-93AD-FFEE448F8B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40387" y="521152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04" name="Freeform: Shape 603">
            <a:extLst>
              <a:ext uri="{FF2B5EF4-FFF2-40B4-BE49-F238E27FC236}">
                <a16:creationId xmlns:a16="http://schemas.microsoft.com/office/drawing/2014/main" id="{A48222A9-5525-1938-31C4-F196109597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87482" y="4585157"/>
            <a:ext cx="466529" cy="621660"/>
          </a:xfrm>
          <a:custGeom>
            <a:avLst/>
            <a:gdLst>
              <a:gd name="connsiteX0" fmla="*/ 463778 w 466529"/>
              <a:gd name="connsiteY0" fmla="*/ 621660 h 621660"/>
              <a:gd name="connsiteX1" fmla="*/ 424308 w 466529"/>
              <a:gd name="connsiteY1" fmla="*/ 397994 h 621660"/>
              <a:gd name="connsiteX2" fmla="*/ 171039 w 466529"/>
              <a:gd name="connsiteY2" fmla="*/ 233534 h 621660"/>
              <a:gd name="connsiteX3" fmla="*/ 0 w 466529"/>
              <a:gd name="connsiteY3" fmla="*/ 0 h 621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529" h="621660">
                <a:moveTo>
                  <a:pt x="463778" y="621660"/>
                </a:moveTo>
                <a:cubicBezTo>
                  <a:pt x="468438" y="542171"/>
                  <a:pt x="473098" y="462682"/>
                  <a:pt x="424308" y="397994"/>
                </a:cubicBezTo>
                <a:cubicBezTo>
                  <a:pt x="375518" y="333306"/>
                  <a:pt x="241757" y="299866"/>
                  <a:pt x="171039" y="233534"/>
                </a:cubicBezTo>
                <a:cubicBezTo>
                  <a:pt x="100321" y="167202"/>
                  <a:pt x="50160" y="83601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5" name="Rectangle 604">
            <a:extLst>
              <a:ext uri="{FF2B5EF4-FFF2-40B4-BE49-F238E27FC236}">
                <a16:creationId xmlns:a16="http://schemas.microsoft.com/office/drawing/2014/main" id="{9D5B74A9-E154-5FDD-17B2-F7CA82258F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31634" y="452056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06" name="Freeform: Shape 605">
            <a:extLst>
              <a:ext uri="{FF2B5EF4-FFF2-40B4-BE49-F238E27FC236}">
                <a16:creationId xmlns:a16="http://schemas.microsoft.com/office/drawing/2014/main" id="{A3176EDF-5ADF-E501-F9D8-A7D6279C48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44682" y="4423986"/>
            <a:ext cx="112349" cy="424308"/>
          </a:xfrm>
          <a:custGeom>
            <a:avLst/>
            <a:gdLst>
              <a:gd name="connsiteX0" fmla="*/ 111833 w 112349"/>
              <a:gd name="connsiteY0" fmla="*/ 424308 h 424308"/>
              <a:gd name="connsiteX1" fmla="*/ 95387 w 112349"/>
              <a:gd name="connsiteY1" fmla="*/ 184195 h 424308"/>
              <a:gd name="connsiteX2" fmla="*/ 0 w 112349"/>
              <a:gd name="connsiteY2" fmla="*/ 0 h 4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349" h="424308">
                <a:moveTo>
                  <a:pt x="111833" y="424308"/>
                </a:moveTo>
                <a:cubicBezTo>
                  <a:pt x="112929" y="339610"/>
                  <a:pt x="114026" y="254913"/>
                  <a:pt x="95387" y="184195"/>
                </a:cubicBezTo>
                <a:cubicBezTo>
                  <a:pt x="76748" y="113477"/>
                  <a:pt x="38374" y="56738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6B024331-8817-B2A3-E985-BE9E1C2447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790044" y="436771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08" name="Freeform: Shape 607">
            <a:extLst>
              <a:ext uri="{FF2B5EF4-FFF2-40B4-BE49-F238E27FC236}">
                <a16:creationId xmlns:a16="http://schemas.microsoft.com/office/drawing/2014/main" id="{9DDB2244-D38F-906E-CBE1-5E27B4A30E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84153" y="4960127"/>
            <a:ext cx="391416" cy="151303"/>
          </a:xfrm>
          <a:custGeom>
            <a:avLst/>
            <a:gdLst>
              <a:gd name="connsiteX0" fmla="*/ 0 w 391416"/>
              <a:gd name="connsiteY0" fmla="*/ 151303 h 151303"/>
              <a:gd name="connsiteX1" fmla="*/ 131568 w 391416"/>
              <a:gd name="connsiteY1" fmla="*/ 39470 h 151303"/>
              <a:gd name="connsiteX2" fmla="*/ 391416 w 391416"/>
              <a:gd name="connsiteY2" fmla="*/ 0 h 15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1416" h="151303">
                <a:moveTo>
                  <a:pt x="0" y="151303"/>
                </a:moveTo>
                <a:cubicBezTo>
                  <a:pt x="33166" y="107995"/>
                  <a:pt x="66332" y="64687"/>
                  <a:pt x="131568" y="39470"/>
                </a:cubicBezTo>
                <a:cubicBezTo>
                  <a:pt x="196804" y="14253"/>
                  <a:pt x="294110" y="7126"/>
                  <a:pt x="391416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CEBC501D-EADE-8A60-3A3C-7F1CEA428F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68993" y="492649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10" name="Freeform: Shape 609">
            <a:extLst>
              <a:ext uri="{FF2B5EF4-FFF2-40B4-BE49-F238E27FC236}">
                <a16:creationId xmlns:a16="http://schemas.microsoft.com/office/drawing/2014/main" id="{CB8485F9-AB87-D7FF-099C-CF6DDF21E1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045324" y="4430564"/>
            <a:ext cx="118411" cy="105255"/>
          </a:xfrm>
          <a:custGeom>
            <a:avLst/>
            <a:gdLst>
              <a:gd name="connsiteX0" fmla="*/ 0 w 118411"/>
              <a:gd name="connsiteY0" fmla="*/ 105255 h 105255"/>
              <a:gd name="connsiteX1" fmla="*/ 69073 w 118411"/>
              <a:gd name="connsiteY1" fmla="*/ 32892 h 105255"/>
              <a:gd name="connsiteX2" fmla="*/ 118411 w 118411"/>
              <a:gd name="connsiteY2" fmla="*/ 0 h 10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411" h="105255">
                <a:moveTo>
                  <a:pt x="0" y="105255"/>
                </a:moveTo>
                <a:cubicBezTo>
                  <a:pt x="24669" y="77844"/>
                  <a:pt x="49338" y="50434"/>
                  <a:pt x="69073" y="32892"/>
                </a:cubicBezTo>
                <a:cubicBezTo>
                  <a:pt x="88808" y="15349"/>
                  <a:pt x="103609" y="7674"/>
                  <a:pt x="118411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79D3DD90-38FB-755B-0C6D-3D9D8C3F230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47145" y="439200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14CEC058-E41F-D5FF-6F39-F7FB6E8519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626554" y="322710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13" name="Freeform: Shape 612">
            <a:extLst>
              <a:ext uri="{FF2B5EF4-FFF2-40B4-BE49-F238E27FC236}">
                <a16:creationId xmlns:a16="http://schemas.microsoft.com/office/drawing/2014/main" id="{5A48BD26-108F-DA4F-EEB8-4A5F80E6EA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83471" y="3539188"/>
            <a:ext cx="907428" cy="592058"/>
          </a:xfrm>
          <a:custGeom>
            <a:avLst/>
            <a:gdLst>
              <a:gd name="connsiteX0" fmla="*/ 0 w 907428"/>
              <a:gd name="connsiteY0" fmla="*/ 592058 h 592058"/>
              <a:gd name="connsiteX1" fmla="*/ 424307 w 907428"/>
              <a:gd name="connsiteY1" fmla="*/ 322343 h 592058"/>
              <a:gd name="connsiteX2" fmla="*/ 638106 w 907428"/>
              <a:gd name="connsiteY2" fmla="*/ 263137 h 592058"/>
              <a:gd name="connsiteX3" fmla="*/ 878218 w 907428"/>
              <a:gd name="connsiteY3" fmla="*/ 88809 h 592058"/>
              <a:gd name="connsiteX4" fmla="*/ 894664 w 907428"/>
              <a:gd name="connsiteY4" fmla="*/ 0 h 592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7428" h="592058">
                <a:moveTo>
                  <a:pt x="0" y="592058"/>
                </a:moveTo>
                <a:cubicBezTo>
                  <a:pt x="158978" y="484610"/>
                  <a:pt x="317956" y="377163"/>
                  <a:pt x="424307" y="322343"/>
                </a:cubicBezTo>
                <a:cubicBezTo>
                  <a:pt x="530658" y="267523"/>
                  <a:pt x="562454" y="302059"/>
                  <a:pt x="638106" y="263137"/>
                </a:cubicBezTo>
                <a:cubicBezTo>
                  <a:pt x="713758" y="224215"/>
                  <a:pt x="835458" y="132665"/>
                  <a:pt x="878218" y="88809"/>
                </a:cubicBezTo>
                <a:cubicBezTo>
                  <a:pt x="920978" y="44953"/>
                  <a:pt x="907821" y="22476"/>
                  <a:pt x="894664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4" name="Freeform: Shape 613">
            <a:extLst>
              <a:ext uri="{FF2B5EF4-FFF2-40B4-BE49-F238E27FC236}">
                <a16:creationId xmlns:a16="http://schemas.microsoft.com/office/drawing/2014/main" id="{28BD4611-4A99-640D-0D6C-8D012F08AB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65701" y="3558924"/>
            <a:ext cx="174328" cy="361813"/>
          </a:xfrm>
          <a:custGeom>
            <a:avLst/>
            <a:gdLst>
              <a:gd name="connsiteX0" fmla="*/ 0 w 174328"/>
              <a:gd name="connsiteY0" fmla="*/ 361813 h 361813"/>
              <a:gd name="connsiteX1" fmla="*/ 128279 w 174328"/>
              <a:gd name="connsiteY1" fmla="*/ 124990 h 361813"/>
              <a:gd name="connsiteX2" fmla="*/ 174328 w 174328"/>
              <a:gd name="connsiteY2" fmla="*/ 0 h 36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328" h="361813">
                <a:moveTo>
                  <a:pt x="0" y="361813"/>
                </a:moveTo>
                <a:cubicBezTo>
                  <a:pt x="49612" y="273552"/>
                  <a:pt x="99224" y="185292"/>
                  <a:pt x="128279" y="124990"/>
                </a:cubicBezTo>
                <a:cubicBezTo>
                  <a:pt x="157334" y="64688"/>
                  <a:pt x="165831" y="32344"/>
                  <a:pt x="174328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5" name="Freeform: Shape 614">
            <a:extLst>
              <a:ext uri="{FF2B5EF4-FFF2-40B4-BE49-F238E27FC236}">
                <a16:creationId xmlns:a16="http://schemas.microsoft.com/office/drawing/2014/main" id="{562F3420-500F-D56E-7591-549148C78C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690089" y="3282630"/>
            <a:ext cx="581750" cy="848616"/>
          </a:xfrm>
          <a:custGeom>
            <a:avLst/>
            <a:gdLst>
              <a:gd name="connsiteX0" fmla="*/ 490092 w 581750"/>
              <a:gd name="connsiteY0" fmla="*/ 848616 h 848616"/>
              <a:gd name="connsiteX1" fmla="*/ 575612 w 581750"/>
              <a:gd name="connsiteY1" fmla="*/ 621661 h 848616"/>
              <a:gd name="connsiteX2" fmla="*/ 549298 w 581750"/>
              <a:gd name="connsiteY2" fmla="*/ 342078 h 848616"/>
              <a:gd name="connsiteX3" fmla="*/ 345367 w 581750"/>
              <a:gd name="connsiteY3" fmla="*/ 95387 h 848616"/>
              <a:gd name="connsiteX4" fmla="*/ 0 w 581750"/>
              <a:gd name="connsiteY4" fmla="*/ 0 h 84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750" h="848616">
                <a:moveTo>
                  <a:pt x="490092" y="848616"/>
                </a:moveTo>
                <a:cubicBezTo>
                  <a:pt x="527918" y="777350"/>
                  <a:pt x="565744" y="706084"/>
                  <a:pt x="575612" y="621661"/>
                </a:cubicBezTo>
                <a:cubicBezTo>
                  <a:pt x="585480" y="537238"/>
                  <a:pt x="587672" y="429790"/>
                  <a:pt x="549298" y="342078"/>
                </a:cubicBezTo>
                <a:cubicBezTo>
                  <a:pt x="510924" y="254366"/>
                  <a:pt x="436916" y="152400"/>
                  <a:pt x="345367" y="95387"/>
                </a:cubicBezTo>
                <a:cubicBezTo>
                  <a:pt x="253818" y="38374"/>
                  <a:pt x="126909" y="19187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6" name="Freeform: Shape 615">
            <a:extLst>
              <a:ext uri="{FF2B5EF4-FFF2-40B4-BE49-F238E27FC236}">
                <a16:creationId xmlns:a16="http://schemas.microsoft.com/office/drawing/2014/main" id="{AEE28720-289F-C256-5512-EB9A14AA26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86759" y="3924026"/>
            <a:ext cx="46969" cy="194063"/>
          </a:xfrm>
          <a:custGeom>
            <a:avLst/>
            <a:gdLst>
              <a:gd name="connsiteX0" fmla="*/ 0 w 46969"/>
              <a:gd name="connsiteY0" fmla="*/ 194063 h 194063"/>
              <a:gd name="connsiteX1" fmla="*/ 46049 w 46969"/>
              <a:gd name="connsiteY1" fmla="*/ 49338 h 194063"/>
              <a:gd name="connsiteX2" fmla="*/ 26314 w 46969"/>
              <a:gd name="connsiteY2" fmla="*/ 0 h 194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969" h="194063">
                <a:moveTo>
                  <a:pt x="0" y="194063"/>
                </a:moveTo>
                <a:cubicBezTo>
                  <a:pt x="20831" y="137872"/>
                  <a:pt x="41663" y="81682"/>
                  <a:pt x="46049" y="49338"/>
                </a:cubicBezTo>
                <a:cubicBezTo>
                  <a:pt x="50435" y="16994"/>
                  <a:pt x="38374" y="8497"/>
                  <a:pt x="26314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97EC5CBA-BCC1-93A6-8AA2-6E2237418A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40349" y="389017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18" name="Freeform: Shape 617">
            <a:extLst>
              <a:ext uri="{FF2B5EF4-FFF2-40B4-BE49-F238E27FC236}">
                <a16:creationId xmlns:a16="http://schemas.microsoft.com/office/drawing/2014/main" id="{FBD0376F-8F65-30BC-3613-B4AAD77C8A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33491" y="3483272"/>
            <a:ext cx="335499" cy="407862"/>
          </a:xfrm>
          <a:custGeom>
            <a:avLst/>
            <a:gdLst>
              <a:gd name="connsiteX0" fmla="*/ 335499 w 335499"/>
              <a:gd name="connsiteY0" fmla="*/ 407862 h 407862"/>
              <a:gd name="connsiteX1" fmla="*/ 243401 w 335499"/>
              <a:gd name="connsiteY1" fmla="*/ 154593 h 407862"/>
              <a:gd name="connsiteX2" fmla="*/ 0 w 335499"/>
              <a:gd name="connsiteY2" fmla="*/ 0 h 407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5499" h="407862">
                <a:moveTo>
                  <a:pt x="335499" y="407862"/>
                </a:moveTo>
                <a:cubicBezTo>
                  <a:pt x="317408" y="315216"/>
                  <a:pt x="299317" y="222570"/>
                  <a:pt x="243401" y="154593"/>
                </a:cubicBezTo>
                <a:cubicBezTo>
                  <a:pt x="187485" y="86616"/>
                  <a:pt x="93742" y="43308"/>
                  <a:pt x="0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8AF3A655-F1DE-CBDE-435F-FDDC0CEE47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76310" y="344215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27F65AE8-7574-6B9F-5B62-87A555213B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408218" y="349827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1" name="TextBox 620">
            <a:extLst>
              <a:ext uri="{FF2B5EF4-FFF2-40B4-BE49-F238E27FC236}">
                <a16:creationId xmlns:a16="http://schemas.microsoft.com/office/drawing/2014/main" id="{D4A7475B-A23A-D9A0-9D84-966BE5A66CB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78899" y="2482505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Zabaykals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22" name="TextBox 621">
            <a:extLst>
              <a:ext uri="{FF2B5EF4-FFF2-40B4-BE49-F238E27FC236}">
                <a16:creationId xmlns:a16="http://schemas.microsoft.com/office/drawing/2014/main" id="{D4CB446D-AF43-D4AB-6A16-7A08B39B475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85578" y="314031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ali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23" name="Freeform: Shape 622">
            <a:extLst>
              <a:ext uri="{FF2B5EF4-FFF2-40B4-BE49-F238E27FC236}">
                <a16:creationId xmlns:a16="http://schemas.microsoft.com/office/drawing/2014/main" id="{88D2F7E3-A2FF-8D10-E121-56DC7AFC38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917426" y="1988574"/>
            <a:ext cx="787455" cy="1152832"/>
          </a:xfrm>
          <a:custGeom>
            <a:avLst/>
            <a:gdLst>
              <a:gd name="connsiteX0" fmla="*/ 624348 w 787455"/>
              <a:gd name="connsiteY0" fmla="*/ 1152832 h 1152832"/>
              <a:gd name="connsiteX1" fmla="*/ 786580 w 787455"/>
              <a:gd name="connsiteY1" fmla="*/ 978310 h 1152832"/>
              <a:gd name="connsiteX2" fmla="*/ 675968 w 787455"/>
              <a:gd name="connsiteY2" fmla="*/ 683342 h 1152832"/>
              <a:gd name="connsiteX3" fmla="*/ 408039 w 787455"/>
              <a:gd name="connsiteY3" fmla="*/ 575187 h 1152832"/>
              <a:gd name="connsiteX4" fmla="*/ 194187 w 787455"/>
              <a:gd name="connsiteY4" fmla="*/ 186813 h 1152832"/>
              <a:gd name="connsiteX5" fmla="*/ 0 w 787455"/>
              <a:gd name="connsiteY5" fmla="*/ 0 h 1152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7455" h="1152832">
                <a:moveTo>
                  <a:pt x="624348" y="1152832"/>
                </a:moveTo>
                <a:cubicBezTo>
                  <a:pt x="701162" y="1104695"/>
                  <a:pt x="777977" y="1056558"/>
                  <a:pt x="786580" y="978310"/>
                </a:cubicBezTo>
                <a:cubicBezTo>
                  <a:pt x="795183" y="900062"/>
                  <a:pt x="739058" y="750529"/>
                  <a:pt x="675968" y="683342"/>
                </a:cubicBezTo>
                <a:cubicBezTo>
                  <a:pt x="612878" y="616155"/>
                  <a:pt x="488336" y="657942"/>
                  <a:pt x="408039" y="575187"/>
                </a:cubicBezTo>
                <a:cubicBezTo>
                  <a:pt x="327742" y="492432"/>
                  <a:pt x="262193" y="282677"/>
                  <a:pt x="194187" y="186813"/>
                </a:cubicBezTo>
                <a:cubicBezTo>
                  <a:pt x="126181" y="90949"/>
                  <a:pt x="63090" y="45474"/>
                  <a:pt x="0" y="0"/>
                </a:cubicBezTo>
              </a:path>
            </a:pathLst>
          </a:custGeom>
          <a:ln w="9525" cap="flat" cmpd="sng" algn="ctr">
            <a:solidFill>
              <a:schemeClr val="accent6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06C32BAE-EB10-C97A-388C-44B3367ADA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024722" y="347663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5" name="Freeform: Shape 624">
            <a:extLst>
              <a:ext uri="{FF2B5EF4-FFF2-40B4-BE49-F238E27FC236}">
                <a16:creationId xmlns:a16="http://schemas.microsoft.com/office/drawing/2014/main" id="{45370751-2A83-70FD-3B96-B1314D8853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642555" y="2735826"/>
            <a:ext cx="299884" cy="511277"/>
          </a:xfrm>
          <a:custGeom>
            <a:avLst/>
            <a:gdLst>
              <a:gd name="connsiteX0" fmla="*/ 299884 w 299884"/>
              <a:gd name="connsiteY0" fmla="*/ 511277 h 511277"/>
              <a:gd name="connsiteX1" fmla="*/ 208935 w 299884"/>
              <a:gd name="connsiteY1" fmla="*/ 213851 h 511277"/>
              <a:gd name="connsiteX2" fmla="*/ 0 w 299884"/>
              <a:gd name="connsiteY2" fmla="*/ 0 h 5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9884" h="511277">
                <a:moveTo>
                  <a:pt x="299884" y="511277"/>
                </a:moveTo>
                <a:cubicBezTo>
                  <a:pt x="279400" y="405170"/>
                  <a:pt x="258916" y="299064"/>
                  <a:pt x="208935" y="213851"/>
                </a:cubicBezTo>
                <a:cubicBezTo>
                  <a:pt x="158954" y="128638"/>
                  <a:pt x="79477" y="64319"/>
                  <a:pt x="0" y="0"/>
                </a:cubicBezTo>
              </a:path>
            </a:pathLst>
          </a:custGeom>
          <a:ln w="9525" cap="flat" cmpd="sng" algn="ctr">
            <a:solidFill>
              <a:schemeClr val="accent6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6" name="Rectangle 625">
            <a:extLst>
              <a:ext uri="{FF2B5EF4-FFF2-40B4-BE49-F238E27FC236}">
                <a16:creationId xmlns:a16="http://schemas.microsoft.com/office/drawing/2014/main" id="{F5282F75-44FC-20FA-1C6B-89B04FF9A6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24642" y="3131311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7" name="Rectangle 626">
            <a:extLst>
              <a:ext uri="{FF2B5EF4-FFF2-40B4-BE49-F238E27FC236}">
                <a16:creationId xmlns:a16="http://schemas.microsoft.com/office/drawing/2014/main" id="{8E557E81-7234-9583-8B07-547CA939CD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01354" y="323401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8" name="Isosceles Triangle 627">
            <a:extLst>
              <a:ext uri="{FF2B5EF4-FFF2-40B4-BE49-F238E27FC236}">
                <a16:creationId xmlns:a16="http://schemas.microsoft.com/office/drawing/2014/main" id="{D74983AE-C555-FED1-0816-EE0421380A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8588005">
            <a:off x="7868212" y="1937736"/>
            <a:ext cx="61642" cy="68452"/>
          </a:xfrm>
          <a:prstGeom prst="triangl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29" name="Rectangle: Rounded Corners 628">
            <a:extLst>
              <a:ext uri="{FF2B5EF4-FFF2-40B4-BE49-F238E27FC236}">
                <a16:creationId xmlns:a16="http://schemas.microsoft.com/office/drawing/2014/main" id="{C8528A3B-1958-E754-E8DE-7A18371AA0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978301" y="1809668"/>
            <a:ext cx="149465" cy="14169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5</a:t>
            </a:r>
          </a:p>
        </p:txBody>
      </p:sp>
      <p:sp>
        <p:nvSpPr>
          <p:cNvPr id="630" name="Rectangle 629">
            <a:extLst>
              <a:ext uri="{FF2B5EF4-FFF2-40B4-BE49-F238E27FC236}">
                <a16:creationId xmlns:a16="http://schemas.microsoft.com/office/drawing/2014/main" id="{8E62F323-3C42-9D25-122D-28FB3248BE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418819" y="185499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31" name="TextBox 630">
            <a:extLst>
              <a:ext uri="{FF2B5EF4-FFF2-40B4-BE49-F238E27FC236}">
                <a16:creationId xmlns:a16="http://schemas.microsoft.com/office/drawing/2014/main" id="{59077E2D-F473-344F-E888-7C47A215ECC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513678" y="1806804"/>
            <a:ext cx="292706" cy="179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t. Petersbur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32" name="Rectangle 631">
            <a:extLst>
              <a:ext uri="{FF2B5EF4-FFF2-40B4-BE49-F238E27FC236}">
                <a16:creationId xmlns:a16="http://schemas.microsoft.com/office/drawing/2014/main" id="{356BACE1-D6F6-4B32-B00F-330E190BDB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715881" y="211333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653048EF-913C-1F15-D7B5-9413B0EEC95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705642" y="2171401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oscow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C8CAE7AD-D4A7-BB6B-F372-007595AB76B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108608" y="2250064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Petropavlovs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35" name="Freeform: Shape 634">
            <a:extLst>
              <a:ext uri="{FF2B5EF4-FFF2-40B4-BE49-F238E27FC236}">
                <a16:creationId xmlns:a16="http://schemas.microsoft.com/office/drawing/2014/main" id="{4CD261CB-E824-6574-A897-0BC9D6A4E2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53745" y="1862459"/>
            <a:ext cx="1121234" cy="349399"/>
          </a:xfrm>
          <a:custGeom>
            <a:avLst/>
            <a:gdLst>
              <a:gd name="connsiteX0" fmla="*/ 0 w 1121234"/>
              <a:gd name="connsiteY0" fmla="*/ 291710 h 349399"/>
              <a:gd name="connsiteX1" fmla="*/ 246832 w 1121234"/>
              <a:gd name="connsiteY1" fmla="*/ 165489 h 349399"/>
              <a:gd name="connsiteX2" fmla="*/ 429151 w 1121234"/>
              <a:gd name="connsiteY2" fmla="*/ 347808 h 349399"/>
              <a:gd name="connsiteX3" fmla="*/ 734886 w 1121234"/>
              <a:gd name="connsiteY3" fmla="*/ 244027 h 349399"/>
              <a:gd name="connsiteX4" fmla="*/ 813424 w 1121234"/>
              <a:gd name="connsiteY4" fmla="*/ 70123 h 349399"/>
              <a:gd name="connsiteX5" fmla="*/ 1082695 w 1121234"/>
              <a:gd name="connsiteY5" fmla="*/ 30854 h 349399"/>
              <a:gd name="connsiteX6" fmla="*/ 1113549 w 1121234"/>
              <a:gd name="connsiteY6" fmla="*/ 0 h 349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1234" h="349399">
                <a:moveTo>
                  <a:pt x="0" y="291710"/>
                </a:moveTo>
                <a:cubicBezTo>
                  <a:pt x="87653" y="223924"/>
                  <a:pt x="175307" y="156139"/>
                  <a:pt x="246832" y="165489"/>
                </a:cubicBezTo>
                <a:cubicBezTo>
                  <a:pt x="318357" y="174839"/>
                  <a:pt x="347809" y="334718"/>
                  <a:pt x="429151" y="347808"/>
                </a:cubicBezTo>
                <a:cubicBezTo>
                  <a:pt x="510493" y="360898"/>
                  <a:pt x="670841" y="290308"/>
                  <a:pt x="734886" y="244027"/>
                </a:cubicBezTo>
                <a:cubicBezTo>
                  <a:pt x="798931" y="197746"/>
                  <a:pt x="755456" y="105652"/>
                  <a:pt x="813424" y="70123"/>
                </a:cubicBezTo>
                <a:cubicBezTo>
                  <a:pt x="871392" y="34594"/>
                  <a:pt x="1032674" y="42541"/>
                  <a:pt x="1082695" y="30854"/>
                </a:cubicBezTo>
                <a:cubicBezTo>
                  <a:pt x="1132716" y="19167"/>
                  <a:pt x="1123132" y="9583"/>
                  <a:pt x="1113549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6" name="Rectangle 635">
            <a:extLst>
              <a:ext uri="{FF2B5EF4-FFF2-40B4-BE49-F238E27FC236}">
                <a16:creationId xmlns:a16="http://schemas.microsoft.com/office/drawing/2014/main" id="{D2C6CA9E-624C-FDE3-4F21-430FA12BAE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242555" y="180556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37" name="Isosceles Triangle 636">
            <a:extLst>
              <a:ext uri="{FF2B5EF4-FFF2-40B4-BE49-F238E27FC236}">
                <a16:creationId xmlns:a16="http://schemas.microsoft.com/office/drawing/2014/main" id="{E1F8611E-70D0-03EB-93EB-38F545C292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627578">
            <a:off x="3246843" y="1820769"/>
            <a:ext cx="61642" cy="68452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38" name="Freeform: Shape 637">
            <a:extLst>
              <a:ext uri="{FF2B5EF4-FFF2-40B4-BE49-F238E27FC236}">
                <a16:creationId xmlns:a16="http://schemas.microsoft.com/office/drawing/2014/main" id="{96942070-8CEB-E156-2257-B4F90405B9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71825" y="1889092"/>
            <a:ext cx="252413" cy="28987"/>
          </a:xfrm>
          <a:custGeom>
            <a:avLst/>
            <a:gdLst>
              <a:gd name="connsiteX0" fmla="*/ 0 w 252413"/>
              <a:gd name="connsiteY0" fmla="*/ 14287 h 28987"/>
              <a:gd name="connsiteX1" fmla="*/ 133350 w 252413"/>
              <a:gd name="connsiteY1" fmla="*/ 28575 h 28987"/>
              <a:gd name="connsiteX2" fmla="*/ 252413 w 252413"/>
              <a:gd name="connsiteY2" fmla="*/ 0 h 2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2413" h="28987">
                <a:moveTo>
                  <a:pt x="0" y="14287"/>
                </a:moveTo>
                <a:cubicBezTo>
                  <a:pt x="45640" y="22621"/>
                  <a:pt x="91281" y="30956"/>
                  <a:pt x="133350" y="28575"/>
                </a:cubicBezTo>
                <a:cubicBezTo>
                  <a:pt x="175419" y="26194"/>
                  <a:pt x="213916" y="13097"/>
                  <a:pt x="252413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9" name="Isosceles Triangle 638">
            <a:extLst>
              <a:ext uri="{FF2B5EF4-FFF2-40B4-BE49-F238E27FC236}">
                <a16:creationId xmlns:a16="http://schemas.microsoft.com/office/drawing/2014/main" id="{1003D01A-01C6-6F86-159A-E0DA908D74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4406233">
            <a:off x="3388149" y="1858210"/>
            <a:ext cx="61642" cy="68452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40" name="Freeform: Shape 639">
            <a:extLst>
              <a:ext uri="{FF2B5EF4-FFF2-40B4-BE49-F238E27FC236}">
                <a16:creationId xmlns:a16="http://schemas.microsoft.com/office/drawing/2014/main" id="{3D5359BC-5388-F0FD-D5B6-571563450C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791415" y="2063089"/>
            <a:ext cx="5681399" cy="912056"/>
          </a:xfrm>
          <a:custGeom>
            <a:avLst/>
            <a:gdLst>
              <a:gd name="connsiteX0" fmla="*/ 5602372 w 5681399"/>
              <a:gd name="connsiteY0" fmla="*/ 912056 h 912056"/>
              <a:gd name="connsiteX1" fmla="*/ 5593451 w 5681399"/>
              <a:gd name="connsiteY1" fmla="*/ 519533 h 912056"/>
              <a:gd name="connsiteX2" fmla="*/ 4710275 w 5681399"/>
              <a:gd name="connsiteY2" fmla="*/ 162694 h 912056"/>
              <a:gd name="connsiteX3" fmla="*/ 3670981 w 5681399"/>
              <a:gd name="connsiteY3" fmla="*/ 332193 h 912056"/>
              <a:gd name="connsiteX4" fmla="*/ 1846642 w 5681399"/>
              <a:gd name="connsiteY4" fmla="*/ 15498 h 912056"/>
              <a:gd name="connsiteX5" fmla="*/ 0 w 5681399"/>
              <a:gd name="connsiteY5" fmla="*/ 77945 h 912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81399" h="912056">
                <a:moveTo>
                  <a:pt x="5602372" y="912056"/>
                </a:moveTo>
                <a:cubicBezTo>
                  <a:pt x="5672253" y="778241"/>
                  <a:pt x="5742134" y="644427"/>
                  <a:pt x="5593451" y="519533"/>
                </a:cubicBezTo>
                <a:cubicBezTo>
                  <a:pt x="5444768" y="394639"/>
                  <a:pt x="5030687" y="193917"/>
                  <a:pt x="4710275" y="162694"/>
                </a:cubicBezTo>
                <a:cubicBezTo>
                  <a:pt x="4389863" y="131471"/>
                  <a:pt x="4148253" y="356726"/>
                  <a:pt x="3670981" y="332193"/>
                </a:cubicBezTo>
                <a:cubicBezTo>
                  <a:pt x="3193709" y="307660"/>
                  <a:pt x="2458472" y="57873"/>
                  <a:pt x="1846642" y="15498"/>
                </a:cubicBezTo>
                <a:cubicBezTo>
                  <a:pt x="1234812" y="-26877"/>
                  <a:pt x="617406" y="25534"/>
                  <a:pt x="0" y="77945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1" name="Isosceles Triangle 640">
            <a:extLst>
              <a:ext uri="{FF2B5EF4-FFF2-40B4-BE49-F238E27FC236}">
                <a16:creationId xmlns:a16="http://schemas.microsoft.com/office/drawing/2014/main" id="{6B9E723D-F2D7-9EEC-ED27-4E62CFF28B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6200000">
            <a:off x="3780123" y="2104454"/>
            <a:ext cx="61642" cy="68452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42" name="Freeform: Shape 641">
            <a:extLst>
              <a:ext uri="{FF2B5EF4-FFF2-40B4-BE49-F238E27FC236}">
                <a16:creationId xmlns:a16="http://schemas.microsoft.com/office/drawing/2014/main" id="{C51A5A1E-573B-A66D-C1BC-3D57CF68F1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040582" y="1964267"/>
            <a:ext cx="212436" cy="757381"/>
          </a:xfrm>
          <a:custGeom>
            <a:avLst/>
            <a:gdLst>
              <a:gd name="connsiteX0" fmla="*/ 212436 w 212436"/>
              <a:gd name="connsiteY0" fmla="*/ 757381 h 757381"/>
              <a:gd name="connsiteX1" fmla="*/ 83127 w 212436"/>
              <a:gd name="connsiteY1" fmla="*/ 591127 h 757381"/>
              <a:gd name="connsiteX2" fmla="*/ 123151 w 212436"/>
              <a:gd name="connsiteY2" fmla="*/ 289406 h 757381"/>
              <a:gd name="connsiteX3" fmla="*/ 86206 w 212436"/>
              <a:gd name="connsiteY3" fmla="*/ 83127 h 757381"/>
              <a:gd name="connsiteX4" fmla="*/ 0 w 212436"/>
              <a:gd name="connsiteY4" fmla="*/ 0 h 757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436" h="757381">
                <a:moveTo>
                  <a:pt x="212436" y="757381"/>
                </a:moveTo>
                <a:cubicBezTo>
                  <a:pt x="155222" y="713252"/>
                  <a:pt x="98008" y="669123"/>
                  <a:pt x="83127" y="591127"/>
                </a:cubicBezTo>
                <a:cubicBezTo>
                  <a:pt x="68246" y="513131"/>
                  <a:pt x="122638" y="374073"/>
                  <a:pt x="123151" y="289406"/>
                </a:cubicBezTo>
                <a:cubicBezTo>
                  <a:pt x="123664" y="204739"/>
                  <a:pt x="106731" y="131361"/>
                  <a:pt x="86206" y="83127"/>
                </a:cubicBezTo>
                <a:cubicBezTo>
                  <a:pt x="65681" y="34893"/>
                  <a:pt x="32840" y="17446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3" name="Freeform: Shape 642">
            <a:extLst>
              <a:ext uri="{FF2B5EF4-FFF2-40B4-BE49-F238E27FC236}">
                <a16:creationId xmlns:a16="http://schemas.microsoft.com/office/drawing/2014/main" id="{29BFEE78-4AB9-6D70-0EB9-3E7EF5307A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120024" y="2167467"/>
            <a:ext cx="1003685" cy="387927"/>
          </a:xfrm>
          <a:custGeom>
            <a:avLst/>
            <a:gdLst>
              <a:gd name="connsiteX0" fmla="*/ 1003685 w 1003685"/>
              <a:gd name="connsiteY0" fmla="*/ 387927 h 387927"/>
              <a:gd name="connsiteX1" fmla="*/ 637309 w 1003685"/>
              <a:gd name="connsiteY1" fmla="*/ 298642 h 387927"/>
              <a:gd name="connsiteX2" fmla="*/ 421794 w 1003685"/>
              <a:gd name="connsiteY2" fmla="*/ 73891 h 387927"/>
              <a:gd name="connsiteX3" fmla="*/ 0 w 1003685"/>
              <a:gd name="connsiteY3" fmla="*/ 0 h 38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3685" h="387927">
                <a:moveTo>
                  <a:pt x="1003685" y="387927"/>
                </a:moveTo>
                <a:cubicBezTo>
                  <a:pt x="868988" y="369454"/>
                  <a:pt x="734291" y="350981"/>
                  <a:pt x="637309" y="298642"/>
                </a:cubicBezTo>
                <a:cubicBezTo>
                  <a:pt x="540327" y="246303"/>
                  <a:pt x="528012" y="123665"/>
                  <a:pt x="421794" y="73891"/>
                </a:cubicBezTo>
                <a:cubicBezTo>
                  <a:pt x="315576" y="24117"/>
                  <a:pt x="157788" y="12058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4" name="Freeform: Shape 643">
            <a:extLst>
              <a:ext uri="{FF2B5EF4-FFF2-40B4-BE49-F238E27FC236}">
                <a16:creationId xmlns:a16="http://schemas.microsoft.com/office/drawing/2014/main" id="{4A8D64F4-6B62-A021-25C4-F70B76E164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015952" y="2946400"/>
            <a:ext cx="277090" cy="38010"/>
          </a:xfrm>
          <a:custGeom>
            <a:avLst/>
            <a:gdLst>
              <a:gd name="connsiteX0" fmla="*/ 277090 w 277090"/>
              <a:gd name="connsiteY0" fmla="*/ 0 h 38010"/>
              <a:gd name="connsiteX1" fmla="*/ 0 w 277090"/>
              <a:gd name="connsiteY1" fmla="*/ 18473 h 38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090" h="38010">
                <a:moveTo>
                  <a:pt x="277090" y="0"/>
                </a:moveTo>
                <a:cubicBezTo>
                  <a:pt x="220389" y="29248"/>
                  <a:pt x="163689" y="58497"/>
                  <a:pt x="0" y="18473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5" name="Freeform: Shape 644">
            <a:extLst>
              <a:ext uri="{FF2B5EF4-FFF2-40B4-BE49-F238E27FC236}">
                <a16:creationId xmlns:a16="http://schemas.microsoft.com/office/drawing/2014/main" id="{8B2D1B45-F0D6-0C32-088D-CC4134542D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498109" y="2336800"/>
            <a:ext cx="1240752" cy="342581"/>
          </a:xfrm>
          <a:custGeom>
            <a:avLst/>
            <a:gdLst>
              <a:gd name="connsiteX0" fmla="*/ 1240752 w 1240752"/>
              <a:gd name="connsiteY0" fmla="*/ 332509 h 342581"/>
              <a:gd name="connsiteX1" fmla="*/ 782012 w 1240752"/>
              <a:gd name="connsiteY1" fmla="*/ 332509 h 342581"/>
              <a:gd name="connsiteX2" fmla="*/ 200121 w 1240752"/>
              <a:gd name="connsiteY2" fmla="*/ 227830 h 342581"/>
              <a:gd name="connsiteX3" fmla="*/ 0 w 1240752"/>
              <a:gd name="connsiteY3" fmla="*/ 0 h 342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0752" h="342581">
                <a:moveTo>
                  <a:pt x="1240752" y="332509"/>
                </a:moveTo>
                <a:cubicBezTo>
                  <a:pt x="1098101" y="341232"/>
                  <a:pt x="955450" y="349955"/>
                  <a:pt x="782012" y="332509"/>
                </a:cubicBezTo>
                <a:cubicBezTo>
                  <a:pt x="608574" y="315063"/>
                  <a:pt x="330456" y="283248"/>
                  <a:pt x="200121" y="227830"/>
                </a:cubicBezTo>
                <a:cubicBezTo>
                  <a:pt x="69786" y="172412"/>
                  <a:pt x="34893" y="86206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6" name="Isosceles Triangle 645">
            <a:extLst>
              <a:ext uri="{FF2B5EF4-FFF2-40B4-BE49-F238E27FC236}">
                <a16:creationId xmlns:a16="http://schemas.microsoft.com/office/drawing/2014/main" id="{E3D55F2F-E875-5648-B8E0-F4CFEDF5DD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20741087">
            <a:off x="4460399" y="2271997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47" name="Freeform: Shape 646">
            <a:extLst>
              <a:ext uri="{FF2B5EF4-FFF2-40B4-BE49-F238E27FC236}">
                <a16:creationId xmlns:a16="http://schemas.microsoft.com/office/drawing/2014/main" id="{EA4317FF-D6C7-7B55-5F90-504161DCCD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310909" y="2678545"/>
            <a:ext cx="969818" cy="289558"/>
          </a:xfrm>
          <a:custGeom>
            <a:avLst/>
            <a:gdLst>
              <a:gd name="connsiteX0" fmla="*/ 969818 w 969818"/>
              <a:gd name="connsiteY0" fmla="*/ 267855 h 289558"/>
              <a:gd name="connsiteX1" fmla="*/ 757382 w 969818"/>
              <a:gd name="connsiteY1" fmla="*/ 286328 h 289558"/>
              <a:gd name="connsiteX2" fmla="*/ 295564 w 969818"/>
              <a:gd name="connsiteY2" fmla="*/ 209358 h 289558"/>
              <a:gd name="connsiteX3" fmla="*/ 0 w 969818"/>
              <a:gd name="connsiteY3" fmla="*/ 0 h 289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9818" h="289558">
                <a:moveTo>
                  <a:pt x="969818" y="267855"/>
                </a:moveTo>
                <a:cubicBezTo>
                  <a:pt x="919788" y="281966"/>
                  <a:pt x="869758" y="296077"/>
                  <a:pt x="757382" y="286328"/>
                </a:cubicBezTo>
                <a:cubicBezTo>
                  <a:pt x="645006" y="276579"/>
                  <a:pt x="421794" y="257079"/>
                  <a:pt x="295564" y="209358"/>
                </a:cubicBezTo>
                <a:cubicBezTo>
                  <a:pt x="169334" y="161637"/>
                  <a:pt x="84667" y="80818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8" name="Rectangle 647">
            <a:extLst>
              <a:ext uri="{FF2B5EF4-FFF2-40B4-BE49-F238E27FC236}">
                <a16:creationId xmlns:a16="http://schemas.microsoft.com/office/drawing/2014/main" id="{9DEC6C85-98E1-4597-336A-BFBDA28CB0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358779" y="296451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BC641099-3853-2D6A-2C44-7BADFF652A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77556" y="252846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DCD60686-845A-CB7F-362F-C7F824E4F0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44582" y="293694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1" name="Rectangle 650">
            <a:extLst>
              <a:ext uri="{FF2B5EF4-FFF2-40B4-BE49-F238E27FC236}">
                <a16:creationId xmlns:a16="http://schemas.microsoft.com/office/drawing/2014/main" id="{3399CB2E-FA2B-3E1B-D9BD-C4197E7F4D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02355" y="232034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11683461-991E-15C5-57E0-F2F27E5CEC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508567" y="221686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16170FEE-F985-AAF1-74C4-5C0E27B7EF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504302" y="241018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4" name="Rectangle 653">
            <a:extLst>
              <a:ext uri="{FF2B5EF4-FFF2-40B4-BE49-F238E27FC236}">
                <a16:creationId xmlns:a16="http://schemas.microsoft.com/office/drawing/2014/main" id="{FA2B2223-06C7-F74A-E0C2-ED5789B8359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824360" y="417522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C05FE348-104B-D458-830F-DEA60E3B03F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911701" y="4127957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arach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56" name="Freeform: Shape 655">
            <a:extLst>
              <a:ext uri="{FF2B5EF4-FFF2-40B4-BE49-F238E27FC236}">
                <a16:creationId xmlns:a16="http://schemas.microsoft.com/office/drawing/2014/main" id="{925A7BD1-AFB8-315E-0475-33D659C31A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551405" y="4242643"/>
            <a:ext cx="352336" cy="910066"/>
          </a:xfrm>
          <a:custGeom>
            <a:avLst/>
            <a:gdLst>
              <a:gd name="connsiteX0" fmla="*/ 0 w 352336"/>
              <a:gd name="connsiteY0" fmla="*/ 910066 h 910066"/>
              <a:gd name="connsiteX1" fmla="*/ 325023 w 352336"/>
              <a:gd name="connsiteY1" fmla="*/ 554707 h 910066"/>
              <a:gd name="connsiteX2" fmla="*/ 312022 w 352336"/>
              <a:gd name="connsiteY2" fmla="*/ 0 h 91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2336" h="910066">
                <a:moveTo>
                  <a:pt x="0" y="910066"/>
                </a:moveTo>
                <a:cubicBezTo>
                  <a:pt x="136509" y="808225"/>
                  <a:pt x="273019" y="706385"/>
                  <a:pt x="325023" y="554707"/>
                </a:cubicBezTo>
                <a:cubicBezTo>
                  <a:pt x="377027" y="403029"/>
                  <a:pt x="344524" y="201514"/>
                  <a:pt x="312022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7" name="Freeform: Shape 656">
            <a:extLst>
              <a:ext uri="{FF2B5EF4-FFF2-40B4-BE49-F238E27FC236}">
                <a16:creationId xmlns:a16="http://schemas.microsoft.com/office/drawing/2014/main" id="{17DAE6CA-4241-5AB2-7B57-4CDEDF40FA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36399" y="3163564"/>
            <a:ext cx="132285" cy="1005407"/>
          </a:xfrm>
          <a:custGeom>
            <a:avLst/>
            <a:gdLst>
              <a:gd name="connsiteX0" fmla="*/ 122695 w 132285"/>
              <a:gd name="connsiteY0" fmla="*/ 1005407 h 1005407"/>
              <a:gd name="connsiteX1" fmla="*/ 122695 w 132285"/>
              <a:gd name="connsiteY1" fmla="*/ 719386 h 1005407"/>
              <a:gd name="connsiteX2" fmla="*/ 23021 w 132285"/>
              <a:gd name="connsiteY2" fmla="*/ 416030 h 1005407"/>
              <a:gd name="connsiteX3" fmla="*/ 1353 w 132285"/>
              <a:gd name="connsiteY3" fmla="*/ 143010 h 1005407"/>
              <a:gd name="connsiteX4" fmla="*/ 49023 w 132285"/>
              <a:gd name="connsiteY4" fmla="*/ 0 h 100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285" h="1005407">
                <a:moveTo>
                  <a:pt x="122695" y="1005407"/>
                </a:moveTo>
                <a:cubicBezTo>
                  <a:pt x="131001" y="911511"/>
                  <a:pt x="139307" y="817615"/>
                  <a:pt x="122695" y="719386"/>
                </a:cubicBezTo>
                <a:cubicBezTo>
                  <a:pt x="106083" y="621157"/>
                  <a:pt x="43245" y="512093"/>
                  <a:pt x="23021" y="416030"/>
                </a:cubicBezTo>
                <a:cubicBezTo>
                  <a:pt x="2797" y="319967"/>
                  <a:pt x="-2981" y="212348"/>
                  <a:pt x="1353" y="143010"/>
                </a:cubicBezTo>
                <a:cubicBezTo>
                  <a:pt x="5687" y="73672"/>
                  <a:pt x="49023" y="57782"/>
                  <a:pt x="49023" y="0"/>
                </a:cubicBezTo>
              </a:path>
            </a:pathLst>
          </a:cu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8" name="Rectangle 657">
            <a:extLst>
              <a:ext uri="{FF2B5EF4-FFF2-40B4-BE49-F238E27FC236}">
                <a16:creationId xmlns:a16="http://schemas.microsoft.com/office/drawing/2014/main" id="{22230A99-E139-0BBA-F83A-0FEEA82046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77659" y="312565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659" name="Freeform: Shape 658">
            <a:extLst>
              <a:ext uri="{FF2B5EF4-FFF2-40B4-BE49-F238E27FC236}">
                <a16:creationId xmlns:a16="http://schemas.microsoft.com/office/drawing/2014/main" id="{238D2067-C191-26BB-2D61-7BE13874A5E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97118" y="2935550"/>
            <a:ext cx="44641" cy="186431"/>
          </a:xfrm>
          <a:custGeom>
            <a:avLst/>
            <a:gdLst>
              <a:gd name="connsiteX0" fmla="*/ 14797 w 44641"/>
              <a:gd name="connsiteY0" fmla="*/ 186431 h 186431"/>
              <a:gd name="connsiteX1" fmla="*/ 44389 w 44641"/>
              <a:gd name="connsiteY1" fmla="*/ 115409 h 186431"/>
              <a:gd name="connsiteX2" fmla="*/ 0 w 44641"/>
              <a:gd name="connsiteY2" fmla="*/ 0 h 186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641" h="186431">
                <a:moveTo>
                  <a:pt x="14797" y="186431"/>
                </a:moveTo>
                <a:cubicBezTo>
                  <a:pt x="30826" y="166456"/>
                  <a:pt x="46855" y="146481"/>
                  <a:pt x="44389" y="115409"/>
                </a:cubicBezTo>
                <a:cubicBezTo>
                  <a:pt x="41923" y="84337"/>
                  <a:pt x="20961" y="42168"/>
                  <a:pt x="0" y="0"/>
                </a:cubicBezTo>
              </a:path>
            </a:pathLst>
          </a:cu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0" name="Rectangle: Rounded Corners 659">
            <a:extLst>
              <a:ext uri="{FF2B5EF4-FFF2-40B4-BE49-F238E27FC236}">
                <a16:creationId xmlns:a16="http://schemas.microsoft.com/office/drawing/2014/main" id="{49FB6174-AA7C-338F-845F-85C2302932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931016" y="3878235"/>
            <a:ext cx="149465" cy="141698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6</a:t>
            </a:r>
          </a:p>
        </p:txBody>
      </p:sp>
      <p:sp>
        <p:nvSpPr>
          <p:cNvPr id="661" name="Rectangle: Rounded Corners 660">
            <a:extLst>
              <a:ext uri="{FF2B5EF4-FFF2-40B4-BE49-F238E27FC236}">
                <a16:creationId xmlns:a16="http://schemas.microsoft.com/office/drawing/2014/main" id="{E545C1DB-AF0F-CBD0-0A3A-24CB4EE253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95247" y="4689866"/>
            <a:ext cx="149465" cy="14169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1</a:t>
            </a:r>
          </a:p>
        </p:txBody>
      </p:sp>
      <p:sp>
        <p:nvSpPr>
          <p:cNvPr id="662" name="TextBox 661">
            <a:extLst>
              <a:ext uri="{FF2B5EF4-FFF2-40B4-BE49-F238E27FC236}">
                <a16:creationId xmlns:a16="http://schemas.microsoft.com/office/drawing/2014/main" id="{6CC07939-BE87-DA0F-8A22-714D45CF35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303060" y="5005215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Черномор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63" name="Rectangle: Rounded Corners 662">
            <a:extLst>
              <a:ext uri="{FF2B5EF4-FFF2-40B4-BE49-F238E27FC236}">
                <a16:creationId xmlns:a16="http://schemas.microsoft.com/office/drawing/2014/main" id="{28B115DF-2FB3-3CDE-4B67-BD0F9A403F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95247" y="4998220"/>
            <a:ext cx="149465" cy="14169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2</a:t>
            </a:r>
          </a:p>
        </p:txBody>
      </p:sp>
      <p:sp>
        <p:nvSpPr>
          <p:cNvPr id="664" name="TextBox 663">
            <a:extLst>
              <a:ext uri="{FF2B5EF4-FFF2-40B4-BE49-F238E27FC236}">
                <a16:creationId xmlns:a16="http://schemas.microsoft.com/office/drawing/2014/main" id="{B1BF278D-9098-D0A0-7C22-5F4E98225B9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303060" y="4696870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Балтий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65" name="Rectangle: Rounded Corners 664">
            <a:extLst>
              <a:ext uri="{FF2B5EF4-FFF2-40B4-BE49-F238E27FC236}">
                <a16:creationId xmlns:a16="http://schemas.microsoft.com/office/drawing/2014/main" id="{A12D6963-82EB-084E-D70E-9AEA77618E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04654" y="5311685"/>
            <a:ext cx="149465" cy="141698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3</a:t>
            </a:r>
          </a:p>
        </p:txBody>
      </p:sp>
      <p:sp>
        <p:nvSpPr>
          <p:cNvPr id="666" name="TextBox 665">
            <a:extLst>
              <a:ext uri="{FF2B5EF4-FFF2-40B4-BE49-F238E27FC236}">
                <a16:creationId xmlns:a16="http://schemas.microsoft.com/office/drawing/2014/main" id="{D02F3C29-DAFD-C0F3-0F62-C8546E4CD0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307250" y="5311685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Маршрут через Шёлковый путь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67" name="TextBox 666">
            <a:extLst>
              <a:ext uri="{FF2B5EF4-FFF2-40B4-BE49-F238E27FC236}">
                <a16:creationId xmlns:a16="http://schemas.microsoft.com/office/drawing/2014/main" id="{471804BC-637C-F9B4-B490-1312958E5E3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130960" y="4628677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Дальневосточны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68" name="Rectangle: Rounded Corners 667">
            <a:extLst>
              <a:ext uri="{FF2B5EF4-FFF2-40B4-BE49-F238E27FC236}">
                <a16:creationId xmlns:a16="http://schemas.microsoft.com/office/drawing/2014/main" id="{DD8470A0-E1E8-39B1-3CBC-C6605AF458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928364" y="4634259"/>
            <a:ext cx="149465" cy="141698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4</a:t>
            </a:r>
          </a:p>
        </p:txBody>
      </p:sp>
      <p:sp>
        <p:nvSpPr>
          <p:cNvPr id="669" name="TextBox 668">
            <a:extLst>
              <a:ext uri="{FF2B5EF4-FFF2-40B4-BE49-F238E27FC236}">
                <a16:creationId xmlns:a16="http://schemas.microsoft.com/office/drawing/2014/main" id="{84C2DCF2-9DF7-EB0B-8248-96D6FE48E9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133895" y="4936521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Забайкаль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70" name="Rectangle: Rounded Corners 669">
            <a:extLst>
              <a:ext uri="{FF2B5EF4-FFF2-40B4-BE49-F238E27FC236}">
                <a16:creationId xmlns:a16="http://schemas.microsoft.com/office/drawing/2014/main" id="{2B343C10-E25C-15D5-785C-574CDB7519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931299" y="4942103"/>
            <a:ext cx="149465" cy="14169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5</a:t>
            </a:r>
          </a:p>
        </p:txBody>
      </p:sp>
      <p:sp>
        <p:nvSpPr>
          <p:cNvPr id="671" name="TextBox 670">
            <a:extLst>
              <a:ext uri="{FF2B5EF4-FFF2-40B4-BE49-F238E27FC236}">
                <a16:creationId xmlns:a16="http://schemas.microsoft.com/office/drawing/2014/main" id="{D4D41456-0A9E-AEC8-486F-0A9FA3485AA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141669" y="5274101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Афган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72" name="Rectangle: Rounded Corners 671">
            <a:extLst>
              <a:ext uri="{FF2B5EF4-FFF2-40B4-BE49-F238E27FC236}">
                <a16:creationId xmlns:a16="http://schemas.microsoft.com/office/drawing/2014/main" id="{0D813A6B-BA0D-03AC-708B-693EA37036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939073" y="5279683"/>
            <a:ext cx="149465" cy="141698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ши маршруты в Россию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43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56A951D-729C-4943-876D-78D6A44A5A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2382" y="6631550"/>
            <a:ext cx="632618" cy="143981"/>
          </a:xfrm>
        </p:spPr>
        <p:txBody>
          <a:bodyPr/>
          <a:lstStyle/>
          <a:p>
            <a:fld id="{F1614B44-299D-42C9-857A-BBF4191F4592}" type="datetime1">
              <a:rPr lang="en-US" noProof="0" smtClean="0"/>
              <a:t>9/11/2023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61E534-ED57-4976-928C-71395880D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9438" y="6629394"/>
            <a:ext cx="7199999" cy="143981"/>
          </a:xfrm>
        </p:spPr>
        <p:txBody>
          <a:bodyPr/>
          <a:lstStyle/>
          <a:p>
            <a:r>
              <a:rPr lang="en-US" noProof="0"/>
              <a:t>Confidential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955DE9-45AD-4930-9624-B8DA87078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4938" y="6631550"/>
            <a:ext cx="280008" cy="143981"/>
          </a:xfrm>
        </p:spPr>
        <p:txBody>
          <a:bodyPr/>
          <a:lstStyle/>
          <a:p>
            <a:fld id="{5DA4142D-4092-458E-BB22-308CC6995BD3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453" name="Germany">
            <a:extLst>
              <a:ext uri="{FF2B5EF4-FFF2-40B4-BE49-F238E27FC236}">
                <a16:creationId xmlns:a16="http://schemas.microsoft.com/office/drawing/2014/main" id="{16C7EAC2-69B1-929D-320D-A88CC41D0F8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93293" y="2210398"/>
            <a:ext cx="500926" cy="521605"/>
          </a:xfrm>
          <a:custGeom>
            <a:avLst/>
            <a:gdLst>
              <a:gd name="T0" fmla="*/ 21 w 373"/>
              <a:gd name="T1" fmla="*/ 294 h 393"/>
              <a:gd name="T2" fmla="*/ 62 w 373"/>
              <a:gd name="T3" fmla="*/ 297 h 393"/>
              <a:gd name="T4" fmla="*/ 90 w 373"/>
              <a:gd name="T5" fmla="*/ 305 h 393"/>
              <a:gd name="T6" fmla="*/ 74 w 373"/>
              <a:gd name="T7" fmla="*/ 330 h 393"/>
              <a:gd name="T8" fmla="*/ 75 w 373"/>
              <a:gd name="T9" fmla="*/ 381 h 393"/>
              <a:gd name="T10" fmla="*/ 101 w 373"/>
              <a:gd name="T11" fmla="*/ 378 h 393"/>
              <a:gd name="T12" fmla="*/ 128 w 373"/>
              <a:gd name="T13" fmla="*/ 372 h 393"/>
              <a:gd name="T14" fmla="*/ 148 w 373"/>
              <a:gd name="T15" fmla="*/ 383 h 393"/>
              <a:gd name="T16" fmla="*/ 161 w 373"/>
              <a:gd name="T17" fmla="*/ 382 h 393"/>
              <a:gd name="T18" fmla="*/ 182 w 373"/>
              <a:gd name="T19" fmla="*/ 377 h 393"/>
              <a:gd name="T20" fmla="*/ 224 w 373"/>
              <a:gd name="T21" fmla="*/ 387 h 393"/>
              <a:gd name="T22" fmla="*/ 258 w 373"/>
              <a:gd name="T23" fmla="*/ 372 h 393"/>
              <a:gd name="T24" fmla="*/ 290 w 373"/>
              <a:gd name="T25" fmla="*/ 385 h 393"/>
              <a:gd name="T26" fmla="*/ 282 w 373"/>
              <a:gd name="T27" fmla="*/ 358 h 393"/>
              <a:gd name="T28" fmla="*/ 309 w 373"/>
              <a:gd name="T29" fmla="*/ 335 h 393"/>
              <a:gd name="T30" fmla="*/ 324 w 373"/>
              <a:gd name="T31" fmla="*/ 316 h 393"/>
              <a:gd name="T32" fmla="*/ 301 w 373"/>
              <a:gd name="T33" fmla="*/ 295 h 393"/>
              <a:gd name="T34" fmla="*/ 281 w 373"/>
              <a:gd name="T35" fmla="*/ 285 h 393"/>
              <a:gd name="T36" fmla="*/ 271 w 373"/>
              <a:gd name="T37" fmla="*/ 271 h 393"/>
              <a:gd name="T38" fmla="*/ 263 w 373"/>
              <a:gd name="T39" fmla="*/ 248 h 393"/>
              <a:gd name="T40" fmla="*/ 263 w 373"/>
              <a:gd name="T41" fmla="*/ 239 h 393"/>
              <a:gd name="T42" fmla="*/ 283 w 373"/>
              <a:gd name="T43" fmla="*/ 227 h 393"/>
              <a:gd name="T44" fmla="*/ 308 w 373"/>
              <a:gd name="T45" fmla="*/ 221 h 393"/>
              <a:gd name="T46" fmla="*/ 325 w 373"/>
              <a:gd name="T47" fmla="*/ 210 h 393"/>
              <a:gd name="T48" fmla="*/ 360 w 373"/>
              <a:gd name="T49" fmla="*/ 208 h 393"/>
              <a:gd name="T50" fmla="*/ 369 w 373"/>
              <a:gd name="T51" fmla="*/ 177 h 393"/>
              <a:gd name="T52" fmla="*/ 351 w 373"/>
              <a:gd name="T53" fmla="*/ 157 h 393"/>
              <a:gd name="T54" fmla="*/ 356 w 373"/>
              <a:gd name="T55" fmla="*/ 136 h 393"/>
              <a:gd name="T56" fmla="*/ 352 w 373"/>
              <a:gd name="T57" fmla="*/ 115 h 393"/>
              <a:gd name="T58" fmla="*/ 334 w 373"/>
              <a:gd name="T59" fmla="*/ 106 h 393"/>
              <a:gd name="T60" fmla="*/ 339 w 373"/>
              <a:gd name="T61" fmla="*/ 72 h 393"/>
              <a:gd name="T62" fmla="*/ 321 w 373"/>
              <a:gd name="T63" fmla="*/ 55 h 393"/>
              <a:gd name="T64" fmla="*/ 296 w 373"/>
              <a:gd name="T65" fmla="*/ 35 h 393"/>
              <a:gd name="T66" fmla="*/ 226 w 373"/>
              <a:gd name="T67" fmla="*/ 35 h 393"/>
              <a:gd name="T68" fmla="*/ 202 w 373"/>
              <a:gd name="T69" fmla="*/ 35 h 393"/>
              <a:gd name="T70" fmla="*/ 168 w 373"/>
              <a:gd name="T71" fmla="*/ 22 h 393"/>
              <a:gd name="T72" fmla="*/ 145 w 373"/>
              <a:gd name="T73" fmla="*/ 3 h 393"/>
              <a:gd name="T74" fmla="*/ 112 w 373"/>
              <a:gd name="T75" fmla="*/ 0 h 393"/>
              <a:gd name="T76" fmla="*/ 130 w 373"/>
              <a:gd name="T77" fmla="*/ 49 h 393"/>
              <a:gd name="T78" fmla="*/ 105 w 373"/>
              <a:gd name="T79" fmla="*/ 55 h 393"/>
              <a:gd name="T80" fmla="*/ 82 w 373"/>
              <a:gd name="T81" fmla="*/ 62 h 393"/>
              <a:gd name="T82" fmla="*/ 57 w 373"/>
              <a:gd name="T83" fmla="*/ 85 h 393"/>
              <a:gd name="T84" fmla="*/ 47 w 373"/>
              <a:gd name="T85" fmla="*/ 103 h 393"/>
              <a:gd name="T86" fmla="*/ 30 w 373"/>
              <a:gd name="T87" fmla="*/ 122 h 393"/>
              <a:gd name="T88" fmla="*/ 35 w 373"/>
              <a:gd name="T89" fmla="*/ 153 h 393"/>
              <a:gd name="T90" fmla="*/ 1 w 373"/>
              <a:gd name="T91" fmla="*/ 155 h 393"/>
              <a:gd name="T92" fmla="*/ 0 w 373"/>
              <a:gd name="T93" fmla="*/ 191 h 393"/>
              <a:gd name="T94" fmla="*/ 5 w 373"/>
              <a:gd name="T95" fmla="*/ 216 h 393"/>
              <a:gd name="T96" fmla="*/ 9 w 373"/>
              <a:gd name="T97" fmla="*/ 239 h 393"/>
              <a:gd name="T98" fmla="*/ 17 w 373"/>
              <a:gd name="T99" fmla="*/ 274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73" h="393">
                <a:moveTo>
                  <a:pt x="17" y="274"/>
                </a:moveTo>
                <a:cubicBezTo>
                  <a:pt x="17" y="274"/>
                  <a:pt x="19" y="278"/>
                  <a:pt x="22" y="281"/>
                </a:cubicBezTo>
                <a:cubicBezTo>
                  <a:pt x="25" y="284"/>
                  <a:pt x="21" y="294"/>
                  <a:pt x="21" y="294"/>
                </a:cubicBezTo>
                <a:cubicBezTo>
                  <a:pt x="38" y="294"/>
                  <a:pt x="38" y="294"/>
                  <a:pt x="38" y="294"/>
                </a:cubicBezTo>
                <a:cubicBezTo>
                  <a:pt x="38" y="294"/>
                  <a:pt x="36" y="299"/>
                  <a:pt x="42" y="300"/>
                </a:cubicBezTo>
                <a:cubicBezTo>
                  <a:pt x="48" y="301"/>
                  <a:pt x="62" y="297"/>
                  <a:pt x="62" y="297"/>
                </a:cubicBezTo>
                <a:cubicBezTo>
                  <a:pt x="62" y="301"/>
                  <a:pt x="62" y="301"/>
                  <a:pt x="62" y="301"/>
                </a:cubicBezTo>
                <a:cubicBezTo>
                  <a:pt x="80" y="300"/>
                  <a:pt x="80" y="300"/>
                  <a:pt x="80" y="300"/>
                </a:cubicBezTo>
                <a:cubicBezTo>
                  <a:pt x="90" y="305"/>
                  <a:pt x="90" y="305"/>
                  <a:pt x="90" y="305"/>
                </a:cubicBezTo>
                <a:cubicBezTo>
                  <a:pt x="88" y="311"/>
                  <a:pt x="88" y="311"/>
                  <a:pt x="88" y="311"/>
                </a:cubicBezTo>
                <a:cubicBezTo>
                  <a:pt x="74" y="322"/>
                  <a:pt x="74" y="322"/>
                  <a:pt x="74" y="322"/>
                </a:cubicBezTo>
                <a:cubicBezTo>
                  <a:pt x="74" y="330"/>
                  <a:pt x="74" y="330"/>
                  <a:pt x="74" y="330"/>
                </a:cubicBezTo>
                <a:cubicBezTo>
                  <a:pt x="74" y="330"/>
                  <a:pt x="64" y="349"/>
                  <a:pt x="62" y="360"/>
                </a:cubicBezTo>
                <a:cubicBezTo>
                  <a:pt x="60" y="369"/>
                  <a:pt x="63" y="377"/>
                  <a:pt x="64" y="379"/>
                </a:cubicBezTo>
                <a:cubicBezTo>
                  <a:pt x="75" y="381"/>
                  <a:pt x="75" y="381"/>
                  <a:pt x="75" y="381"/>
                </a:cubicBezTo>
                <a:cubicBezTo>
                  <a:pt x="87" y="381"/>
                  <a:pt x="87" y="381"/>
                  <a:pt x="87" y="381"/>
                </a:cubicBezTo>
                <a:cubicBezTo>
                  <a:pt x="97" y="374"/>
                  <a:pt x="97" y="374"/>
                  <a:pt x="97" y="374"/>
                </a:cubicBezTo>
                <a:cubicBezTo>
                  <a:pt x="101" y="378"/>
                  <a:pt x="101" y="378"/>
                  <a:pt x="101" y="378"/>
                </a:cubicBezTo>
                <a:cubicBezTo>
                  <a:pt x="101" y="378"/>
                  <a:pt x="96" y="366"/>
                  <a:pt x="103" y="365"/>
                </a:cubicBezTo>
                <a:cubicBezTo>
                  <a:pt x="110" y="364"/>
                  <a:pt x="119" y="372"/>
                  <a:pt x="119" y="372"/>
                </a:cubicBezTo>
                <a:cubicBezTo>
                  <a:pt x="128" y="372"/>
                  <a:pt x="128" y="372"/>
                  <a:pt x="128" y="372"/>
                </a:cubicBezTo>
                <a:cubicBezTo>
                  <a:pt x="138" y="375"/>
                  <a:pt x="138" y="375"/>
                  <a:pt x="138" y="375"/>
                </a:cubicBezTo>
                <a:cubicBezTo>
                  <a:pt x="144" y="383"/>
                  <a:pt x="144" y="383"/>
                  <a:pt x="144" y="383"/>
                </a:cubicBezTo>
                <a:cubicBezTo>
                  <a:pt x="148" y="383"/>
                  <a:pt x="148" y="383"/>
                  <a:pt x="148" y="383"/>
                </a:cubicBezTo>
                <a:cubicBezTo>
                  <a:pt x="148" y="383"/>
                  <a:pt x="149" y="384"/>
                  <a:pt x="149" y="385"/>
                </a:cubicBezTo>
                <a:cubicBezTo>
                  <a:pt x="149" y="385"/>
                  <a:pt x="149" y="385"/>
                  <a:pt x="149" y="385"/>
                </a:cubicBezTo>
                <a:cubicBezTo>
                  <a:pt x="151" y="383"/>
                  <a:pt x="155" y="380"/>
                  <a:pt x="161" y="382"/>
                </a:cubicBezTo>
                <a:cubicBezTo>
                  <a:pt x="170" y="383"/>
                  <a:pt x="171" y="393"/>
                  <a:pt x="175" y="392"/>
                </a:cubicBezTo>
                <a:cubicBezTo>
                  <a:pt x="179" y="391"/>
                  <a:pt x="182" y="386"/>
                  <a:pt x="182" y="386"/>
                </a:cubicBezTo>
                <a:cubicBezTo>
                  <a:pt x="182" y="377"/>
                  <a:pt x="182" y="377"/>
                  <a:pt x="182" y="377"/>
                </a:cubicBezTo>
                <a:cubicBezTo>
                  <a:pt x="195" y="378"/>
                  <a:pt x="195" y="378"/>
                  <a:pt x="195" y="378"/>
                </a:cubicBezTo>
                <a:cubicBezTo>
                  <a:pt x="195" y="378"/>
                  <a:pt x="205" y="389"/>
                  <a:pt x="212" y="389"/>
                </a:cubicBezTo>
                <a:cubicBezTo>
                  <a:pt x="218" y="389"/>
                  <a:pt x="224" y="387"/>
                  <a:pt x="224" y="387"/>
                </a:cubicBezTo>
                <a:cubicBezTo>
                  <a:pt x="233" y="379"/>
                  <a:pt x="233" y="379"/>
                  <a:pt x="233" y="379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267" y="373"/>
                  <a:pt x="267" y="373"/>
                  <a:pt x="267" y="373"/>
                </a:cubicBezTo>
                <a:cubicBezTo>
                  <a:pt x="280" y="378"/>
                  <a:pt x="280" y="378"/>
                  <a:pt x="280" y="378"/>
                </a:cubicBezTo>
                <a:cubicBezTo>
                  <a:pt x="280" y="378"/>
                  <a:pt x="288" y="392"/>
                  <a:pt x="290" y="385"/>
                </a:cubicBezTo>
                <a:cubicBezTo>
                  <a:pt x="291" y="379"/>
                  <a:pt x="290" y="369"/>
                  <a:pt x="290" y="369"/>
                </a:cubicBezTo>
                <a:cubicBezTo>
                  <a:pt x="290" y="360"/>
                  <a:pt x="290" y="360"/>
                  <a:pt x="290" y="360"/>
                </a:cubicBezTo>
                <a:cubicBezTo>
                  <a:pt x="282" y="358"/>
                  <a:pt x="282" y="358"/>
                  <a:pt x="282" y="358"/>
                </a:cubicBezTo>
                <a:cubicBezTo>
                  <a:pt x="282" y="358"/>
                  <a:pt x="287" y="345"/>
                  <a:pt x="291" y="344"/>
                </a:cubicBezTo>
                <a:cubicBezTo>
                  <a:pt x="296" y="343"/>
                  <a:pt x="309" y="346"/>
                  <a:pt x="309" y="346"/>
                </a:cubicBezTo>
                <a:cubicBezTo>
                  <a:pt x="309" y="335"/>
                  <a:pt x="309" y="335"/>
                  <a:pt x="309" y="335"/>
                </a:cubicBezTo>
                <a:cubicBezTo>
                  <a:pt x="305" y="328"/>
                  <a:pt x="305" y="328"/>
                  <a:pt x="305" y="328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24" y="316"/>
                  <a:pt x="324" y="316"/>
                  <a:pt x="324" y="316"/>
                </a:cubicBezTo>
                <a:cubicBezTo>
                  <a:pt x="324" y="316"/>
                  <a:pt x="323" y="309"/>
                  <a:pt x="317" y="305"/>
                </a:cubicBezTo>
                <a:cubicBezTo>
                  <a:pt x="312" y="302"/>
                  <a:pt x="307" y="304"/>
                  <a:pt x="307" y="304"/>
                </a:cubicBezTo>
                <a:cubicBezTo>
                  <a:pt x="301" y="295"/>
                  <a:pt x="301" y="295"/>
                  <a:pt x="301" y="295"/>
                </a:cubicBezTo>
                <a:cubicBezTo>
                  <a:pt x="297" y="295"/>
                  <a:pt x="297" y="295"/>
                  <a:pt x="297" y="295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7"/>
                  <a:pt x="288" y="285"/>
                  <a:pt x="281" y="285"/>
                </a:cubicBezTo>
                <a:cubicBezTo>
                  <a:pt x="273" y="284"/>
                  <a:pt x="279" y="279"/>
                  <a:pt x="279" y="279"/>
                </a:cubicBezTo>
                <a:cubicBezTo>
                  <a:pt x="273" y="277"/>
                  <a:pt x="273" y="277"/>
                  <a:pt x="273" y="277"/>
                </a:cubicBezTo>
                <a:cubicBezTo>
                  <a:pt x="271" y="271"/>
                  <a:pt x="271" y="271"/>
                  <a:pt x="271" y="271"/>
                </a:cubicBezTo>
                <a:cubicBezTo>
                  <a:pt x="271" y="271"/>
                  <a:pt x="263" y="265"/>
                  <a:pt x="262" y="263"/>
                </a:cubicBezTo>
                <a:cubicBezTo>
                  <a:pt x="261" y="261"/>
                  <a:pt x="269" y="257"/>
                  <a:pt x="269" y="257"/>
                </a:cubicBezTo>
                <a:cubicBezTo>
                  <a:pt x="263" y="248"/>
                  <a:pt x="263" y="248"/>
                  <a:pt x="263" y="248"/>
                </a:cubicBezTo>
                <a:cubicBezTo>
                  <a:pt x="257" y="247"/>
                  <a:pt x="257" y="247"/>
                  <a:pt x="257" y="247"/>
                </a:cubicBezTo>
                <a:cubicBezTo>
                  <a:pt x="257" y="247"/>
                  <a:pt x="252" y="238"/>
                  <a:pt x="255" y="235"/>
                </a:cubicBezTo>
                <a:cubicBezTo>
                  <a:pt x="259" y="233"/>
                  <a:pt x="259" y="239"/>
                  <a:pt x="263" y="239"/>
                </a:cubicBezTo>
                <a:cubicBezTo>
                  <a:pt x="267" y="238"/>
                  <a:pt x="266" y="233"/>
                  <a:pt x="266" y="233"/>
                </a:cubicBezTo>
                <a:cubicBezTo>
                  <a:pt x="273" y="233"/>
                  <a:pt x="273" y="233"/>
                  <a:pt x="273" y="233"/>
                </a:cubicBezTo>
                <a:cubicBezTo>
                  <a:pt x="273" y="233"/>
                  <a:pt x="275" y="225"/>
                  <a:pt x="283" y="227"/>
                </a:cubicBezTo>
                <a:cubicBezTo>
                  <a:pt x="292" y="229"/>
                  <a:pt x="290" y="233"/>
                  <a:pt x="290" y="233"/>
                </a:cubicBezTo>
                <a:cubicBezTo>
                  <a:pt x="297" y="224"/>
                  <a:pt x="297" y="224"/>
                  <a:pt x="297" y="224"/>
                </a:cubicBezTo>
                <a:cubicBezTo>
                  <a:pt x="308" y="221"/>
                  <a:pt x="308" y="221"/>
                  <a:pt x="308" y="221"/>
                </a:cubicBezTo>
                <a:cubicBezTo>
                  <a:pt x="310" y="217"/>
                  <a:pt x="310" y="217"/>
                  <a:pt x="310" y="217"/>
                </a:cubicBezTo>
                <a:cubicBezTo>
                  <a:pt x="310" y="217"/>
                  <a:pt x="321" y="217"/>
                  <a:pt x="324" y="216"/>
                </a:cubicBezTo>
                <a:cubicBezTo>
                  <a:pt x="327" y="215"/>
                  <a:pt x="325" y="210"/>
                  <a:pt x="325" y="210"/>
                </a:cubicBezTo>
                <a:cubicBezTo>
                  <a:pt x="325" y="210"/>
                  <a:pt x="336" y="211"/>
                  <a:pt x="339" y="208"/>
                </a:cubicBezTo>
                <a:cubicBezTo>
                  <a:pt x="341" y="205"/>
                  <a:pt x="346" y="199"/>
                  <a:pt x="348" y="198"/>
                </a:cubicBezTo>
                <a:cubicBezTo>
                  <a:pt x="350" y="197"/>
                  <a:pt x="355" y="209"/>
                  <a:pt x="360" y="208"/>
                </a:cubicBezTo>
                <a:cubicBezTo>
                  <a:pt x="365" y="207"/>
                  <a:pt x="371" y="195"/>
                  <a:pt x="372" y="191"/>
                </a:cubicBezTo>
                <a:cubicBezTo>
                  <a:pt x="373" y="188"/>
                  <a:pt x="367" y="187"/>
                  <a:pt x="367" y="187"/>
                </a:cubicBezTo>
                <a:cubicBezTo>
                  <a:pt x="367" y="187"/>
                  <a:pt x="371" y="182"/>
                  <a:pt x="369" y="177"/>
                </a:cubicBezTo>
                <a:cubicBezTo>
                  <a:pt x="368" y="171"/>
                  <a:pt x="360" y="177"/>
                  <a:pt x="360" y="177"/>
                </a:cubicBezTo>
                <a:cubicBezTo>
                  <a:pt x="361" y="165"/>
                  <a:pt x="361" y="165"/>
                  <a:pt x="361" y="165"/>
                </a:cubicBezTo>
                <a:cubicBezTo>
                  <a:pt x="361" y="165"/>
                  <a:pt x="352" y="163"/>
                  <a:pt x="351" y="157"/>
                </a:cubicBezTo>
                <a:cubicBezTo>
                  <a:pt x="351" y="152"/>
                  <a:pt x="360" y="146"/>
                  <a:pt x="360" y="146"/>
                </a:cubicBezTo>
                <a:cubicBezTo>
                  <a:pt x="360" y="146"/>
                  <a:pt x="357" y="144"/>
                  <a:pt x="355" y="143"/>
                </a:cubicBezTo>
                <a:cubicBezTo>
                  <a:pt x="353" y="143"/>
                  <a:pt x="356" y="136"/>
                  <a:pt x="356" y="136"/>
                </a:cubicBezTo>
                <a:cubicBezTo>
                  <a:pt x="356" y="136"/>
                  <a:pt x="351" y="135"/>
                  <a:pt x="350" y="132"/>
                </a:cubicBezTo>
                <a:cubicBezTo>
                  <a:pt x="349" y="129"/>
                  <a:pt x="355" y="126"/>
                  <a:pt x="355" y="126"/>
                </a:cubicBezTo>
                <a:cubicBezTo>
                  <a:pt x="355" y="126"/>
                  <a:pt x="355" y="120"/>
                  <a:pt x="352" y="115"/>
                </a:cubicBezTo>
                <a:cubicBezTo>
                  <a:pt x="349" y="111"/>
                  <a:pt x="345" y="115"/>
                  <a:pt x="345" y="115"/>
                </a:cubicBezTo>
                <a:cubicBezTo>
                  <a:pt x="341" y="109"/>
                  <a:pt x="341" y="109"/>
                  <a:pt x="341" y="109"/>
                </a:cubicBezTo>
                <a:cubicBezTo>
                  <a:pt x="341" y="109"/>
                  <a:pt x="337" y="113"/>
                  <a:pt x="334" y="106"/>
                </a:cubicBezTo>
                <a:cubicBezTo>
                  <a:pt x="331" y="99"/>
                  <a:pt x="337" y="98"/>
                  <a:pt x="343" y="93"/>
                </a:cubicBezTo>
                <a:cubicBezTo>
                  <a:pt x="349" y="89"/>
                  <a:pt x="347" y="87"/>
                  <a:pt x="345" y="79"/>
                </a:cubicBezTo>
                <a:cubicBezTo>
                  <a:pt x="342" y="70"/>
                  <a:pt x="337" y="78"/>
                  <a:pt x="339" y="72"/>
                </a:cubicBezTo>
                <a:cubicBezTo>
                  <a:pt x="340" y="69"/>
                  <a:pt x="339" y="65"/>
                  <a:pt x="338" y="62"/>
                </a:cubicBezTo>
                <a:cubicBezTo>
                  <a:pt x="334" y="60"/>
                  <a:pt x="334" y="60"/>
                  <a:pt x="334" y="60"/>
                </a:cubicBezTo>
                <a:cubicBezTo>
                  <a:pt x="321" y="55"/>
                  <a:pt x="321" y="55"/>
                  <a:pt x="321" y="55"/>
                </a:cubicBezTo>
                <a:cubicBezTo>
                  <a:pt x="321" y="55"/>
                  <a:pt x="323" y="50"/>
                  <a:pt x="318" y="44"/>
                </a:cubicBezTo>
                <a:cubicBezTo>
                  <a:pt x="313" y="38"/>
                  <a:pt x="301" y="41"/>
                  <a:pt x="301" y="41"/>
                </a:cubicBezTo>
                <a:cubicBezTo>
                  <a:pt x="296" y="35"/>
                  <a:pt x="296" y="35"/>
                  <a:pt x="296" y="35"/>
                </a:cubicBezTo>
                <a:cubicBezTo>
                  <a:pt x="296" y="35"/>
                  <a:pt x="270" y="23"/>
                  <a:pt x="265" y="26"/>
                </a:cubicBezTo>
                <a:cubicBezTo>
                  <a:pt x="260" y="29"/>
                  <a:pt x="253" y="36"/>
                  <a:pt x="253" y="36"/>
                </a:cubicBezTo>
                <a:cubicBezTo>
                  <a:pt x="226" y="35"/>
                  <a:pt x="226" y="35"/>
                  <a:pt x="226" y="35"/>
                </a:cubicBezTo>
                <a:cubicBezTo>
                  <a:pt x="226" y="47"/>
                  <a:pt x="226" y="47"/>
                  <a:pt x="226" y="47"/>
                </a:cubicBezTo>
                <a:cubicBezTo>
                  <a:pt x="200" y="46"/>
                  <a:pt x="200" y="46"/>
                  <a:pt x="200" y="46"/>
                </a:cubicBezTo>
                <a:cubicBezTo>
                  <a:pt x="200" y="46"/>
                  <a:pt x="198" y="38"/>
                  <a:pt x="202" y="35"/>
                </a:cubicBezTo>
                <a:cubicBezTo>
                  <a:pt x="206" y="32"/>
                  <a:pt x="209" y="20"/>
                  <a:pt x="209" y="20"/>
                </a:cubicBezTo>
                <a:cubicBezTo>
                  <a:pt x="196" y="27"/>
                  <a:pt x="196" y="27"/>
                  <a:pt x="196" y="27"/>
                </a:cubicBezTo>
                <a:cubicBezTo>
                  <a:pt x="168" y="22"/>
                  <a:pt x="168" y="22"/>
                  <a:pt x="168" y="22"/>
                </a:cubicBezTo>
                <a:cubicBezTo>
                  <a:pt x="168" y="22"/>
                  <a:pt x="160" y="14"/>
                  <a:pt x="156" y="4"/>
                </a:cubicBezTo>
                <a:cubicBezTo>
                  <a:pt x="154" y="5"/>
                  <a:pt x="153" y="6"/>
                  <a:pt x="153" y="6"/>
                </a:cubicBezTo>
                <a:cubicBezTo>
                  <a:pt x="153" y="6"/>
                  <a:pt x="152" y="2"/>
                  <a:pt x="145" y="3"/>
                </a:cubicBezTo>
                <a:cubicBezTo>
                  <a:pt x="137" y="3"/>
                  <a:pt x="135" y="5"/>
                  <a:pt x="135" y="5"/>
                </a:cubicBezTo>
                <a:cubicBezTo>
                  <a:pt x="135" y="5"/>
                  <a:pt x="127" y="0"/>
                  <a:pt x="123" y="0"/>
                </a:cubicBezTo>
                <a:cubicBezTo>
                  <a:pt x="119" y="0"/>
                  <a:pt x="112" y="0"/>
                  <a:pt x="112" y="0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42" y="58"/>
                  <a:pt x="142" y="58"/>
                  <a:pt x="142" y="58"/>
                </a:cubicBezTo>
                <a:cubicBezTo>
                  <a:pt x="123" y="51"/>
                  <a:pt x="123" y="51"/>
                  <a:pt x="123" y="51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105" y="55"/>
                  <a:pt x="110" y="70"/>
                  <a:pt x="104" y="72"/>
                </a:cubicBezTo>
                <a:cubicBezTo>
                  <a:pt x="98" y="74"/>
                  <a:pt x="88" y="72"/>
                  <a:pt x="88" y="72"/>
                </a:cubicBezTo>
                <a:cubicBezTo>
                  <a:pt x="82" y="62"/>
                  <a:pt x="82" y="62"/>
                  <a:pt x="82" y="62"/>
                </a:cubicBezTo>
                <a:cubicBezTo>
                  <a:pt x="82" y="62"/>
                  <a:pt x="55" y="59"/>
                  <a:pt x="54" y="64"/>
                </a:cubicBezTo>
                <a:cubicBezTo>
                  <a:pt x="53" y="69"/>
                  <a:pt x="53" y="82"/>
                  <a:pt x="53" y="82"/>
                </a:cubicBezTo>
                <a:cubicBezTo>
                  <a:pt x="57" y="85"/>
                  <a:pt x="57" y="85"/>
                  <a:pt x="57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5"/>
                  <a:pt x="59" y="95"/>
                  <a:pt x="59" y="95"/>
                </a:cubicBezTo>
                <a:cubicBezTo>
                  <a:pt x="59" y="95"/>
                  <a:pt x="48" y="99"/>
                  <a:pt x="47" y="103"/>
                </a:cubicBezTo>
                <a:cubicBezTo>
                  <a:pt x="45" y="107"/>
                  <a:pt x="49" y="115"/>
                  <a:pt x="49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29" y="119"/>
                  <a:pt x="30" y="122"/>
                </a:cubicBezTo>
                <a:cubicBezTo>
                  <a:pt x="31" y="125"/>
                  <a:pt x="45" y="130"/>
                  <a:pt x="45" y="134"/>
                </a:cubicBezTo>
                <a:cubicBezTo>
                  <a:pt x="45" y="138"/>
                  <a:pt x="37" y="142"/>
                  <a:pt x="37" y="142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29" y="152"/>
                  <a:pt x="29" y="152"/>
                  <a:pt x="29" y="152"/>
                </a:cubicBezTo>
                <a:cubicBezTo>
                  <a:pt x="29" y="152"/>
                  <a:pt x="27" y="157"/>
                  <a:pt x="25" y="160"/>
                </a:cubicBezTo>
                <a:cubicBezTo>
                  <a:pt x="23" y="163"/>
                  <a:pt x="1" y="155"/>
                  <a:pt x="1" y="155"/>
                </a:cubicBezTo>
                <a:cubicBezTo>
                  <a:pt x="7" y="170"/>
                  <a:pt x="7" y="170"/>
                  <a:pt x="7" y="170"/>
                </a:cubicBezTo>
                <a:cubicBezTo>
                  <a:pt x="7" y="170"/>
                  <a:pt x="12" y="178"/>
                  <a:pt x="11" y="181"/>
                </a:cubicBezTo>
                <a:cubicBezTo>
                  <a:pt x="11" y="185"/>
                  <a:pt x="0" y="191"/>
                  <a:pt x="0" y="191"/>
                </a:cubicBezTo>
                <a:cubicBezTo>
                  <a:pt x="0" y="191"/>
                  <a:pt x="5" y="197"/>
                  <a:pt x="4" y="199"/>
                </a:cubicBezTo>
                <a:cubicBezTo>
                  <a:pt x="3" y="201"/>
                  <a:pt x="0" y="215"/>
                  <a:pt x="0" y="215"/>
                </a:cubicBezTo>
                <a:cubicBezTo>
                  <a:pt x="5" y="216"/>
                  <a:pt x="5" y="216"/>
                  <a:pt x="5" y="216"/>
                </a:cubicBezTo>
                <a:cubicBezTo>
                  <a:pt x="5" y="216"/>
                  <a:pt x="14" y="219"/>
                  <a:pt x="15" y="225"/>
                </a:cubicBezTo>
                <a:cubicBezTo>
                  <a:pt x="15" y="231"/>
                  <a:pt x="18" y="238"/>
                  <a:pt x="18" y="238"/>
                </a:cubicBezTo>
                <a:cubicBezTo>
                  <a:pt x="9" y="239"/>
                  <a:pt x="9" y="239"/>
                  <a:pt x="9" y="239"/>
                </a:cubicBezTo>
                <a:cubicBezTo>
                  <a:pt x="9" y="239"/>
                  <a:pt x="4" y="247"/>
                  <a:pt x="7" y="253"/>
                </a:cubicBezTo>
                <a:cubicBezTo>
                  <a:pt x="11" y="259"/>
                  <a:pt x="21" y="261"/>
                  <a:pt x="22" y="265"/>
                </a:cubicBezTo>
                <a:cubicBezTo>
                  <a:pt x="23" y="270"/>
                  <a:pt x="17" y="274"/>
                  <a:pt x="17" y="274"/>
                </a:cubicBezTo>
                <a:close/>
              </a:path>
            </a:pathLst>
          </a:custGeom>
          <a:solidFill>
            <a:schemeClr val="accent1"/>
          </a:solidFill>
          <a:ln w="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528" name="Group 82">
            <a:extLst>
              <a:ext uri="{FF2B5EF4-FFF2-40B4-BE49-F238E27FC236}">
                <a16:creationId xmlns:a16="http://schemas.microsoft.com/office/drawing/2014/main" id="{D2E4422A-5942-A77F-F51D-B87F03BC747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281927" y="674281"/>
            <a:ext cx="9631970" cy="5249813"/>
            <a:chOff x="5439729" y="1126149"/>
            <a:chExt cx="4911391" cy="2758480"/>
          </a:xfrm>
          <a:solidFill>
            <a:schemeClr val="accent1"/>
          </a:solidFill>
          <a:effectLst/>
        </p:grpSpPr>
        <p:sp>
          <p:nvSpPr>
            <p:cNvPr id="53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2C6CBD0D-60E8-8D71-D720-B73471D011E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50253" y="3224722"/>
              <a:ext cx="329909" cy="22529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3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E56315FA-D625-717F-992D-821E23914E1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38661"/>
              <a:ext cx="19510" cy="42575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7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5968BA8-5CF3-3C19-DF9A-B02FDCCD703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39367" y="2268566"/>
              <a:ext cx="532111" cy="299797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8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0E1913C7-C114-C8B9-2CF7-05B7F313403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07323" y="3066839"/>
              <a:ext cx="273150" cy="535730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9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D04AA55-2C2D-DB87-88F8-6ADF3A3E0C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31962" y="1741706"/>
              <a:ext cx="258961" cy="370754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0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8DEA217-0103-D38B-00AB-D8F131EEA51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16310" y="2953309"/>
              <a:ext cx="150764" cy="143690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115C704C-06EB-5014-766D-87E972FAEFF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60282" y="2027310"/>
              <a:ext cx="501958" cy="282057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3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CD6114B-3413-6E45-D572-BC99E240673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57777" y="2366134"/>
              <a:ext cx="454069" cy="271413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36D9066A-120D-0873-0FC4-095330A951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63157" y="2387421"/>
              <a:ext cx="597738" cy="227063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5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46B7457-72AD-ED65-316C-C1DD68A3215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776069" y="3175051"/>
              <a:ext cx="278472" cy="533956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9D98B13-9E36-CC59-AAC3-E21A470FA31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17167" y="2429996"/>
              <a:ext cx="248319" cy="15788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7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C8F93-4EA6-966B-02E3-DEB8F6B40A6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55399" y="2997656"/>
              <a:ext cx="53210" cy="120628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8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0C8E36CB-7919-9D5A-8E0C-05E6FD9E334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559493"/>
              <a:ext cx="202203" cy="186264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0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896E58E-871A-5F28-C12C-20664F402F0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04440" y="2185192"/>
              <a:ext cx="129479" cy="709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2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1FF1FF9D-3083-9031-8297-0F090B2E36A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51657" y="1477388"/>
              <a:ext cx="312172" cy="445261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4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B127952F-1E24-1E81-7B03-521F5F3D69A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242183" y="3567092"/>
              <a:ext cx="76269" cy="136594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5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8E3F0ADA-F9CC-1780-4DED-F9510859900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5692" y="2330655"/>
              <a:ext cx="393764" cy="276735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6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6A087D95-3498-2E84-0212-04AD57C4F55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11963" y="2215347"/>
              <a:ext cx="94006" cy="54992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64DB0DFA-98AC-6E55-0511-B4B7E8F4B5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07743" y="2124877"/>
              <a:ext cx="161406" cy="65636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F1E91B40-C5AC-2A29-1E04-12C833BE92D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49305"/>
              <a:ext cx="666913" cy="57298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0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B15E5ABF-A46C-40C8-A105-E4F6811A2F0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932526" y="1791377"/>
              <a:ext cx="136575" cy="53927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1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92593049-04FA-F3BB-5ECF-5B63F11790C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82239" y="1126149"/>
              <a:ext cx="4068881" cy="129497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848908C-E8CA-C5CE-BC11-0EB7A5CCAD1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2171001"/>
              <a:ext cx="276698" cy="164977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DFE728D9-2FFD-B9E2-9BB4-EE228BA64F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93251" y="2963952"/>
              <a:ext cx="30153" cy="63862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DB88917A-D644-EECD-1B55-4D4FEC47CA5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39729" y="2390969"/>
              <a:ext cx="102875" cy="18449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6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D2FD0C5-14DC-9083-2D9B-E0382416391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31475" y="1942161"/>
              <a:ext cx="280246" cy="202229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A3BF60F-E1D6-435A-E9C2-FF733A3A983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39435" y="3235365"/>
              <a:ext cx="321039" cy="541052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0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25E3361-2621-F8D1-3200-03CFB6DFC38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85913" y="2573685"/>
              <a:ext cx="471805" cy="47364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1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ADFF0520-DABD-9228-C75E-F2D318D8636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21270" y="3288583"/>
              <a:ext cx="42570" cy="283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E4DBE73B-A514-F471-1440-B22047BC11E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42915" y="3006526"/>
              <a:ext cx="242997" cy="30334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4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5242DCC-78C5-E3BD-B9B9-4B273495F4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3797" y="1159853"/>
              <a:ext cx="611928" cy="67232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5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5DEEC263-78DB-CE0B-C8EE-BA81DBFE9B0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22850" y="1990058"/>
              <a:ext cx="122385" cy="94019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85063629-0ED1-2C3A-5F8B-37299BA7BDE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80104" y="2809619"/>
              <a:ext cx="264281" cy="14901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3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B3BD4971-94F3-E7F6-43A3-95C4F7AC7E2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595151" y="2880576"/>
              <a:ext cx="285567" cy="674098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8A16EF93-3009-9D26-973F-7124A87265B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0953" y="2335976"/>
              <a:ext cx="51437" cy="6031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1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B2039C5-980E-4E80-3E97-6115D393CD4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96068" y="2032632"/>
              <a:ext cx="943611" cy="374302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47F889F-5100-AF44-1130-43FB9D67EE7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87988" y="2163905"/>
              <a:ext cx="97553" cy="106437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0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222BE9AB-BDD0-611E-6A24-0482AFAAA4F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42117" y="2602067"/>
              <a:ext cx="14191" cy="12418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9F29A546-98B4-8B1F-CD82-EB280012AC3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93133" y="3669981"/>
              <a:ext cx="138349" cy="196908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A4930785-5E78-FD12-071D-5CB1843502F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15948" y="3646920"/>
              <a:ext cx="308625" cy="237709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FDF7C1-1ABC-2B00-29C6-42DD6FB6EA0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2378551"/>
              <a:ext cx="74496" cy="56766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7D150CE9-840D-CFDB-439B-C5B33AF6E0C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7344" y="2105365"/>
              <a:ext cx="23058" cy="19514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B8ECDE8-834C-6099-45DF-8054334157A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12392" y="1885395"/>
              <a:ext cx="152538" cy="8869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5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9E9F2BB2-CDC8-9AB0-FBAA-CC9345A3D95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98446" y="2202930"/>
              <a:ext cx="7095" cy="1064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7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81D9C1A4-23A3-9F0B-D142-8052E3CEF72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73556" y="2658834"/>
              <a:ext cx="47890" cy="709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A595CA27-E98A-2FA3-2BB3-81BA4E06C7B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1830402"/>
              <a:ext cx="191560" cy="81601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1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814196E3-5E7C-187D-A247-BB2D61C6603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48792" y="3098771"/>
              <a:ext cx="269603" cy="31221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9704A67-46DD-E188-7B48-22B5F92AD51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68604" y="2351942"/>
              <a:ext cx="301530" cy="1401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E131FAD2-CB31-6D37-7ECB-816FC026EB8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146034" y="2825584"/>
              <a:ext cx="62079" cy="54992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2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759EA313-5789-970D-F9E3-080103CBB3D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94421" y="2518693"/>
              <a:ext cx="122385" cy="19158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D47B5625-1CA2-5DEF-4D2E-BCFC1F9DCBD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391546" y="2360812"/>
              <a:ext cx="147218" cy="188038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4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DA80065-A389-B6E7-40DF-321B4867053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1922648"/>
              <a:ext cx="1131624" cy="52331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5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9D2E7088-605D-7ACF-70D9-D9E69061222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708504"/>
              <a:ext cx="125933" cy="150786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6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B2DFE753-9F45-6A64-0906-B8E8A1FE837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563593" y="2268566"/>
              <a:ext cx="393764" cy="76811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D6E12E8E-BB1A-92F7-5CAF-FD254465541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18630" y="2210026"/>
              <a:ext cx="349420" cy="374302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9AE8D7C-012D-05C5-78E5-A3DB21F51D8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61140" y="2703183"/>
              <a:ext cx="46117" cy="143690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440EDDD-2F5F-5932-08C0-52B29093DE4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9239" y="1926196"/>
              <a:ext cx="125933" cy="133046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8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221D7320-DC8C-62C4-AD20-49F0266E02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92393" y="2563041"/>
              <a:ext cx="308625" cy="296249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9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E39E9D09-A380-F804-2F81-C4E87191D1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23647" y="2472570"/>
              <a:ext cx="647402" cy="53040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B3CF7C61-F4A1-6093-9B1F-684D83CEC3C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843099" y="2609163"/>
              <a:ext cx="877984" cy="1060817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FB1E59EA-FB62-D06C-5711-DF2B695485E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93552" y="2160356"/>
              <a:ext cx="191560" cy="99341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2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1E40BAC1-AA31-B3CC-60CD-E9A17A9064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3035" y="2401612"/>
              <a:ext cx="239450" cy="248353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0164327D-6B45-D421-2425-D6C6E5FC89B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87072" y="2335976"/>
              <a:ext cx="207523" cy="94019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D1594978-9621-0DBB-A4FA-80C9D027B77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95815" y="2066337"/>
              <a:ext cx="409726" cy="353014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CF09C0F-2C3F-D213-1D5F-705427635E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8048" y="1447232"/>
              <a:ext cx="283793" cy="32285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8B8DD41-068F-90DE-156E-A8624BFB63F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1780733"/>
              <a:ext cx="156086" cy="69184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59860A8B-0733-9543-9C22-A36B285B780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66519" y="1846368"/>
              <a:ext cx="124159" cy="106437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8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F95DD101-FD03-F67F-F575-40EEE2CD3D6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76489" y="2073433"/>
              <a:ext cx="189786" cy="86923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9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009E8D52-34A3-C35E-839F-2DC74ACA7A5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686643" y="2623355"/>
              <a:ext cx="67401" cy="39028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0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98A54644-FCE7-3DB5-36FC-BE228F71A68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22606" y="2233088"/>
              <a:ext cx="164954" cy="12417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757D1206-8902-CE5E-DBA9-D7A9D7A4F4D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903406" y="1982963"/>
              <a:ext cx="1645999" cy="127014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2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1E9EDB61-0E4C-5A56-3CA0-E2F064F52F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53439" y="3387924"/>
              <a:ext cx="170276" cy="150786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3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8EC1DDDE-DC3D-9256-3AB1-22E40A57C06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8019" y="2316463"/>
              <a:ext cx="177370" cy="101116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4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7B96B0CC-E27B-6B84-3EDE-D6CDE0ED3D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77590" y="2275662"/>
              <a:ext cx="118839" cy="106437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5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529BB3B8-C7A1-7B76-1F51-7EDA428659B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60349" y="2887674"/>
              <a:ext cx="104648" cy="60314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03505B47-00AF-74E8-B429-7528B52DCEC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17528" y="2059241"/>
              <a:ext cx="101100" cy="69184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E43A9941-275F-5DDE-2E63-A72D3A538A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46159" y="2953309"/>
              <a:ext cx="168501" cy="19158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0BF113DF-7422-54F1-DAFC-875BB43E4C4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9793" y="1896039"/>
              <a:ext cx="255413" cy="166751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DA7863D6-1853-7245-C7AB-D1DB873298F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79061" y="2955083"/>
              <a:ext cx="12416" cy="2483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A197FD1C-E88D-1897-FEB4-FFA5049D065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2396290"/>
              <a:ext cx="163181" cy="13127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F772BB3B-6C22-7603-4BA4-C2D4CA0419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05540" y="2144390"/>
              <a:ext cx="205750" cy="90471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29F32510-6BE3-DEEA-96CC-0A02EA4D0D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00590" y="2415803"/>
              <a:ext cx="99328" cy="95792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3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54BBA02E-C00C-2694-B5A5-99D7C6BE4E0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767864" y="2371456"/>
              <a:ext cx="14191" cy="709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50C0C0E0-6248-FF57-ECD5-02244DFAEFA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78691" y="2371456"/>
              <a:ext cx="65626" cy="10998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A1C3DB0-0714-91FB-9F5A-6B98BD0DF37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45117" y="2518693"/>
              <a:ext cx="407952" cy="33172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686" name="Group 340">
              <a:extLst>
                <a:ext uri="{FF2B5EF4-FFF2-40B4-BE49-F238E27FC236}">
                  <a16:creationId xmlns:a16="http://schemas.microsoft.com/office/drawing/2014/main" id="{9F583BB8-D8EF-EE18-8960-3D10E7E0FA29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 bwMode="auto">
            <a:xfrm>
              <a:off x="6268048" y="2245510"/>
              <a:ext cx="124159" cy="152559"/>
              <a:chOff x="2184" y="1242"/>
              <a:chExt cx="257" cy="316"/>
            </a:xfrm>
            <a:grpFill/>
          </p:grpSpPr>
          <p:sp>
            <p:nvSpPr>
              <p:cNvPr id="7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3F1EDC5-8160-EE7D-C4E3-C68C4B8E780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7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9388EE2-9BE6-50A9-C017-42C245FDA21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687" name="Gruppieren 70">
              <a:extLst>
                <a:ext uri="{FF2B5EF4-FFF2-40B4-BE49-F238E27FC236}">
                  <a16:creationId xmlns:a16="http://schemas.microsoft.com/office/drawing/2014/main" id="{DE053AF2-EACC-B67A-0E70-231D2A7CE46E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913034" y="1944270"/>
              <a:ext cx="214524" cy="202747"/>
              <a:chOff x="4318001" y="1228725"/>
              <a:chExt cx="3230562" cy="3989388"/>
            </a:xfrm>
            <a:grpFill/>
            <a:effectLst/>
          </p:grpSpPr>
          <p:sp>
            <p:nvSpPr>
              <p:cNvPr id="316" name="Freeform 45">
                <a:extLst>
                  <a:ext uri="{FF2B5EF4-FFF2-40B4-BE49-F238E27FC236}">
                    <a16:creationId xmlns:a16="http://schemas.microsoft.com/office/drawing/2014/main" id="{CC5FFF80-015D-CA0E-9A54-8197839694F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4318001" y="4873625"/>
                <a:ext cx="457200" cy="344488"/>
              </a:xfrm>
              <a:custGeom>
                <a:avLst/>
                <a:gdLst>
                  <a:gd name="T0" fmla="*/ 260 w 288"/>
                  <a:gd name="T1" fmla="*/ 164 h 217"/>
                  <a:gd name="T2" fmla="*/ 279 w 288"/>
                  <a:gd name="T3" fmla="*/ 148 h 217"/>
                  <a:gd name="T4" fmla="*/ 282 w 288"/>
                  <a:gd name="T5" fmla="*/ 137 h 217"/>
                  <a:gd name="T6" fmla="*/ 288 w 288"/>
                  <a:gd name="T7" fmla="*/ 127 h 217"/>
                  <a:gd name="T8" fmla="*/ 288 w 288"/>
                  <a:gd name="T9" fmla="*/ 116 h 217"/>
                  <a:gd name="T10" fmla="*/ 264 w 288"/>
                  <a:gd name="T11" fmla="*/ 108 h 217"/>
                  <a:gd name="T12" fmla="*/ 260 w 288"/>
                  <a:gd name="T13" fmla="*/ 95 h 217"/>
                  <a:gd name="T14" fmla="*/ 245 w 288"/>
                  <a:gd name="T15" fmla="*/ 82 h 217"/>
                  <a:gd name="T16" fmla="*/ 260 w 288"/>
                  <a:gd name="T17" fmla="*/ 67 h 217"/>
                  <a:gd name="T18" fmla="*/ 258 w 288"/>
                  <a:gd name="T19" fmla="*/ 50 h 217"/>
                  <a:gd name="T20" fmla="*/ 252 w 288"/>
                  <a:gd name="T21" fmla="*/ 24 h 217"/>
                  <a:gd name="T22" fmla="*/ 237 w 288"/>
                  <a:gd name="T23" fmla="*/ 27 h 217"/>
                  <a:gd name="T24" fmla="*/ 229 w 288"/>
                  <a:gd name="T25" fmla="*/ 19 h 217"/>
                  <a:gd name="T26" fmla="*/ 207 w 288"/>
                  <a:gd name="T27" fmla="*/ 14 h 217"/>
                  <a:gd name="T28" fmla="*/ 195 w 288"/>
                  <a:gd name="T29" fmla="*/ 0 h 217"/>
                  <a:gd name="T30" fmla="*/ 165 w 288"/>
                  <a:gd name="T31" fmla="*/ 0 h 217"/>
                  <a:gd name="T32" fmla="*/ 136 w 288"/>
                  <a:gd name="T33" fmla="*/ 16 h 217"/>
                  <a:gd name="T34" fmla="*/ 101 w 288"/>
                  <a:gd name="T35" fmla="*/ 34 h 217"/>
                  <a:gd name="T36" fmla="*/ 69 w 288"/>
                  <a:gd name="T37" fmla="*/ 50 h 217"/>
                  <a:gd name="T38" fmla="*/ 43 w 288"/>
                  <a:gd name="T39" fmla="*/ 39 h 217"/>
                  <a:gd name="T40" fmla="*/ 1 w 288"/>
                  <a:gd name="T41" fmla="*/ 39 h 217"/>
                  <a:gd name="T42" fmla="*/ 0 w 288"/>
                  <a:gd name="T43" fmla="*/ 67 h 217"/>
                  <a:gd name="T44" fmla="*/ 22 w 288"/>
                  <a:gd name="T45" fmla="*/ 67 h 217"/>
                  <a:gd name="T46" fmla="*/ 56 w 288"/>
                  <a:gd name="T47" fmla="*/ 98 h 217"/>
                  <a:gd name="T48" fmla="*/ 67 w 288"/>
                  <a:gd name="T49" fmla="*/ 128 h 217"/>
                  <a:gd name="T50" fmla="*/ 81 w 288"/>
                  <a:gd name="T51" fmla="*/ 148 h 217"/>
                  <a:gd name="T52" fmla="*/ 96 w 288"/>
                  <a:gd name="T53" fmla="*/ 193 h 217"/>
                  <a:gd name="T54" fmla="*/ 110 w 288"/>
                  <a:gd name="T55" fmla="*/ 193 h 217"/>
                  <a:gd name="T56" fmla="*/ 131 w 288"/>
                  <a:gd name="T57" fmla="*/ 201 h 217"/>
                  <a:gd name="T58" fmla="*/ 131 w 288"/>
                  <a:gd name="T59" fmla="*/ 175 h 217"/>
                  <a:gd name="T60" fmla="*/ 162 w 288"/>
                  <a:gd name="T61" fmla="*/ 175 h 217"/>
                  <a:gd name="T62" fmla="*/ 181 w 288"/>
                  <a:gd name="T63" fmla="*/ 185 h 217"/>
                  <a:gd name="T64" fmla="*/ 187 w 288"/>
                  <a:gd name="T65" fmla="*/ 212 h 217"/>
                  <a:gd name="T66" fmla="*/ 205 w 288"/>
                  <a:gd name="T67" fmla="*/ 201 h 217"/>
                  <a:gd name="T68" fmla="*/ 218 w 288"/>
                  <a:gd name="T69" fmla="*/ 217 h 217"/>
                  <a:gd name="T70" fmla="*/ 253 w 288"/>
                  <a:gd name="T71" fmla="*/ 217 h 217"/>
                  <a:gd name="T72" fmla="*/ 272 w 288"/>
                  <a:gd name="T73" fmla="*/ 194 h 217"/>
                  <a:gd name="T74" fmla="*/ 260 w 288"/>
                  <a:gd name="T75" fmla="*/ 181 h 217"/>
                  <a:gd name="T76" fmla="*/ 260 w 288"/>
                  <a:gd name="T77" fmla="*/ 16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217">
                    <a:moveTo>
                      <a:pt x="260" y="164"/>
                    </a:moveTo>
                    <a:lnTo>
                      <a:pt x="279" y="148"/>
                    </a:lnTo>
                    <a:lnTo>
                      <a:pt x="282" y="137"/>
                    </a:lnTo>
                    <a:lnTo>
                      <a:pt x="288" y="127"/>
                    </a:lnTo>
                    <a:lnTo>
                      <a:pt x="288" y="116"/>
                    </a:lnTo>
                    <a:lnTo>
                      <a:pt x="264" y="108"/>
                    </a:lnTo>
                    <a:lnTo>
                      <a:pt x="260" y="95"/>
                    </a:lnTo>
                    <a:lnTo>
                      <a:pt x="245" y="82"/>
                    </a:lnTo>
                    <a:lnTo>
                      <a:pt x="260" y="67"/>
                    </a:lnTo>
                    <a:lnTo>
                      <a:pt x="258" y="50"/>
                    </a:lnTo>
                    <a:lnTo>
                      <a:pt x="252" y="24"/>
                    </a:lnTo>
                    <a:lnTo>
                      <a:pt x="237" y="27"/>
                    </a:lnTo>
                    <a:lnTo>
                      <a:pt x="229" y="19"/>
                    </a:lnTo>
                    <a:lnTo>
                      <a:pt x="207" y="14"/>
                    </a:lnTo>
                    <a:lnTo>
                      <a:pt x="195" y="0"/>
                    </a:lnTo>
                    <a:lnTo>
                      <a:pt x="165" y="0"/>
                    </a:lnTo>
                    <a:lnTo>
                      <a:pt x="136" y="16"/>
                    </a:lnTo>
                    <a:lnTo>
                      <a:pt x="101" y="34"/>
                    </a:lnTo>
                    <a:lnTo>
                      <a:pt x="69" y="50"/>
                    </a:lnTo>
                    <a:lnTo>
                      <a:pt x="43" y="39"/>
                    </a:lnTo>
                    <a:lnTo>
                      <a:pt x="1" y="39"/>
                    </a:lnTo>
                    <a:lnTo>
                      <a:pt x="0" y="67"/>
                    </a:lnTo>
                    <a:lnTo>
                      <a:pt x="22" y="67"/>
                    </a:lnTo>
                    <a:lnTo>
                      <a:pt x="56" y="98"/>
                    </a:lnTo>
                    <a:lnTo>
                      <a:pt x="67" y="128"/>
                    </a:lnTo>
                    <a:lnTo>
                      <a:pt x="81" y="148"/>
                    </a:lnTo>
                    <a:lnTo>
                      <a:pt x="96" y="193"/>
                    </a:lnTo>
                    <a:lnTo>
                      <a:pt x="110" y="193"/>
                    </a:lnTo>
                    <a:lnTo>
                      <a:pt x="131" y="201"/>
                    </a:lnTo>
                    <a:lnTo>
                      <a:pt x="131" y="175"/>
                    </a:lnTo>
                    <a:lnTo>
                      <a:pt x="162" y="175"/>
                    </a:lnTo>
                    <a:lnTo>
                      <a:pt x="181" y="185"/>
                    </a:lnTo>
                    <a:lnTo>
                      <a:pt x="187" y="212"/>
                    </a:lnTo>
                    <a:lnTo>
                      <a:pt x="205" y="201"/>
                    </a:lnTo>
                    <a:lnTo>
                      <a:pt x="218" y="217"/>
                    </a:lnTo>
                    <a:lnTo>
                      <a:pt x="253" y="217"/>
                    </a:lnTo>
                    <a:lnTo>
                      <a:pt x="272" y="194"/>
                    </a:lnTo>
                    <a:lnTo>
                      <a:pt x="260" y="181"/>
                    </a:lnTo>
                    <a:lnTo>
                      <a:pt x="260" y="1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grpSp>
            <p:nvGrpSpPr>
              <p:cNvPr id="317" name="Group 210">
                <a:extLst>
                  <a:ext uri="{FF2B5EF4-FFF2-40B4-BE49-F238E27FC236}">
                    <a16:creationId xmlns:a16="http://schemas.microsoft.com/office/drawing/2014/main" id="{49D10DD9-1AFD-892F-F2E2-710EB2FF1459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149851" y="1228725"/>
                <a:ext cx="1317625" cy="265113"/>
                <a:chOff x="5149851" y="1228725"/>
                <a:chExt cx="1317625" cy="265113"/>
              </a:xfrm>
              <a:grpFill/>
            </p:grpSpPr>
            <p:sp>
              <p:nvSpPr>
                <p:cNvPr id="711" name="Freeform 53">
                  <a:extLst>
                    <a:ext uri="{FF2B5EF4-FFF2-40B4-BE49-F238E27FC236}">
                      <a16:creationId xmlns:a16="http://schemas.microsoft.com/office/drawing/2014/main" id="{BF7F3B0C-23B3-3980-AE54-3E50452D574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86376" y="1379538"/>
                  <a:ext cx="44450" cy="50800"/>
                </a:xfrm>
                <a:custGeom>
                  <a:avLst/>
                  <a:gdLst>
                    <a:gd name="T0" fmla="*/ 1 w 28"/>
                    <a:gd name="T1" fmla="*/ 26 h 32"/>
                    <a:gd name="T2" fmla="*/ 8 w 28"/>
                    <a:gd name="T3" fmla="*/ 32 h 32"/>
                    <a:gd name="T4" fmla="*/ 28 w 28"/>
                    <a:gd name="T5" fmla="*/ 24 h 32"/>
                    <a:gd name="T6" fmla="*/ 28 w 28"/>
                    <a:gd name="T7" fmla="*/ 0 h 32"/>
                    <a:gd name="T8" fmla="*/ 8 w 28"/>
                    <a:gd name="T9" fmla="*/ 5 h 32"/>
                    <a:gd name="T10" fmla="*/ 0 w 28"/>
                    <a:gd name="T11" fmla="*/ 13 h 32"/>
                    <a:gd name="T12" fmla="*/ 1 w 28"/>
                    <a:gd name="T13" fmla="*/ 2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2">
                      <a:moveTo>
                        <a:pt x="1" y="26"/>
                      </a:moveTo>
                      <a:lnTo>
                        <a:pt x="8" y="32"/>
                      </a:lnTo>
                      <a:lnTo>
                        <a:pt x="28" y="24"/>
                      </a:lnTo>
                      <a:lnTo>
                        <a:pt x="28" y="0"/>
                      </a:lnTo>
                      <a:lnTo>
                        <a:pt x="8" y="5"/>
                      </a:lnTo>
                      <a:lnTo>
                        <a:pt x="0" y="13"/>
                      </a:lnTo>
                      <a:lnTo>
                        <a:pt x="1" y="2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12" name="Freeform 54">
                  <a:extLst>
                    <a:ext uri="{FF2B5EF4-FFF2-40B4-BE49-F238E27FC236}">
                      <a16:creationId xmlns:a16="http://schemas.microsoft.com/office/drawing/2014/main" id="{C3FD1B92-0E6F-2125-13F3-01F369ACAC2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59388" y="1311275"/>
                  <a:ext cx="44450" cy="14288"/>
                </a:xfrm>
                <a:custGeom>
                  <a:avLst/>
                  <a:gdLst>
                    <a:gd name="T0" fmla="*/ 10 w 28"/>
                    <a:gd name="T1" fmla="*/ 0 h 9"/>
                    <a:gd name="T2" fmla="*/ 0 w 28"/>
                    <a:gd name="T3" fmla="*/ 9 h 9"/>
                    <a:gd name="T4" fmla="*/ 13 w 28"/>
                    <a:gd name="T5" fmla="*/ 9 h 9"/>
                    <a:gd name="T6" fmla="*/ 28 w 28"/>
                    <a:gd name="T7" fmla="*/ 0 h 9"/>
                    <a:gd name="T8" fmla="*/ 10 w 28"/>
                    <a:gd name="T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9">
                      <a:moveTo>
                        <a:pt x="10" y="0"/>
                      </a:moveTo>
                      <a:lnTo>
                        <a:pt x="0" y="9"/>
                      </a:lnTo>
                      <a:lnTo>
                        <a:pt x="13" y="9"/>
                      </a:lnTo>
                      <a:lnTo>
                        <a:pt x="28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13" name="Freeform 55">
                  <a:extLst>
                    <a:ext uri="{FF2B5EF4-FFF2-40B4-BE49-F238E27FC236}">
                      <a16:creationId xmlns:a16="http://schemas.microsoft.com/office/drawing/2014/main" id="{F6B8B0A8-EBF4-D2FC-DED7-44EC9E94442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149851" y="1270000"/>
                  <a:ext cx="49213" cy="68263"/>
                </a:xfrm>
                <a:custGeom>
                  <a:avLst/>
                  <a:gdLst>
                    <a:gd name="T0" fmla="*/ 21 w 31"/>
                    <a:gd name="T1" fmla="*/ 13 h 43"/>
                    <a:gd name="T2" fmla="*/ 17 w 31"/>
                    <a:gd name="T3" fmla="*/ 0 h 43"/>
                    <a:gd name="T4" fmla="*/ 0 w 31"/>
                    <a:gd name="T5" fmla="*/ 19 h 43"/>
                    <a:gd name="T6" fmla="*/ 10 w 31"/>
                    <a:gd name="T7" fmla="*/ 27 h 43"/>
                    <a:gd name="T8" fmla="*/ 21 w 31"/>
                    <a:gd name="T9" fmla="*/ 43 h 43"/>
                    <a:gd name="T10" fmla="*/ 31 w 31"/>
                    <a:gd name="T11" fmla="*/ 43 h 43"/>
                    <a:gd name="T12" fmla="*/ 25 w 31"/>
                    <a:gd name="T13" fmla="*/ 26 h 43"/>
                    <a:gd name="T14" fmla="*/ 21 w 31"/>
                    <a:gd name="T15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43">
                      <a:moveTo>
                        <a:pt x="21" y="13"/>
                      </a:moveTo>
                      <a:lnTo>
                        <a:pt x="17" y="0"/>
                      </a:lnTo>
                      <a:lnTo>
                        <a:pt x="0" y="19"/>
                      </a:lnTo>
                      <a:lnTo>
                        <a:pt x="10" y="27"/>
                      </a:lnTo>
                      <a:lnTo>
                        <a:pt x="21" y="43"/>
                      </a:lnTo>
                      <a:lnTo>
                        <a:pt x="31" y="43"/>
                      </a:lnTo>
                      <a:lnTo>
                        <a:pt x="25" y="26"/>
                      </a:ln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14" name="Freeform 56">
                  <a:extLst>
                    <a:ext uri="{FF2B5EF4-FFF2-40B4-BE49-F238E27FC236}">
                      <a16:creationId xmlns:a16="http://schemas.microsoft.com/office/drawing/2014/main" id="{6A385124-EEB4-49F8-6143-8AF53362726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03826" y="1228725"/>
                  <a:ext cx="82550" cy="58738"/>
                </a:xfrm>
                <a:custGeom>
                  <a:avLst/>
                  <a:gdLst>
                    <a:gd name="T0" fmla="*/ 52 w 52"/>
                    <a:gd name="T1" fmla="*/ 8 h 37"/>
                    <a:gd name="T2" fmla="*/ 39 w 52"/>
                    <a:gd name="T3" fmla="*/ 0 h 37"/>
                    <a:gd name="T4" fmla="*/ 10 w 52"/>
                    <a:gd name="T5" fmla="*/ 0 h 37"/>
                    <a:gd name="T6" fmla="*/ 0 w 52"/>
                    <a:gd name="T7" fmla="*/ 10 h 37"/>
                    <a:gd name="T8" fmla="*/ 0 w 52"/>
                    <a:gd name="T9" fmla="*/ 21 h 37"/>
                    <a:gd name="T10" fmla="*/ 16 w 52"/>
                    <a:gd name="T11" fmla="*/ 37 h 37"/>
                    <a:gd name="T12" fmla="*/ 48 w 52"/>
                    <a:gd name="T13" fmla="*/ 34 h 37"/>
                    <a:gd name="T14" fmla="*/ 52 w 52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37">
                      <a:moveTo>
                        <a:pt x="52" y="8"/>
                      </a:moveTo>
                      <a:lnTo>
                        <a:pt x="39" y="0"/>
                      </a:lnTo>
                      <a:lnTo>
                        <a:pt x="10" y="0"/>
                      </a:lnTo>
                      <a:lnTo>
                        <a:pt x="0" y="10"/>
                      </a:lnTo>
                      <a:lnTo>
                        <a:pt x="0" y="21"/>
                      </a:lnTo>
                      <a:lnTo>
                        <a:pt x="16" y="37"/>
                      </a:lnTo>
                      <a:lnTo>
                        <a:pt x="48" y="34"/>
                      </a:lnTo>
                      <a:lnTo>
                        <a:pt x="52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15" name="Freeform 57">
                  <a:extLst>
                    <a:ext uri="{FF2B5EF4-FFF2-40B4-BE49-F238E27FC236}">
                      <a16:creationId xmlns:a16="http://schemas.microsoft.com/office/drawing/2014/main" id="{1C09C62B-2AFF-09A6-E30C-1FE83A33595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6340476" y="1395413"/>
                  <a:ext cx="127000" cy="98425"/>
                </a:xfrm>
                <a:custGeom>
                  <a:avLst/>
                  <a:gdLst>
                    <a:gd name="T0" fmla="*/ 74 w 80"/>
                    <a:gd name="T1" fmla="*/ 42 h 62"/>
                    <a:gd name="T2" fmla="*/ 64 w 80"/>
                    <a:gd name="T3" fmla="*/ 16 h 62"/>
                    <a:gd name="T4" fmla="*/ 34 w 80"/>
                    <a:gd name="T5" fmla="*/ 3 h 62"/>
                    <a:gd name="T6" fmla="*/ 11 w 80"/>
                    <a:gd name="T7" fmla="*/ 0 h 62"/>
                    <a:gd name="T8" fmla="*/ 0 w 80"/>
                    <a:gd name="T9" fmla="*/ 17 h 62"/>
                    <a:gd name="T10" fmla="*/ 0 w 80"/>
                    <a:gd name="T11" fmla="*/ 42 h 62"/>
                    <a:gd name="T12" fmla="*/ 19 w 80"/>
                    <a:gd name="T13" fmla="*/ 42 h 62"/>
                    <a:gd name="T14" fmla="*/ 23 w 80"/>
                    <a:gd name="T15" fmla="*/ 53 h 62"/>
                    <a:gd name="T16" fmla="*/ 32 w 80"/>
                    <a:gd name="T17" fmla="*/ 62 h 62"/>
                    <a:gd name="T18" fmla="*/ 47 w 80"/>
                    <a:gd name="T19" fmla="*/ 59 h 62"/>
                    <a:gd name="T20" fmla="*/ 58 w 80"/>
                    <a:gd name="T21" fmla="*/ 56 h 62"/>
                    <a:gd name="T22" fmla="*/ 80 w 80"/>
                    <a:gd name="T23" fmla="*/ 62 h 62"/>
                    <a:gd name="T24" fmla="*/ 74 w 80"/>
                    <a:gd name="T25" fmla="*/ 4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0" h="62">
                      <a:moveTo>
                        <a:pt x="74" y="42"/>
                      </a:moveTo>
                      <a:lnTo>
                        <a:pt x="64" y="16"/>
                      </a:lnTo>
                      <a:lnTo>
                        <a:pt x="34" y="3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42"/>
                      </a:lnTo>
                      <a:lnTo>
                        <a:pt x="19" y="42"/>
                      </a:lnTo>
                      <a:lnTo>
                        <a:pt x="23" y="53"/>
                      </a:lnTo>
                      <a:lnTo>
                        <a:pt x="32" y="62"/>
                      </a:lnTo>
                      <a:lnTo>
                        <a:pt x="47" y="59"/>
                      </a:lnTo>
                      <a:lnTo>
                        <a:pt x="58" y="56"/>
                      </a:lnTo>
                      <a:lnTo>
                        <a:pt x="80" y="62"/>
                      </a:lnTo>
                      <a:lnTo>
                        <a:pt x="74" y="42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grpSp>
            <p:nvGrpSpPr>
              <p:cNvPr id="318" name="Group 212">
                <a:extLst>
                  <a:ext uri="{FF2B5EF4-FFF2-40B4-BE49-F238E27FC236}">
                    <a16:creationId xmlns:a16="http://schemas.microsoft.com/office/drawing/2014/main" id="{9989AD81-C2FA-06F4-C7B8-8E6CFBDCD135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4446588" y="1955800"/>
                <a:ext cx="504826" cy="157163"/>
                <a:chOff x="4446588" y="1955800"/>
                <a:chExt cx="504826" cy="157163"/>
              </a:xfrm>
              <a:grpFill/>
            </p:grpSpPr>
            <p:sp>
              <p:nvSpPr>
                <p:cNvPr id="705" name="Freeform 60">
                  <a:extLst>
                    <a:ext uri="{FF2B5EF4-FFF2-40B4-BE49-F238E27FC236}">
                      <a16:creationId xmlns:a16="http://schemas.microsoft.com/office/drawing/2014/main" id="{A6EA0B42-EBDD-D6A2-3B9A-333EA8AB158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446588" y="2085975"/>
                  <a:ext cx="53975" cy="26988"/>
                </a:xfrm>
                <a:custGeom>
                  <a:avLst/>
                  <a:gdLst>
                    <a:gd name="T0" fmla="*/ 28 w 34"/>
                    <a:gd name="T1" fmla="*/ 17 h 17"/>
                    <a:gd name="T2" fmla="*/ 23 w 34"/>
                    <a:gd name="T3" fmla="*/ 8 h 17"/>
                    <a:gd name="T4" fmla="*/ 34 w 34"/>
                    <a:gd name="T5" fmla="*/ 0 h 17"/>
                    <a:gd name="T6" fmla="*/ 0 w 34"/>
                    <a:gd name="T7" fmla="*/ 0 h 17"/>
                    <a:gd name="T8" fmla="*/ 0 w 34"/>
                    <a:gd name="T9" fmla="*/ 13 h 17"/>
                    <a:gd name="T10" fmla="*/ 12 w 34"/>
                    <a:gd name="T11" fmla="*/ 17 h 17"/>
                    <a:gd name="T12" fmla="*/ 28 w 34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7">
                      <a:moveTo>
                        <a:pt x="28" y="17"/>
                      </a:moveTo>
                      <a:lnTo>
                        <a:pt x="23" y="8"/>
                      </a:lnTo>
                      <a:lnTo>
                        <a:pt x="34" y="0"/>
                      </a:ln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7"/>
                      </a:lnTo>
                      <a:lnTo>
                        <a:pt x="28" y="17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06" name="Freeform 61">
                  <a:extLst>
                    <a:ext uri="{FF2B5EF4-FFF2-40B4-BE49-F238E27FC236}">
                      <a16:creationId xmlns:a16="http://schemas.microsoft.com/office/drawing/2014/main" id="{EF9B6BC9-7679-AA02-8499-E1FC57C5119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537076" y="2027238"/>
                  <a:ext cx="85725" cy="42863"/>
                </a:xfrm>
                <a:custGeom>
                  <a:avLst/>
                  <a:gdLst>
                    <a:gd name="T0" fmla="*/ 12 w 54"/>
                    <a:gd name="T1" fmla="*/ 13 h 27"/>
                    <a:gd name="T2" fmla="*/ 24 w 54"/>
                    <a:gd name="T3" fmla="*/ 6 h 27"/>
                    <a:gd name="T4" fmla="*/ 54 w 54"/>
                    <a:gd name="T5" fmla="*/ 0 h 27"/>
                    <a:gd name="T6" fmla="*/ 24 w 54"/>
                    <a:gd name="T7" fmla="*/ 0 h 27"/>
                    <a:gd name="T8" fmla="*/ 0 w 54"/>
                    <a:gd name="T9" fmla="*/ 8 h 27"/>
                    <a:gd name="T10" fmla="*/ 0 w 54"/>
                    <a:gd name="T11" fmla="*/ 18 h 27"/>
                    <a:gd name="T12" fmla="*/ 8 w 54"/>
                    <a:gd name="T13" fmla="*/ 27 h 27"/>
                    <a:gd name="T14" fmla="*/ 12 w 54"/>
                    <a:gd name="T15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27">
                      <a:moveTo>
                        <a:pt x="12" y="13"/>
                      </a:moveTo>
                      <a:lnTo>
                        <a:pt x="24" y="6"/>
                      </a:lnTo>
                      <a:lnTo>
                        <a:pt x="54" y="0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07" name="Freeform 62">
                  <a:extLst>
                    <a:ext uri="{FF2B5EF4-FFF2-40B4-BE49-F238E27FC236}">
                      <a16:creationId xmlns:a16="http://schemas.microsoft.com/office/drawing/2014/main" id="{56BE3090-8345-6285-4036-6998D03CFE4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659313" y="1989138"/>
                  <a:ext cx="80963" cy="26988"/>
                </a:xfrm>
                <a:custGeom>
                  <a:avLst/>
                  <a:gdLst>
                    <a:gd name="T0" fmla="*/ 51 w 51"/>
                    <a:gd name="T1" fmla="*/ 8 h 17"/>
                    <a:gd name="T2" fmla="*/ 29 w 51"/>
                    <a:gd name="T3" fmla="*/ 0 h 17"/>
                    <a:gd name="T4" fmla="*/ 4 w 51"/>
                    <a:gd name="T5" fmla="*/ 3 h 17"/>
                    <a:gd name="T6" fmla="*/ 0 w 51"/>
                    <a:gd name="T7" fmla="*/ 17 h 17"/>
                    <a:gd name="T8" fmla="*/ 27 w 51"/>
                    <a:gd name="T9" fmla="*/ 14 h 17"/>
                    <a:gd name="T10" fmla="*/ 51 w 51"/>
                    <a:gd name="T11" fmla="*/ 8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17">
                      <a:moveTo>
                        <a:pt x="51" y="8"/>
                      </a:moveTo>
                      <a:lnTo>
                        <a:pt x="29" y="0"/>
                      </a:lnTo>
                      <a:lnTo>
                        <a:pt x="4" y="3"/>
                      </a:lnTo>
                      <a:lnTo>
                        <a:pt x="0" y="17"/>
                      </a:lnTo>
                      <a:lnTo>
                        <a:pt x="27" y="14"/>
                      </a:lnTo>
                      <a:lnTo>
                        <a:pt x="51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08" name="Freeform 63">
                  <a:extLst>
                    <a:ext uri="{FF2B5EF4-FFF2-40B4-BE49-F238E27FC236}">
                      <a16:creationId xmlns:a16="http://schemas.microsoft.com/office/drawing/2014/main" id="{A283E1AA-777C-A388-9A58-A8BBE91CE0ED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883151" y="1955800"/>
                  <a:ext cx="68263" cy="22225"/>
                </a:xfrm>
                <a:custGeom>
                  <a:avLst/>
                  <a:gdLst>
                    <a:gd name="T0" fmla="*/ 43 w 43"/>
                    <a:gd name="T1" fmla="*/ 0 h 14"/>
                    <a:gd name="T2" fmla="*/ 6 w 43"/>
                    <a:gd name="T3" fmla="*/ 0 h 14"/>
                    <a:gd name="T4" fmla="*/ 0 w 43"/>
                    <a:gd name="T5" fmla="*/ 14 h 14"/>
                    <a:gd name="T6" fmla="*/ 21 w 43"/>
                    <a:gd name="T7" fmla="*/ 11 h 14"/>
                    <a:gd name="T8" fmla="*/ 43 w 43"/>
                    <a:gd name="T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14">
                      <a:moveTo>
                        <a:pt x="43" y="0"/>
                      </a:moveTo>
                      <a:lnTo>
                        <a:pt x="6" y="0"/>
                      </a:lnTo>
                      <a:lnTo>
                        <a:pt x="0" y="14"/>
                      </a:lnTo>
                      <a:lnTo>
                        <a:pt x="21" y="11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09" name="Freeform 64">
                  <a:extLst>
                    <a:ext uri="{FF2B5EF4-FFF2-40B4-BE49-F238E27FC236}">
                      <a16:creationId xmlns:a16="http://schemas.microsoft.com/office/drawing/2014/main" id="{7F3089B1-56EF-52D2-B049-C9874F98D47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60913" y="1989138"/>
                  <a:ext cx="17463" cy="9525"/>
                </a:xfrm>
                <a:custGeom>
                  <a:avLst/>
                  <a:gdLst>
                    <a:gd name="T0" fmla="*/ 11 w 11"/>
                    <a:gd name="T1" fmla="*/ 0 h 6"/>
                    <a:gd name="T2" fmla="*/ 0 w 11"/>
                    <a:gd name="T3" fmla="*/ 0 h 6"/>
                    <a:gd name="T4" fmla="*/ 0 w 11"/>
                    <a:gd name="T5" fmla="*/ 6 h 6"/>
                    <a:gd name="T6" fmla="*/ 11 w 11"/>
                    <a:gd name="T7" fmla="*/ 5 h 6"/>
                    <a:gd name="T8" fmla="*/ 11 w 1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6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1" y="5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710" name="Freeform 65">
                  <a:extLst>
                    <a:ext uri="{FF2B5EF4-FFF2-40B4-BE49-F238E27FC236}">
                      <a16:creationId xmlns:a16="http://schemas.microsoft.com/office/drawing/2014/main" id="{3044766D-9C76-1864-14D9-0FDCB653413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95838" y="1978025"/>
                  <a:ext cx="36513" cy="25400"/>
                </a:xfrm>
                <a:custGeom>
                  <a:avLst/>
                  <a:gdLst>
                    <a:gd name="T0" fmla="*/ 13 w 23"/>
                    <a:gd name="T1" fmla="*/ 13 h 16"/>
                    <a:gd name="T2" fmla="*/ 23 w 23"/>
                    <a:gd name="T3" fmla="*/ 4 h 16"/>
                    <a:gd name="T4" fmla="*/ 0 w 23"/>
                    <a:gd name="T5" fmla="*/ 0 h 16"/>
                    <a:gd name="T6" fmla="*/ 4 w 23"/>
                    <a:gd name="T7" fmla="*/ 16 h 16"/>
                    <a:gd name="T8" fmla="*/ 13 w 23"/>
                    <a:gd name="T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6">
                      <a:moveTo>
                        <a:pt x="13" y="13"/>
                      </a:moveTo>
                      <a:lnTo>
                        <a:pt x="23" y="4"/>
                      </a:lnTo>
                      <a:lnTo>
                        <a:pt x="0" y="0"/>
                      </a:lnTo>
                      <a:lnTo>
                        <a:pt x="4" y="16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sp>
            <p:nvSpPr>
              <p:cNvPr id="319" name="Freeform 68">
                <a:extLst>
                  <a:ext uri="{FF2B5EF4-FFF2-40B4-BE49-F238E27FC236}">
                    <a16:creationId xmlns:a16="http://schemas.microsoft.com/office/drawing/2014/main" id="{488AFAB8-DDD0-D17B-F490-AECBF8B0966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7235830" y="1357322"/>
                <a:ext cx="34923" cy="73024"/>
              </a:xfrm>
              <a:custGeom>
                <a:avLst/>
                <a:gdLst>
                  <a:gd name="T0" fmla="*/ 16 w 22"/>
                  <a:gd name="T1" fmla="*/ 6 h 46"/>
                  <a:gd name="T2" fmla="*/ 22 w 22"/>
                  <a:gd name="T3" fmla="*/ 0 h 46"/>
                  <a:gd name="T4" fmla="*/ 6 w 22"/>
                  <a:gd name="T5" fmla="*/ 0 h 46"/>
                  <a:gd name="T6" fmla="*/ 0 w 22"/>
                  <a:gd name="T7" fmla="*/ 35 h 46"/>
                  <a:gd name="T8" fmla="*/ 0 w 22"/>
                  <a:gd name="T9" fmla="*/ 46 h 46"/>
                  <a:gd name="T10" fmla="*/ 6 w 22"/>
                  <a:gd name="T11" fmla="*/ 24 h 46"/>
                  <a:gd name="T12" fmla="*/ 16 w 22"/>
                  <a:gd name="T1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46">
                    <a:moveTo>
                      <a:pt x="16" y="6"/>
                    </a:moveTo>
                    <a:lnTo>
                      <a:pt x="22" y="0"/>
                    </a:lnTo>
                    <a:lnTo>
                      <a:pt x="6" y="0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6" y="2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704" name="Freeform 71">
                <a:extLst>
                  <a:ext uri="{FF2B5EF4-FFF2-40B4-BE49-F238E27FC236}">
                    <a16:creationId xmlns:a16="http://schemas.microsoft.com/office/drawing/2014/main" id="{50C326B7-6E90-0B3C-6F80-FE72A97F6C1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7253288" y="2759075"/>
                <a:ext cx="295275" cy="239713"/>
              </a:xfrm>
              <a:custGeom>
                <a:avLst/>
                <a:gdLst>
                  <a:gd name="T0" fmla="*/ 170 w 186"/>
                  <a:gd name="T1" fmla="*/ 93 h 151"/>
                  <a:gd name="T2" fmla="*/ 148 w 186"/>
                  <a:gd name="T3" fmla="*/ 96 h 151"/>
                  <a:gd name="T4" fmla="*/ 148 w 186"/>
                  <a:gd name="T5" fmla="*/ 81 h 151"/>
                  <a:gd name="T6" fmla="*/ 156 w 186"/>
                  <a:gd name="T7" fmla="*/ 64 h 151"/>
                  <a:gd name="T8" fmla="*/ 148 w 186"/>
                  <a:gd name="T9" fmla="*/ 54 h 151"/>
                  <a:gd name="T10" fmla="*/ 125 w 186"/>
                  <a:gd name="T11" fmla="*/ 38 h 151"/>
                  <a:gd name="T12" fmla="*/ 112 w 186"/>
                  <a:gd name="T13" fmla="*/ 29 h 151"/>
                  <a:gd name="T14" fmla="*/ 125 w 186"/>
                  <a:gd name="T15" fmla="*/ 14 h 151"/>
                  <a:gd name="T16" fmla="*/ 117 w 186"/>
                  <a:gd name="T17" fmla="*/ 12 h 151"/>
                  <a:gd name="T18" fmla="*/ 106 w 186"/>
                  <a:gd name="T19" fmla="*/ 0 h 151"/>
                  <a:gd name="T20" fmla="*/ 99 w 186"/>
                  <a:gd name="T21" fmla="*/ 12 h 151"/>
                  <a:gd name="T22" fmla="*/ 83 w 186"/>
                  <a:gd name="T23" fmla="*/ 17 h 151"/>
                  <a:gd name="T24" fmla="*/ 67 w 186"/>
                  <a:gd name="T25" fmla="*/ 24 h 151"/>
                  <a:gd name="T26" fmla="*/ 64 w 186"/>
                  <a:gd name="T27" fmla="*/ 12 h 151"/>
                  <a:gd name="T28" fmla="*/ 56 w 186"/>
                  <a:gd name="T29" fmla="*/ 8 h 151"/>
                  <a:gd name="T30" fmla="*/ 53 w 186"/>
                  <a:gd name="T31" fmla="*/ 19 h 151"/>
                  <a:gd name="T32" fmla="*/ 38 w 186"/>
                  <a:gd name="T33" fmla="*/ 19 h 151"/>
                  <a:gd name="T34" fmla="*/ 35 w 186"/>
                  <a:gd name="T35" fmla="*/ 38 h 151"/>
                  <a:gd name="T36" fmla="*/ 17 w 186"/>
                  <a:gd name="T37" fmla="*/ 33 h 151"/>
                  <a:gd name="T38" fmla="*/ 13 w 186"/>
                  <a:gd name="T39" fmla="*/ 54 h 151"/>
                  <a:gd name="T40" fmla="*/ 8 w 186"/>
                  <a:gd name="T41" fmla="*/ 69 h 151"/>
                  <a:gd name="T42" fmla="*/ 21 w 186"/>
                  <a:gd name="T43" fmla="*/ 73 h 151"/>
                  <a:gd name="T44" fmla="*/ 11 w 186"/>
                  <a:gd name="T45" fmla="*/ 90 h 151"/>
                  <a:gd name="T46" fmla="*/ 8 w 186"/>
                  <a:gd name="T47" fmla="*/ 107 h 151"/>
                  <a:gd name="T48" fmla="*/ 0 w 186"/>
                  <a:gd name="T49" fmla="*/ 115 h 151"/>
                  <a:gd name="T50" fmla="*/ 11 w 186"/>
                  <a:gd name="T51" fmla="*/ 126 h 151"/>
                  <a:gd name="T52" fmla="*/ 34 w 186"/>
                  <a:gd name="T53" fmla="*/ 115 h 151"/>
                  <a:gd name="T54" fmla="*/ 46 w 186"/>
                  <a:gd name="T55" fmla="*/ 122 h 151"/>
                  <a:gd name="T56" fmla="*/ 54 w 186"/>
                  <a:gd name="T57" fmla="*/ 115 h 151"/>
                  <a:gd name="T58" fmla="*/ 74 w 186"/>
                  <a:gd name="T59" fmla="*/ 123 h 151"/>
                  <a:gd name="T60" fmla="*/ 88 w 186"/>
                  <a:gd name="T61" fmla="*/ 133 h 151"/>
                  <a:gd name="T62" fmla="*/ 95 w 186"/>
                  <a:gd name="T63" fmla="*/ 126 h 151"/>
                  <a:gd name="T64" fmla="*/ 95 w 186"/>
                  <a:gd name="T65" fmla="*/ 115 h 151"/>
                  <a:gd name="T66" fmla="*/ 107 w 186"/>
                  <a:gd name="T67" fmla="*/ 115 h 151"/>
                  <a:gd name="T68" fmla="*/ 109 w 186"/>
                  <a:gd name="T69" fmla="*/ 125 h 151"/>
                  <a:gd name="T70" fmla="*/ 122 w 186"/>
                  <a:gd name="T71" fmla="*/ 125 h 151"/>
                  <a:gd name="T72" fmla="*/ 138 w 186"/>
                  <a:gd name="T73" fmla="*/ 131 h 151"/>
                  <a:gd name="T74" fmla="*/ 149 w 186"/>
                  <a:gd name="T75" fmla="*/ 131 h 151"/>
                  <a:gd name="T76" fmla="*/ 156 w 186"/>
                  <a:gd name="T77" fmla="*/ 151 h 151"/>
                  <a:gd name="T78" fmla="*/ 170 w 186"/>
                  <a:gd name="T79" fmla="*/ 131 h 151"/>
                  <a:gd name="T80" fmla="*/ 178 w 186"/>
                  <a:gd name="T81" fmla="*/ 118 h 151"/>
                  <a:gd name="T82" fmla="*/ 186 w 186"/>
                  <a:gd name="T83" fmla="*/ 104 h 151"/>
                  <a:gd name="T84" fmla="*/ 176 w 186"/>
                  <a:gd name="T85" fmla="*/ 102 h 151"/>
                  <a:gd name="T86" fmla="*/ 170 w 186"/>
                  <a:gd name="T87" fmla="*/ 9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6" h="151">
                    <a:moveTo>
                      <a:pt x="170" y="93"/>
                    </a:moveTo>
                    <a:lnTo>
                      <a:pt x="148" y="96"/>
                    </a:lnTo>
                    <a:lnTo>
                      <a:pt x="148" y="81"/>
                    </a:lnTo>
                    <a:lnTo>
                      <a:pt x="156" y="64"/>
                    </a:lnTo>
                    <a:lnTo>
                      <a:pt x="148" y="54"/>
                    </a:lnTo>
                    <a:lnTo>
                      <a:pt x="125" y="38"/>
                    </a:lnTo>
                    <a:lnTo>
                      <a:pt x="112" y="29"/>
                    </a:lnTo>
                    <a:lnTo>
                      <a:pt x="125" y="14"/>
                    </a:lnTo>
                    <a:lnTo>
                      <a:pt x="117" y="12"/>
                    </a:lnTo>
                    <a:lnTo>
                      <a:pt x="106" y="0"/>
                    </a:lnTo>
                    <a:lnTo>
                      <a:pt x="99" y="12"/>
                    </a:lnTo>
                    <a:lnTo>
                      <a:pt x="83" y="17"/>
                    </a:lnTo>
                    <a:lnTo>
                      <a:pt x="67" y="24"/>
                    </a:lnTo>
                    <a:lnTo>
                      <a:pt x="64" y="12"/>
                    </a:lnTo>
                    <a:lnTo>
                      <a:pt x="56" y="8"/>
                    </a:lnTo>
                    <a:lnTo>
                      <a:pt x="53" y="19"/>
                    </a:lnTo>
                    <a:lnTo>
                      <a:pt x="38" y="19"/>
                    </a:lnTo>
                    <a:lnTo>
                      <a:pt x="35" y="38"/>
                    </a:lnTo>
                    <a:lnTo>
                      <a:pt x="17" y="33"/>
                    </a:lnTo>
                    <a:lnTo>
                      <a:pt x="13" y="54"/>
                    </a:lnTo>
                    <a:lnTo>
                      <a:pt x="8" y="69"/>
                    </a:lnTo>
                    <a:lnTo>
                      <a:pt x="21" y="73"/>
                    </a:lnTo>
                    <a:lnTo>
                      <a:pt x="11" y="90"/>
                    </a:lnTo>
                    <a:lnTo>
                      <a:pt x="8" y="107"/>
                    </a:lnTo>
                    <a:lnTo>
                      <a:pt x="0" y="115"/>
                    </a:lnTo>
                    <a:lnTo>
                      <a:pt x="11" y="126"/>
                    </a:lnTo>
                    <a:lnTo>
                      <a:pt x="34" y="115"/>
                    </a:lnTo>
                    <a:lnTo>
                      <a:pt x="46" y="122"/>
                    </a:lnTo>
                    <a:lnTo>
                      <a:pt x="54" y="115"/>
                    </a:lnTo>
                    <a:lnTo>
                      <a:pt x="74" y="123"/>
                    </a:lnTo>
                    <a:lnTo>
                      <a:pt x="88" y="133"/>
                    </a:lnTo>
                    <a:lnTo>
                      <a:pt x="95" y="126"/>
                    </a:lnTo>
                    <a:lnTo>
                      <a:pt x="95" y="115"/>
                    </a:lnTo>
                    <a:lnTo>
                      <a:pt x="107" y="115"/>
                    </a:lnTo>
                    <a:lnTo>
                      <a:pt x="109" y="125"/>
                    </a:lnTo>
                    <a:lnTo>
                      <a:pt x="122" y="125"/>
                    </a:lnTo>
                    <a:lnTo>
                      <a:pt x="138" y="131"/>
                    </a:lnTo>
                    <a:lnTo>
                      <a:pt x="149" y="131"/>
                    </a:lnTo>
                    <a:lnTo>
                      <a:pt x="156" y="151"/>
                    </a:lnTo>
                    <a:lnTo>
                      <a:pt x="170" y="131"/>
                    </a:lnTo>
                    <a:lnTo>
                      <a:pt x="178" y="118"/>
                    </a:lnTo>
                    <a:lnTo>
                      <a:pt x="186" y="104"/>
                    </a:lnTo>
                    <a:lnTo>
                      <a:pt x="176" y="102"/>
                    </a:lnTo>
                    <a:lnTo>
                      <a:pt x="170" y="93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grpSp>
          <p:nvGrpSpPr>
            <p:cNvPr id="688" name="Group 334">
              <a:extLst>
                <a:ext uri="{FF2B5EF4-FFF2-40B4-BE49-F238E27FC236}">
                  <a16:creationId xmlns:a16="http://schemas.microsoft.com/office/drawing/2014/main" id="{B412C770-5B1F-91F2-3D98-EA82D07E624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439729" y="1126149"/>
              <a:ext cx="4911391" cy="1733141"/>
              <a:chOff x="5439729" y="1126149"/>
              <a:chExt cx="4911391" cy="1733141"/>
            </a:xfrm>
            <a:grpFill/>
          </p:grpSpPr>
          <p:sp>
            <p:nvSpPr>
              <p:cNvPr id="689" name="United Kingdo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E4FF372-BCDD-DD78-E634-F3355B6A0DB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31962" y="1741706"/>
                <a:ext cx="258961" cy="370754"/>
              </a:xfrm>
              <a:custGeom>
                <a:avLst/>
                <a:gdLst>
                  <a:gd name="T0" fmla="*/ 2147483647 w 576"/>
                  <a:gd name="T1" fmla="*/ 2147483647 h 822"/>
                  <a:gd name="T2" fmla="*/ 2147483647 w 576"/>
                  <a:gd name="T3" fmla="*/ 2147483647 h 822"/>
                  <a:gd name="T4" fmla="*/ 2147483647 w 576"/>
                  <a:gd name="T5" fmla="*/ 2147483647 h 822"/>
                  <a:gd name="T6" fmla="*/ 2147483647 w 576"/>
                  <a:gd name="T7" fmla="*/ 2147483647 h 822"/>
                  <a:gd name="T8" fmla="*/ 2147483647 w 576"/>
                  <a:gd name="T9" fmla="*/ 2147483647 h 822"/>
                  <a:gd name="T10" fmla="*/ 2147483647 w 576"/>
                  <a:gd name="T11" fmla="*/ 2147483647 h 822"/>
                  <a:gd name="T12" fmla="*/ 2147483647 w 576"/>
                  <a:gd name="T13" fmla="*/ 2147483647 h 822"/>
                  <a:gd name="T14" fmla="*/ 2147483647 w 576"/>
                  <a:gd name="T15" fmla="*/ 0 h 822"/>
                  <a:gd name="T16" fmla="*/ 2147483647 w 576"/>
                  <a:gd name="T17" fmla="*/ 0 h 822"/>
                  <a:gd name="T18" fmla="*/ 2147483647 w 576"/>
                  <a:gd name="T19" fmla="*/ 2147483647 h 822"/>
                  <a:gd name="T20" fmla="*/ 2147483647 w 576"/>
                  <a:gd name="T21" fmla="*/ 2147483647 h 822"/>
                  <a:gd name="T22" fmla="*/ 2147483647 w 576"/>
                  <a:gd name="T23" fmla="*/ 2147483647 h 822"/>
                  <a:gd name="T24" fmla="*/ 2147483647 w 576"/>
                  <a:gd name="T25" fmla="*/ 2147483647 h 822"/>
                  <a:gd name="T26" fmla="*/ 2147483647 w 576"/>
                  <a:gd name="T27" fmla="*/ 2147483647 h 822"/>
                  <a:gd name="T28" fmla="*/ 2147483647 w 576"/>
                  <a:gd name="T29" fmla="*/ 2147483647 h 822"/>
                  <a:gd name="T30" fmla="*/ 2147483647 w 576"/>
                  <a:gd name="T31" fmla="*/ 2147483647 h 822"/>
                  <a:gd name="T32" fmla="*/ 2147483647 w 576"/>
                  <a:gd name="T33" fmla="*/ 2147483647 h 822"/>
                  <a:gd name="T34" fmla="*/ 2147483647 w 576"/>
                  <a:gd name="T35" fmla="*/ 2147483647 h 822"/>
                  <a:gd name="T36" fmla="*/ 2147483647 w 576"/>
                  <a:gd name="T37" fmla="*/ 2147483647 h 822"/>
                  <a:gd name="T38" fmla="*/ 2147483647 w 576"/>
                  <a:gd name="T39" fmla="*/ 2147483647 h 822"/>
                  <a:gd name="T40" fmla="*/ 2147483647 w 576"/>
                  <a:gd name="T41" fmla="*/ 2147483647 h 822"/>
                  <a:gd name="T42" fmla="*/ 2147483647 w 576"/>
                  <a:gd name="T43" fmla="*/ 2147483647 h 822"/>
                  <a:gd name="T44" fmla="*/ 2147483647 w 576"/>
                  <a:gd name="T45" fmla="*/ 2147483647 h 822"/>
                  <a:gd name="T46" fmla="*/ 2147483647 w 576"/>
                  <a:gd name="T47" fmla="*/ 2147483647 h 822"/>
                  <a:gd name="T48" fmla="*/ 2147483647 w 576"/>
                  <a:gd name="T49" fmla="*/ 2147483647 h 822"/>
                  <a:gd name="T50" fmla="*/ 2147483647 w 576"/>
                  <a:gd name="T51" fmla="*/ 2147483647 h 822"/>
                  <a:gd name="T52" fmla="*/ 2147483647 w 576"/>
                  <a:gd name="T53" fmla="*/ 2147483647 h 822"/>
                  <a:gd name="T54" fmla="*/ 2147483647 w 576"/>
                  <a:gd name="T55" fmla="*/ 2147483647 h 822"/>
                  <a:gd name="T56" fmla="*/ 2147483647 w 576"/>
                  <a:gd name="T57" fmla="*/ 2147483647 h 822"/>
                  <a:gd name="T58" fmla="*/ 2147483647 w 576"/>
                  <a:gd name="T59" fmla="*/ 2147483647 h 822"/>
                  <a:gd name="T60" fmla="*/ 2147483647 w 576"/>
                  <a:gd name="T61" fmla="*/ 2147483647 h 822"/>
                  <a:gd name="T62" fmla="*/ 2147483647 w 576"/>
                  <a:gd name="T63" fmla="*/ 2147483647 h 822"/>
                  <a:gd name="T64" fmla="*/ 2147483647 w 576"/>
                  <a:gd name="T65" fmla="*/ 2147483647 h 822"/>
                  <a:gd name="T66" fmla="*/ 2147483647 w 576"/>
                  <a:gd name="T67" fmla="*/ 2147483647 h 822"/>
                  <a:gd name="T68" fmla="*/ 2147483647 w 576"/>
                  <a:gd name="T69" fmla="*/ 2147483647 h 822"/>
                  <a:gd name="T70" fmla="*/ 2147483647 w 576"/>
                  <a:gd name="T71" fmla="*/ 2147483647 h 822"/>
                  <a:gd name="T72" fmla="*/ 2147483647 w 576"/>
                  <a:gd name="T73" fmla="*/ 2147483647 h 822"/>
                  <a:gd name="T74" fmla="*/ 2147483647 w 576"/>
                  <a:gd name="T75" fmla="*/ 2147483647 h 822"/>
                  <a:gd name="T76" fmla="*/ 2147483647 w 576"/>
                  <a:gd name="T77" fmla="*/ 2147483647 h 822"/>
                  <a:gd name="T78" fmla="*/ 2147483647 w 576"/>
                  <a:gd name="T79" fmla="*/ 2147483647 h 822"/>
                  <a:gd name="T80" fmla="*/ 2147483647 w 576"/>
                  <a:gd name="T81" fmla="*/ 2147483647 h 822"/>
                  <a:gd name="T82" fmla="*/ 2147483647 w 576"/>
                  <a:gd name="T83" fmla="*/ 2147483647 h 822"/>
                  <a:gd name="T84" fmla="*/ 2147483647 w 576"/>
                  <a:gd name="T85" fmla="*/ 2147483647 h 822"/>
                  <a:gd name="T86" fmla="*/ 2147483647 w 576"/>
                  <a:gd name="T87" fmla="*/ 2147483647 h 822"/>
                  <a:gd name="T88" fmla="*/ 2147483647 w 576"/>
                  <a:gd name="T89" fmla="*/ 2147483647 h 822"/>
                  <a:gd name="T90" fmla="*/ 2147483647 w 576"/>
                  <a:gd name="T91" fmla="*/ 2147483647 h 822"/>
                  <a:gd name="T92" fmla="*/ 2147483647 w 576"/>
                  <a:gd name="T93" fmla="*/ 2147483647 h 822"/>
                  <a:gd name="T94" fmla="*/ 2147483647 w 576"/>
                  <a:gd name="T95" fmla="*/ 2147483647 h 822"/>
                  <a:gd name="T96" fmla="*/ 2147483647 w 576"/>
                  <a:gd name="T97" fmla="*/ 2147483647 h 822"/>
                  <a:gd name="T98" fmla="*/ 2147483647 w 576"/>
                  <a:gd name="T99" fmla="*/ 2147483647 h 822"/>
                  <a:gd name="T100" fmla="*/ 2147483647 w 576"/>
                  <a:gd name="T101" fmla="*/ 2147483647 h 822"/>
                  <a:gd name="T102" fmla="*/ 2147483647 w 576"/>
                  <a:gd name="T103" fmla="*/ 2147483647 h 822"/>
                  <a:gd name="T104" fmla="*/ 2147483647 w 576"/>
                  <a:gd name="T105" fmla="*/ 2147483647 h 822"/>
                  <a:gd name="T106" fmla="*/ 2147483647 w 576"/>
                  <a:gd name="T107" fmla="*/ 2147483647 h 822"/>
                  <a:gd name="T108" fmla="*/ 2147483647 w 576"/>
                  <a:gd name="T109" fmla="*/ 2147483647 h 822"/>
                  <a:gd name="T110" fmla="*/ 2147483647 w 576"/>
                  <a:gd name="T111" fmla="*/ 2147483647 h 822"/>
                  <a:gd name="T112" fmla="*/ 2147483647 w 576"/>
                  <a:gd name="T113" fmla="*/ 2147483647 h 822"/>
                  <a:gd name="T114" fmla="*/ 2147483647 w 576"/>
                  <a:gd name="T115" fmla="*/ 2147483647 h 822"/>
                  <a:gd name="T116" fmla="*/ 2147483647 w 576"/>
                  <a:gd name="T117" fmla="*/ 2147483647 h 822"/>
                  <a:gd name="T118" fmla="*/ 2147483647 w 576"/>
                  <a:gd name="T119" fmla="*/ 2147483647 h 822"/>
                  <a:gd name="T120" fmla="*/ 2147483647 w 576"/>
                  <a:gd name="T121" fmla="*/ 2147483647 h 822"/>
                  <a:gd name="T122" fmla="*/ 2147483647 w 576"/>
                  <a:gd name="T123" fmla="*/ 2147483647 h 8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6"/>
                  <a:gd name="T187" fmla="*/ 0 h 822"/>
                  <a:gd name="T188" fmla="*/ 576 w 576"/>
                  <a:gd name="T189" fmla="*/ 822 h 8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6" h="822">
                    <a:moveTo>
                      <a:pt x="162" y="378"/>
                    </a:moveTo>
                    <a:lnTo>
                      <a:pt x="156" y="378"/>
                    </a:lnTo>
                    <a:lnTo>
                      <a:pt x="150" y="384"/>
                    </a:lnTo>
                    <a:lnTo>
                      <a:pt x="150" y="396"/>
                    </a:lnTo>
                    <a:lnTo>
                      <a:pt x="144" y="414"/>
                    </a:lnTo>
                    <a:lnTo>
                      <a:pt x="156" y="402"/>
                    </a:lnTo>
                    <a:lnTo>
                      <a:pt x="162" y="390"/>
                    </a:lnTo>
                    <a:lnTo>
                      <a:pt x="162" y="378"/>
                    </a:lnTo>
                    <a:close/>
                    <a:moveTo>
                      <a:pt x="132" y="312"/>
                    </a:moveTo>
                    <a:lnTo>
                      <a:pt x="126" y="312"/>
                    </a:lnTo>
                    <a:lnTo>
                      <a:pt x="126" y="336"/>
                    </a:lnTo>
                    <a:lnTo>
                      <a:pt x="132" y="336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44" y="318"/>
                    </a:lnTo>
                    <a:lnTo>
                      <a:pt x="138" y="312"/>
                    </a:lnTo>
                    <a:lnTo>
                      <a:pt x="132" y="312"/>
                    </a:lnTo>
                    <a:close/>
                    <a:moveTo>
                      <a:pt x="114" y="390"/>
                    </a:moveTo>
                    <a:lnTo>
                      <a:pt x="126" y="390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72"/>
                    </a:lnTo>
                    <a:lnTo>
                      <a:pt x="108" y="384"/>
                    </a:lnTo>
                    <a:lnTo>
                      <a:pt x="108" y="390"/>
                    </a:lnTo>
                    <a:lnTo>
                      <a:pt x="114" y="390"/>
                    </a:lnTo>
                    <a:close/>
                    <a:moveTo>
                      <a:pt x="330" y="120"/>
                    </a:moveTo>
                    <a:lnTo>
                      <a:pt x="324" y="120"/>
                    </a:lnTo>
                    <a:lnTo>
                      <a:pt x="318" y="126"/>
                    </a:lnTo>
                    <a:lnTo>
                      <a:pt x="318" y="138"/>
                    </a:lnTo>
                    <a:lnTo>
                      <a:pt x="330" y="138"/>
                    </a:lnTo>
                    <a:lnTo>
                      <a:pt x="336" y="126"/>
                    </a:lnTo>
                    <a:lnTo>
                      <a:pt x="330" y="120"/>
                    </a:lnTo>
                    <a:close/>
                    <a:moveTo>
                      <a:pt x="138" y="258"/>
                    </a:moveTo>
                    <a:lnTo>
                      <a:pt x="138" y="234"/>
                    </a:lnTo>
                    <a:lnTo>
                      <a:pt x="126" y="234"/>
                    </a:lnTo>
                    <a:lnTo>
                      <a:pt x="120" y="240"/>
                    </a:lnTo>
                    <a:lnTo>
                      <a:pt x="120" y="246"/>
                    </a:lnTo>
                    <a:lnTo>
                      <a:pt x="126" y="252"/>
                    </a:lnTo>
                    <a:lnTo>
                      <a:pt x="108" y="252"/>
                    </a:lnTo>
                    <a:lnTo>
                      <a:pt x="108" y="258"/>
                    </a:lnTo>
                    <a:lnTo>
                      <a:pt x="114" y="264"/>
                    </a:lnTo>
                    <a:lnTo>
                      <a:pt x="120" y="264"/>
                    </a:lnTo>
                    <a:lnTo>
                      <a:pt x="126" y="270"/>
                    </a:lnTo>
                    <a:lnTo>
                      <a:pt x="150" y="270"/>
                    </a:lnTo>
                    <a:lnTo>
                      <a:pt x="138" y="258"/>
                    </a:lnTo>
                    <a:close/>
                    <a:moveTo>
                      <a:pt x="474" y="0"/>
                    </a:moveTo>
                    <a:lnTo>
                      <a:pt x="468" y="0"/>
                    </a:lnTo>
                    <a:lnTo>
                      <a:pt x="456" y="12"/>
                    </a:lnTo>
                    <a:lnTo>
                      <a:pt x="474" y="12"/>
                    </a:lnTo>
                    <a:lnTo>
                      <a:pt x="474" y="6"/>
                    </a:lnTo>
                    <a:lnTo>
                      <a:pt x="480" y="0"/>
                    </a:lnTo>
                    <a:lnTo>
                      <a:pt x="474" y="0"/>
                    </a:lnTo>
                    <a:close/>
                    <a:moveTo>
                      <a:pt x="432" y="48"/>
                    </a:moveTo>
                    <a:lnTo>
                      <a:pt x="432" y="66"/>
                    </a:lnTo>
                    <a:lnTo>
                      <a:pt x="438" y="66"/>
                    </a:lnTo>
                    <a:lnTo>
                      <a:pt x="444" y="60"/>
                    </a:lnTo>
                    <a:lnTo>
                      <a:pt x="450" y="48"/>
                    </a:lnTo>
                    <a:lnTo>
                      <a:pt x="450" y="24"/>
                    </a:lnTo>
                    <a:lnTo>
                      <a:pt x="438" y="12"/>
                    </a:lnTo>
                    <a:lnTo>
                      <a:pt x="432" y="24"/>
                    </a:lnTo>
                    <a:lnTo>
                      <a:pt x="426" y="30"/>
                    </a:lnTo>
                    <a:lnTo>
                      <a:pt x="420" y="30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2" y="48"/>
                    </a:lnTo>
                    <a:close/>
                    <a:moveTo>
                      <a:pt x="342" y="138"/>
                    </a:moveTo>
                    <a:lnTo>
                      <a:pt x="342" y="150"/>
                    </a:lnTo>
                    <a:lnTo>
                      <a:pt x="354" y="138"/>
                    </a:lnTo>
                    <a:lnTo>
                      <a:pt x="342" y="138"/>
                    </a:lnTo>
                    <a:close/>
                    <a:moveTo>
                      <a:pt x="192" y="402"/>
                    </a:moveTo>
                    <a:lnTo>
                      <a:pt x="192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74" y="390"/>
                    </a:lnTo>
                    <a:lnTo>
                      <a:pt x="174" y="396"/>
                    </a:lnTo>
                    <a:lnTo>
                      <a:pt x="180" y="402"/>
                    </a:lnTo>
                    <a:lnTo>
                      <a:pt x="192" y="402"/>
                    </a:lnTo>
                    <a:close/>
                    <a:moveTo>
                      <a:pt x="504" y="588"/>
                    </a:moveTo>
                    <a:lnTo>
                      <a:pt x="498" y="594"/>
                    </a:lnTo>
                    <a:lnTo>
                      <a:pt x="498" y="600"/>
                    </a:lnTo>
                    <a:lnTo>
                      <a:pt x="480" y="600"/>
                    </a:lnTo>
                    <a:lnTo>
                      <a:pt x="480" y="588"/>
                    </a:lnTo>
                    <a:lnTo>
                      <a:pt x="486" y="576"/>
                    </a:lnTo>
                    <a:lnTo>
                      <a:pt x="498" y="564"/>
                    </a:lnTo>
                    <a:lnTo>
                      <a:pt x="492" y="558"/>
                    </a:lnTo>
                    <a:lnTo>
                      <a:pt x="456" y="540"/>
                    </a:lnTo>
                    <a:lnTo>
                      <a:pt x="450" y="540"/>
                    </a:lnTo>
                    <a:lnTo>
                      <a:pt x="444" y="534"/>
                    </a:lnTo>
                    <a:lnTo>
                      <a:pt x="450" y="534"/>
                    </a:lnTo>
                    <a:lnTo>
                      <a:pt x="456" y="528"/>
                    </a:lnTo>
                    <a:lnTo>
                      <a:pt x="480" y="528"/>
                    </a:lnTo>
                    <a:lnTo>
                      <a:pt x="468" y="516"/>
                    </a:lnTo>
                    <a:lnTo>
                      <a:pt x="468" y="510"/>
                    </a:lnTo>
                    <a:lnTo>
                      <a:pt x="456" y="498"/>
                    </a:lnTo>
                    <a:lnTo>
                      <a:pt x="450" y="486"/>
                    </a:lnTo>
                    <a:lnTo>
                      <a:pt x="432" y="468"/>
                    </a:lnTo>
                    <a:lnTo>
                      <a:pt x="420" y="468"/>
                    </a:lnTo>
                    <a:lnTo>
                      <a:pt x="414" y="456"/>
                    </a:lnTo>
                    <a:lnTo>
                      <a:pt x="402" y="450"/>
                    </a:lnTo>
                    <a:lnTo>
                      <a:pt x="390" y="438"/>
                    </a:lnTo>
                    <a:lnTo>
                      <a:pt x="390" y="414"/>
                    </a:lnTo>
                    <a:lnTo>
                      <a:pt x="396" y="402"/>
                    </a:lnTo>
                    <a:lnTo>
                      <a:pt x="396" y="390"/>
                    </a:lnTo>
                    <a:lnTo>
                      <a:pt x="384" y="390"/>
                    </a:lnTo>
                    <a:lnTo>
                      <a:pt x="378" y="384"/>
                    </a:lnTo>
                    <a:lnTo>
                      <a:pt x="372" y="372"/>
                    </a:lnTo>
                    <a:lnTo>
                      <a:pt x="360" y="360"/>
                    </a:lnTo>
                    <a:lnTo>
                      <a:pt x="342" y="354"/>
                    </a:lnTo>
                    <a:lnTo>
                      <a:pt x="324" y="354"/>
                    </a:lnTo>
                    <a:lnTo>
                      <a:pt x="306" y="360"/>
                    </a:lnTo>
                    <a:lnTo>
                      <a:pt x="294" y="366"/>
                    </a:lnTo>
                    <a:lnTo>
                      <a:pt x="288" y="366"/>
                    </a:lnTo>
                    <a:lnTo>
                      <a:pt x="270" y="348"/>
                    </a:lnTo>
                    <a:lnTo>
                      <a:pt x="282" y="348"/>
                    </a:lnTo>
                    <a:lnTo>
                      <a:pt x="294" y="354"/>
                    </a:lnTo>
                    <a:lnTo>
                      <a:pt x="306" y="354"/>
                    </a:lnTo>
                    <a:lnTo>
                      <a:pt x="330" y="342"/>
                    </a:lnTo>
                    <a:lnTo>
                      <a:pt x="336" y="336"/>
                    </a:lnTo>
                    <a:lnTo>
                      <a:pt x="330" y="336"/>
                    </a:lnTo>
                    <a:lnTo>
                      <a:pt x="324" y="330"/>
                    </a:lnTo>
                    <a:lnTo>
                      <a:pt x="306" y="330"/>
                    </a:lnTo>
                    <a:lnTo>
                      <a:pt x="330" y="324"/>
                    </a:lnTo>
                    <a:lnTo>
                      <a:pt x="336" y="318"/>
                    </a:lnTo>
                    <a:lnTo>
                      <a:pt x="348" y="312"/>
                    </a:lnTo>
                    <a:lnTo>
                      <a:pt x="360" y="300"/>
                    </a:lnTo>
                    <a:lnTo>
                      <a:pt x="360" y="288"/>
                    </a:lnTo>
                    <a:lnTo>
                      <a:pt x="366" y="276"/>
                    </a:lnTo>
                    <a:lnTo>
                      <a:pt x="372" y="270"/>
                    </a:lnTo>
                    <a:lnTo>
                      <a:pt x="378" y="258"/>
                    </a:lnTo>
                    <a:lnTo>
                      <a:pt x="384" y="252"/>
                    </a:lnTo>
                    <a:lnTo>
                      <a:pt x="396" y="246"/>
                    </a:lnTo>
                    <a:lnTo>
                      <a:pt x="402" y="246"/>
                    </a:lnTo>
                    <a:lnTo>
                      <a:pt x="402" y="240"/>
                    </a:lnTo>
                    <a:lnTo>
                      <a:pt x="396" y="234"/>
                    </a:lnTo>
                    <a:lnTo>
                      <a:pt x="318" y="234"/>
                    </a:lnTo>
                    <a:lnTo>
                      <a:pt x="318" y="228"/>
                    </a:lnTo>
                    <a:lnTo>
                      <a:pt x="288" y="228"/>
                    </a:lnTo>
                    <a:lnTo>
                      <a:pt x="276" y="234"/>
                    </a:lnTo>
                    <a:lnTo>
                      <a:pt x="264" y="234"/>
                    </a:lnTo>
                    <a:lnTo>
                      <a:pt x="258" y="240"/>
                    </a:lnTo>
                    <a:lnTo>
                      <a:pt x="252" y="240"/>
                    </a:lnTo>
                    <a:lnTo>
                      <a:pt x="264" y="228"/>
                    </a:lnTo>
                    <a:lnTo>
                      <a:pt x="252" y="216"/>
                    </a:lnTo>
                    <a:lnTo>
                      <a:pt x="270" y="210"/>
                    </a:lnTo>
                    <a:lnTo>
                      <a:pt x="300" y="192"/>
                    </a:lnTo>
                    <a:lnTo>
                      <a:pt x="312" y="186"/>
                    </a:lnTo>
                    <a:lnTo>
                      <a:pt x="324" y="162"/>
                    </a:lnTo>
                    <a:lnTo>
                      <a:pt x="318" y="156"/>
                    </a:lnTo>
                    <a:lnTo>
                      <a:pt x="288" y="156"/>
                    </a:lnTo>
                    <a:lnTo>
                      <a:pt x="276" y="162"/>
                    </a:lnTo>
                    <a:lnTo>
                      <a:pt x="258" y="168"/>
                    </a:lnTo>
                    <a:lnTo>
                      <a:pt x="240" y="168"/>
                    </a:lnTo>
                    <a:lnTo>
                      <a:pt x="228" y="162"/>
                    </a:lnTo>
                    <a:lnTo>
                      <a:pt x="216" y="162"/>
                    </a:lnTo>
                    <a:lnTo>
                      <a:pt x="210" y="168"/>
                    </a:lnTo>
                    <a:lnTo>
                      <a:pt x="210" y="174"/>
                    </a:lnTo>
                    <a:lnTo>
                      <a:pt x="216" y="180"/>
                    </a:lnTo>
                    <a:lnTo>
                      <a:pt x="204" y="180"/>
                    </a:lnTo>
                    <a:lnTo>
                      <a:pt x="192" y="192"/>
                    </a:lnTo>
                    <a:lnTo>
                      <a:pt x="192" y="210"/>
                    </a:lnTo>
                    <a:lnTo>
                      <a:pt x="198" y="216"/>
                    </a:lnTo>
                    <a:lnTo>
                      <a:pt x="156" y="222"/>
                    </a:lnTo>
                    <a:lnTo>
                      <a:pt x="156" y="234"/>
                    </a:lnTo>
                    <a:lnTo>
                      <a:pt x="168" y="240"/>
                    </a:lnTo>
                    <a:lnTo>
                      <a:pt x="180" y="264"/>
                    </a:lnTo>
                    <a:lnTo>
                      <a:pt x="162" y="282"/>
                    </a:lnTo>
                    <a:lnTo>
                      <a:pt x="162" y="294"/>
                    </a:lnTo>
                    <a:lnTo>
                      <a:pt x="144" y="300"/>
                    </a:lnTo>
                    <a:lnTo>
                      <a:pt x="156" y="312"/>
                    </a:lnTo>
                    <a:lnTo>
                      <a:pt x="168" y="312"/>
                    </a:lnTo>
                    <a:lnTo>
                      <a:pt x="180" y="306"/>
                    </a:lnTo>
                    <a:lnTo>
                      <a:pt x="186" y="300"/>
                    </a:lnTo>
                    <a:lnTo>
                      <a:pt x="186" y="318"/>
                    </a:lnTo>
                    <a:lnTo>
                      <a:pt x="180" y="318"/>
                    </a:lnTo>
                    <a:lnTo>
                      <a:pt x="168" y="330"/>
                    </a:lnTo>
                    <a:lnTo>
                      <a:pt x="156" y="336"/>
                    </a:lnTo>
                    <a:lnTo>
                      <a:pt x="156" y="360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98" y="366"/>
                    </a:lnTo>
                    <a:lnTo>
                      <a:pt x="210" y="360"/>
                    </a:lnTo>
                    <a:lnTo>
                      <a:pt x="216" y="354"/>
                    </a:lnTo>
                    <a:lnTo>
                      <a:pt x="198" y="372"/>
                    </a:lnTo>
                    <a:lnTo>
                      <a:pt x="210" y="402"/>
                    </a:lnTo>
                    <a:lnTo>
                      <a:pt x="204" y="408"/>
                    </a:lnTo>
                    <a:lnTo>
                      <a:pt x="198" y="420"/>
                    </a:lnTo>
                    <a:lnTo>
                      <a:pt x="186" y="426"/>
                    </a:ln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204" y="456"/>
                    </a:lnTo>
                    <a:lnTo>
                      <a:pt x="216" y="450"/>
                    </a:lnTo>
                    <a:lnTo>
                      <a:pt x="240" y="450"/>
                    </a:lnTo>
                    <a:lnTo>
                      <a:pt x="252" y="444"/>
                    </a:lnTo>
                    <a:lnTo>
                      <a:pt x="258" y="438"/>
                    </a:lnTo>
                    <a:lnTo>
                      <a:pt x="270" y="432"/>
                    </a:lnTo>
                    <a:lnTo>
                      <a:pt x="300" y="438"/>
                    </a:lnTo>
                    <a:lnTo>
                      <a:pt x="288" y="444"/>
                    </a:lnTo>
                    <a:lnTo>
                      <a:pt x="264" y="468"/>
                    </a:lnTo>
                    <a:lnTo>
                      <a:pt x="264" y="474"/>
                    </a:lnTo>
                    <a:lnTo>
                      <a:pt x="282" y="492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6" y="498"/>
                    </a:lnTo>
                    <a:lnTo>
                      <a:pt x="312" y="516"/>
                    </a:lnTo>
                    <a:lnTo>
                      <a:pt x="294" y="534"/>
                    </a:lnTo>
                    <a:lnTo>
                      <a:pt x="294" y="564"/>
                    </a:lnTo>
                    <a:lnTo>
                      <a:pt x="222" y="564"/>
                    </a:lnTo>
                    <a:lnTo>
                      <a:pt x="216" y="558"/>
                    </a:lnTo>
                    <a:lnTo>
                      <a:pt x="198" y="558"/>
                    </a:lnTo>
                    <a:lnTo>
                      <a:pt x="192" y="564"/>
                    </a:lnTo>
                    <a:lnTo>
                      <a:pt x="210" y="582"/>
                    </a:lnTo>
                    <a:lnTo>
                      <a:pt x="186" y="600"/>
                    </a:lnTo>
                    <a:lnTo>
                      <a:pt x="228" y="594"/>
                    </a:lnTo>
                    <a:lnTo>
                      <a:pt x="228" y="618"/>
                    </a:lnTo>
                    <a:lnTo>
                      <a:pt x="216" y="642"/>
                    </a:lnTo>
                    <a:lnTo>
                      <a:pt x="210" y="648"/>
                    </a:lnTo>
                    <a:lnTo>
                      <a:pt x="198" y="654"/>
                    </a:lnTo>
                    <a:lnTo>
                      <a:pt x="180" y="660"/>
                    </a:lnTo>
                    <a:lnTo>
                      <a:pt x="168" y="666"/>
                    </a:lnTo>
                    <a:lnTo>
                      <a:pt x="162" y="666"/>
                    </a:lnTo>
                    <a:lnTo>
                      <a:pt x="162" y="690"/>
                    </a:lnTo>
                    <a:lnTo>
                      <a:pt x="168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92" y="684"/>
                    </a:lnTo>
                    <a:lnTo>
                      <a:pt x="198" y="678"/>
                    </a:lnTo>
                    <a:lnTo>
                      <a:pt x="204" y="684"/>
                    </a:lnTo>
                    <a:lnTo>
                      <a:pt x="204" y="690"/>
                    </a:lnTo>
                    <a:lnTo>
                      <a:pt x="210" y="696"/>
                    </a:lnTo>
                    <a:lnTo>
                      <a:pt x="234" y="696"/>
                    </a:lnTo>
                    <a:lnTo>
                      <a:pt x="240" y="702"/>
                    </a:lnTo>
                    <a:lnTo>
                      <a:pt x="252" y="708"/>
                    </a:lnTo>
                    <a:lnTo>
                      <a:pt x="258" y="708"/>
                    </a:lnTo>
                    <a:lnTo>
                      <a:pt x="276" y="702"/>
                    </a:lnTo>
                    <a:lnTo>
                      <a:pt x="288" y="696"/>
                    </a:lnTo>
                    <a:lnTo>
                      <a:pt x="294" y="690"/>
                    </a:lnTo>
                    <a:lnTo>
                      <a:pt x="318" y="690"/>
                    </a:lnTo>
                    <a:lnTo>
                      <a:pt x="312" y="696"/>
                    </a:lnTo>
                    <a:lnTo>
                      <a:pt x="300" y="702"/>
                    </a:lnTo>
                    <a:lnTo>
                      <a:pt x="294" y="714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10" y="726"/>
                    </a:lnTo>
                    <a:lnTo>
                      <a:pt x="210" y="738"/>
                    </a:lnTo>
                    <a:lnTo>
                      <a:pt x="198" y="738"/>
                    </a:lnTo>
                    <a:lnTo>
                      <a:pt x="186" y="744"/>
                    </a:lnTo>
                    <a:lnTo>
                      <a:pt x="180" y="750"/>
                    </a:lnTo>
                    <a:lnTo>
                      <a:pt x="180" y="768"/>
                    </a:lnTo>
                    <a:lnTo>
                      <a:pt x="174" y="774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86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14" y="810"/>
                    </a:lnTo>
                    <a:lnTo>
                      <a:pt x="108" y="810"/>
                    </a:lnTo>
                    <a:lnTo>
                      <a:pt x="108" y="816"/>
                    </a:lnTo>
                    <a:lnTo>
                      <a:pt x="114" y="816"/>
                    </a:lnTo>
                    <a:lnTo>
                      <a:pt x="120" y="822"/>
                    </a:lnTo>
                    <a:lnTo>
                      <a:pt x="150" y="822"/>
                    </a:lnTo>
                    <a:lnTo>
                      <a:pt x="156" y="810"/>
                    </a:lnTo>
                    <a:lnTo>
                      <a:pt x="174" y="792"/>
                    </a:lnTo>
                    <a:lnTo>
                      <a:pt x="210" y="792"/>
                    </a:lnTo>
                    <a:lnTo>
                      <a:pt x="216" y="798"/>
                    </a:lnTo>
                    <a:lnTo>
                      <a:pt x="228" y="804"/>
                    </a:lnTo>
                    <a:lnTo>
                      <a:pt x="240" y="804"/>
                    </a:lnTo>
                    <a:lnTo>
                      <a:pt x="246" y="792"/>
                    </a:lnTo>
                    <a:lnTo>
                      <a:pt x="252" y="786"/>
                    </a:lnTo>
                    <a:lnTo>
                      <a:pt x="258" y="774"/>
                    </a:lnTo>
                    <a:lnTo>
                      <a:pt x="270" y="762"/>
                    </a:lnTo>
                    <a:lnTo>
                      <a:pt x="288" y="762"/>
                    </a:lnTo>
                    <a:lnTo>
                      <a:pt x="300" y="774"/>
                    </a:lnTo>
                    <a:lnTo>
                      <a:pt x="330" y="774"/>
                    </a:lnTo>
                    <a:lnTo>
                      <a:pt x="354" y="762"/>
                    </a:lnTo>
                    <a:lnTo>
                      <a:pt x="360" y="762"/>
                    </a:lnTo>
                    <a:lnTo>
                      <a:pt x="366" y="768"/>
                    </a:lnTo>
                    <a:lnTo>
                      <a:pt x="378" y="768"/>
                    </a:lnTo>
                    <a:lnTo>
                      <a:pt x="390" y="774"/>
                    </a:lnTo>
                    <a:lnTo>
                      <a:pt x="396" y="774"/>
                    </a:lnTo>
                    <a:lnTo>
                      <a:pt x="396" y="768"/>
                    </a:lnTo>
                    <a:lnTo>
                      <a:pt x="390" y="762"/>
                    </a:lnTo>
                    <a:lnTo>
                      <a:pt x="390" y="750"/>
                    </a:lnTo>
                    <a:lnTo>
                      <a:pt x="396" y="750"/>
                    </a:lnTo>
                    <a:lnTo>
                      <a:pt x="408" y="756"/>
                    </a:lnTo>
                    <a:lnTo>
                      <a:pt x="414" y="762"/>
                    </a:lnTo>
                    <a:lnTo>
                      <a:pt x="426" y="756"/>
                    </a:lnTo>
                    <a:lnTo>
                      <a:pt x="498" y="756"/>
                    </a:lnTo>
                    <a:lnTo>
                      <a:pt x="522" y="750"/>
                    </a:lnTo>
                    <a:lnTo>
                      <a:pt x="534" y="744"/>
                    </a:lnTo>
                    <a:lnTo>
                      <a:pt x="540" y="732"/>
                    </a:lnTo>
                    <a:lnTo>
                      <a:pt x="546" y="726"/>
                    </a:lnTo>
                    <a:lnTo>
                      <a:pt x="552" y="714"/>
                    </a:lnTo>
                    <a:lnTo>
                      <a:pt x="498" y="708"/>
                    </a:lnTo>
                    <a:lnTo>
                      <a:pt x="522" y="702"/>
                    </a:lnTo>
                    <a:lnTo>
                      <a:pt x="516" y="684"/>
                    </a:lnTo>
                    <a:lnTo>
                      <a:pt x="528" y="672"/>
                    </a:lnTo>
                    <a:lnTo>
                      <a:pt x="540" y="666"/>
                    </a:lnTo>
                    <a:lnTo>
                      <a:pt x="546" y="666"/>
                    </a:lnTo>
                    <a:lnTo>
                      <a:pt x="558" y="660"/>
                    </a:lnTo>
                    <a:lnTo>
                      <a:pt x="564" y="654"/>
                    </a:lnTo>
                    <a:lnTo>
                      <a:pt x="576" y="618"/>
                    </a:lnTo>
                    <a:lnTo>
                      <a:pt x="570" y="606"/>
                    </a:lnTo>
                    <a:lnTo>
                      <a:pt x="564" y="600"/>
                    </a:lnTo>
                    <a:lnTo>
                      <a:pt x="552" y="594"/>
                    </a:lnTo>
                    <a:lnTo>
                      <a:pt x="540" y="594"/>
                    </a:lnTo>
                    <a:lnTo>
                      <a:pt x="528" y="588"/>
                    </a:lnTo>
                    <a:lnTo>
                      <a:pt x="504" y="588"/>
                    </a:lnTo>
                    <a:close/>
                    <a:moveTo>
                      <a:pt x="222" y="486"/>
                    </a:moveTo>
                    <a:lnTo>
                      <a:pt x="216" y="480"/>
                    </a:lnTo>
                    <a:lnTo>
                      <a:pt x="204" y="480"/>
                    </a:lnTo>
                    <a:lnTo>
                      <a:pt x="204" y="486"/>
                    </a:lnTo>
                    <a:lnTo>
                      <a:pt x="198" y="498"/>
                    </a:lnTo>
                    <a:lnTo>
                      <a:pt x="192" y="504"/>
                    </a:lnTo>
                    <a:lnTo>
                      <a:pt x="210" y="504"/>
                    </a:lnTo>
                    <a:lnTo>
                      <a:pt x="222" y="492"/>
                    </a:lnTo>
                    <a:lnTo>
                      <a:pt x="222" y="486"/>
                    </a:lnTo>
                    <a:close/>
                    <a:moveTo>
                      <a:pt x="126" y="504"/>
                    </a:moveTo>
                    <a:lnTo>
                      <a:pt x="132" y="498"/>
                    </a:lnTo>
                    <a:lnTo>
                      <a:pt x="132" y="492"/>
                    </a:lnTo>
                    <a:lnTo>
                      <a:pt x="144" y="492"/>
                    </a:lnTo>
                    <a:lnTo>
                      <a:pt x="150" y="480"/>
                    </a:lnTo>
                    <a:lnTo>
                      <a:pt x="156" y="474"/>
                    </a:lnTo>
                    <a:lnTo>
                      <a:pt x="156" y="462"/>
                    </a:lnTo>
                    <a:lnTo>
                      <a:pt x="138" y="444"/>
                    </a:lnTo>
                    <a:lnTo>
                      <a:pt x="138" y="432"/>
                    </a:lnTo>
                    <a:lnTo>
                      <a:pt x="132" y="438"/>
                    </a:lnTo>
                    <a:lnTo>
                      <a:pt x="126" y="426"/>
                    </a:lnTo>
                    <a:lnTo>
                      <a:pt x="120" y="420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30" y="450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18" y="468"/>
                    </a:lnTo>
                    <a:lnTo>
                      <a:pt x="12" y="468"/>
                    </a:lnTo>
                    <a:lnTo>
                      <a:pt x="0" y="480"/>
                    </a:lnTo>
                    <a:lnTo>
                      <a:pt x="6" y="486"/>
                    </a:lnTo>
                    <a:lnTo>
                      <a:pt x="30" y="498"/>
                    </a:lnTo>
                    <a:lnTo>
                      <a:pt x="42" y="498"/>
                    </a:lnTo>
                    <a:lnTo>
                      <a:pt x="66" y="474"/>
                    </a:lnTo>
                    <a:lnTo>
                      <a:pt x="84" y="498"/>
                    </a:lnTo>
                    <a:lnTo>
                      <a:pt x="120" y="504"/>
                    </a:lnTo>
                    <a:lnTo>
                      <a:pt x="126" y="504"/>
                    </a:lnTo>
                    <a:close/>
                    <a:moveTo>
                      <a:pt x="78" y="228"/>
                    </a:moveTo>
                    <a:lnTo>
                      <a:pt x="72" y="228"/>
                    </a:lnTo>
                    <a:lnTo>
                      <a:pt x="66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84" y="228"/>
                    </a:lnTo>
                    <a:lnTo>
                      <a:pt x="78" y="228"/>
                    </a:lnTo>
                    <a:close/>
                    <a:moveTo>
                      <a:pt x="108" y="210"/>
                    </a:moveTo>
                    <a:lnTo>
                      <a:pt x="126" y="210"/>
                    </a:lnTo>
                    <a:lnTo>
                      <a:pt x="132" y="204"/>
                    </a:lnTo>
                    <a:lnTo>
                      <a:pt x="132" y="198"/>
                    </a:lnTo>
                    <a:lnTo>
                      <a:pt x="138" y="186"/>
                    </a:lnTo>
                    <a:lnTo>
                      <a:pt x="150" y="174"/>
                    </a:lnTo>
                    <a:lnTo>
                      <a:pt x="150" y="168"/>
                    </a:lnTo>
                    <a:lnTo>
                      <a:pt x="138" y="174"/>
                    </a:lnTo>
                    <a:lnTo>
                      <a:pt x="132" y="174"/>
                    </a:lnTo>
                    <a:lnTo>
                      <a:pt x="114" y="192"/>
                    </a:lnTo>
                    <a:lnTo>
                      <a:pt x="108" y="186"/>
                    </a:lnTo>
                    <a:lnTo>
                      <a:pt x="96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6" y="216"/>
                    </a:lnTo>
                    <a:lnTo>
                      <a:pt x="96" y="228"/>
                    </a:lnTo>
                    <a:lnTo>
                      <a:pt x="108" y="210"/>
                    </a:lnTo>
                    <a:close/>
                    <a:moveTo>
                      <a:pt x="72" y="252"/>
                    </a:moveTo>
                    <a:lnTo>
                      <a:pt x="60" y="282"/>
                    </a:lnTo>
                    <a:lnTo>
                      <a:pt x="78" y="258"/>
                    </a:lnTo>
                    <a:lnTo>
                      <a:pt x="72" y="25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0" name="Ukrai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062290D-8652-DFA5-BDED-7EED2B9DFF3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60282" y="2027310"/>
                <a:ext cx="501958" cy="282057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1" name="Turke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19ED8A9-CA52-7556-35C5-B5447B98764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63157" y="2387421"/>
                <a:ext cx="597738" cy="227063"/>
              </a:xfrm>
              <a:custGeom>
                <a:avLst/>
                <a:gdLst>
                  <a:gd name="T0" fmla="*/ 2147483647 w 1332"/>
                  <a:gd name="T1" fmla="*/ 2147483647 h 510"/>
                  <a:gd name="T2" fmla="*/ 2147483647 w 1332"/>
                  <a:gd name="T3" fmla="*/ 2147483647 h 510"/>
                  <a:gd name="T4" fmla="*/ 2147483647 w 1332"/>
                  <a:gd name="T5" fmla="*/ 2147483647 h 510"/>
                  <a:gd name="T6" fmla="*/ 2147483647 w 1332"/>
                  <a:gd name="T7" fmla="*/ 2147483647 h 510"/>
                  <a:gd name="T8" fmla="*/ 2147483647 w 1332"/>
                  <a:gd name="T9" fmla="*/ 2147483647 h 510"/>
                  <a:gd name="T10" fmla="*/ 2147483647 w 1332"/>
                  <a:gd name="T11" fmla="*/ 2147483647 h 510"/>
                  <a:gd name="T12" fmla="*/ 2147483647 w 1332"/>
                  <a:gd name="T13" fmla="*/ 2147483647 h 510"/>
                  <a:gd name="T14" fmla="*/ 2147483647 w 1332"/>
                  <a:gd name="T15" fmla="*/ 2147483647 h 510"/>
                  <a:gd name="T16" fmla="*/ 2147483647 w 1332"/>
                  <a:gd name="T17" fmla="*/ 2147483647 h 510"/>
                  <a:gd name="T18" fmla="*/ 2147483647 w 1332"/>
                  <a:gd name="T19" fmla="*/ 2147483647 h 510"/>
                  <a:gd name="T20" fmla="*/ 2147483647 w 1332"/>
                  <a:gd name="T21" fmla="*/ 2147483647 h 510"/>
                  <a:gd name="T22" fmla="*/ 2147483647 w 1332"/>
                  <a:gd name="T23" fmla="*/ 2147483647 h 510"/>
                  <a:gd name="T24" fmla="*/ 2147483647 w 1332"/>
                  <a:gd name="T25" fmla="*/ 2147483647 h 510"/>
                  <a:gd name="T26" fmla="*/ 2147483647 w 1332"/>
                  <a:gd name="T27" fmla="*/ 2147483647 h 510"/>
                  <a:gd name="T28" fmla="*/ 2147483647 w 1332"/>
                  <a:gd name="T29" fmla="*/ 2147483647 h 510"/>
                  <a:gd name="T30" fmla="*/ 2147483647 w 1332"/>
                  <a:gd name="T31" fmla="*/ 2147483647 h 510"/>
                  <a:gd name="T32" fmla="*/ 2147483647 w 1332"/>
                  <a:gd name="T33" fmla="*/ 2147483647 h 510"/>
                  <a:gd name="T34" fmla="*/ 2147483647 w 1332"/>
                  <a:gd name="T35" fmla="*/ 2147483647 h 510"/>
                  <a:gd name="T36" fmla="*/ 2147483647 w 1332"/>
                  <a:gd name="T37" fmla="*/ 2147483647 h 510"/>
                  <a:gd name="T38" fmla="*/ 2147483647 w 1332"/>
                  <a:gd name="T39" fmla="*/ 2147483647 h 510"/>
                  <a:gd name="T40" fmla="*/ 2147483647 w 1332"/>
                  <a:gd name="T41" fmla="*/ 2147483647 h 510"/>
                  <a:gd name="T42" fmla="*/ 2147483647 w 1332"/>
                  <a:gd name="T43" fmla="*/ 2147483647 h 510"/>
                  <a:gd name="T44" fmla="*/ 2147483647 w 1332"/>
                  <a:gd name="T45" fmla="*/ 2147483647 h 510"/>
                  <a:gd name="T46" fmla="*/ 2147483647 w 1332"/>
                  <a:gd name="T47" fmla="*/ 2147483647 h 510"/>
                  <a:gd name="T48" fmla="*/ 2147483647 w 1332"/>
                  <a:gd name="T49" fmla="*/ 2147483647 h 510"/>
                  <a:gd name="T50" fmla="*/ 2147483647 w 1332"/>
                  <a:gd name="T51" fmla="*/ 2147483647 h 510"/>
                  <a:gd name="T52" fmla="*/ 2147483647 w 1332"/>
                  <a:gd name="T53" fmla="*/ 2147483647 h 510"/>
                  <a:gd name="T54" fmla="*/ 2147483647 w 1332"/>
                  <a:gd name="T55" fmla="*/ 2147483647 h 510"/>
                  <a:gd name="T56" fmla="*/ 2147483647 w 1332"/>
                  <a:gd name="T57" fmla="*/ 2147483647 h 510"/>
                  <a:gd name="T58" fmla="*/ 2147483647 w 1332"/>
                  <a:gd name="T59" fmla="*/ 2147483647 h 510"/>
                  <a:gd name="T60" fmla="*/ 2147483647 w 1332"/>
                  <a:gd name="T61" fmla="*/ 2147483647 h 510"/>
                  <a:gd name="T62" fmla="*/ 2147483647 w 1332"/>
                  <a:gd name="T63" fmla="*/ 2147483647 h 510"/>
                  <a:gd name="T64" fmla="*/ 2147483647 w 1332"/>
                  <a:gd name="T65" fmla="*/ 2147483647 h 510"/>
                  <a:gd name="T66" fmla="*/ 2147483647 w 1332"/>
                  <a:gd name="T67" fmla="*/ 2147483647 h 510"/>
                  <a:gd name="T68" fmla="*/ 2147483647 w 1332"/>
                  <a:gd name="T69" fmla="*/ 2147483647 h 510"/>
                  <a:gd name="T70" fmla="*/ 2147483647 w 1332"/>
                  <a:gd name="T71" fmla="*/ 2147483647 h 510"/>
                  <a:gd name="T72" fmla="*/ 2147483647 w 1332"/>
                  <a:gd name="T73" fmla="*/ 2147483647 h 510"/>
                  <a:gd name="T74" fmla="*/ 2147483647 w 1332"/>
                  <a:gd name="T75" fmla="*/ 2147483647 h 510"/>
                  <a:gd name="T76" fmla="*/ 2147483647 w 1332"/>
                  <a:gd name="T77" fmla="*/ 2147483647 h 510"/>
                  <a:gd name="T78" fmla="*/ 2147483647 w 1332"/>
                  <a:gd name="T79" fmla="*/ 2147483647 h 510"/>
                  <a:gd name="T80" fmla="*/ 2147483647 w 1332"/>
                  <a:gd name="T81" fmla="*/ 2147483647 h 510"/>
                  <a:gd name="T82" fmla="*/ 2147483647 w 1332"/>
                  <a:gd name="T83" fmla="*/ 2147483647 h 510"/>
                  <a:gd name="T84" fmla="*/ 2147483647 w 1332"/>
                  <a:gd name="T85" fmla="*/ 2147483647 h 510"/>
                  <a:gd name="T86" fmla="*/ 2147483647 w 1332"/>
                  <a:gd name="T87" fmla="*/ 2147483647 h 510"/>
                  <a:gd name="T88" fmla="*/ 2147483647 w 1332"/>
                  <a:gd name="T89" fmla="*/ 2147483647 h 510"/>
                  <a:gd name="T90" fmla="*/ 2147483647 w 1332"/>
                  <a:gd name="T91" fmla="*/ 2147483647 h 510"/>
                  <a:gd name="T92" fmla="*/ 2147483647 w 1332"/>
                  <a:gd name="T93" fmla="*/ 2147483647 h 510"/>
                  <a:gd name="T94" fmla="*/ 2147483647 w 1332"/>
                  <a:gd name="T95" fmla="*/ 2147483647 h 510"/>
                  <a:gd name="T96" fmla="*/ 2147483647 w 1332"/>
                  <a:gd name="T97" fmla="*/ 2147483647 h 510"/>
                  <a:gd name="T98" fmla="*/ 2147483647 w 1332"/>
                  <a:gd name="T99" fmla="*/ 2147483647 h 510"/>
                  <a:gd name="T100" fmla="*/ 2147483647 w 1332"/>
                  <a:gd name="T101" fmla="*/ 2147483647 h 510"/>
                  <a:gd name="T102" fmla="*/ 2147483647 w 1332"/>
                  <a:gd name="T103" fmla="*/ 2147483647 h 510"/>
                  <a:gd name="T104" fmla="*/ 2147483647 w 1332"/>
                  <a:gd name="T105" fmla="*/ 2147483647 h 510"/>
                  <a:gd name="T106" fmla="*/ 2147483647 w 1332"/>
                  <a:gd name="T107" fmla="*/ 2147483647 h 510"/>
                  <a:gd name="T108" fmla="*/ 2147483647 w 1332"/>
                  <a:gd name="T109" fmla="*/ 2147483647 h 510"/>
                  <a:gd name="T110" fmla="*/ 2147483647 w 1332"/>
                  <a:gd name="T111" fmla="*/ 2147483647 h 510"/>
                  <a:gd name="T112" fmla="*/ 2147483647 w 1332"/>
                  <a:gd name="T113" fmla="*/ 2147483647 h 510"/>
                  <a:gd name="T114" fmla="*/ 2147483647 w 1332"/>
                  <a:gd name="T115" fmla="*/ 2147483647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32"/>
                  <a:gd name="T175" fmla="*/ 0 h 510"/>
                  <a:gd name="T176" fmla="*/ 1332 w 1332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32" h="510">
                    <a:moveTo>
                      <a:pt x="6" y="192"/>
                    </a:moveTo>
                    <a:lnTo>
                      <a:pt x="24" y="186"/>
                    </a:lnTo>
                    <a:lnTo>
                      <a:pt x="30" y="174"/>
                    </a:lnTo>
                    <a:lnTo>
                      <a:pt x="0" y="174"/>
                    </a:lnTo>
                    <a:lnTo>
                      <a:pt x="6" y="192"/>
                    </a:lnTo>
                    <a:close/>
                    <a:moveTo>
                      <a:pt x="42" y="162"/>
                    </a:move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42" y="162"/>
                    </a:lnTo>
                    <a:close/>
                    <a:moveTo>
                      <a:pt x="96" y="138"/>
                    </a:moveTo>
                    <a:lnTo>
                      <a:pt x="66" y="138"/>
                    </a:lnTo>
                    <a:lnTo>
                      <a:pt x="66" y="174"/>
                    </a:lnTo>
                    <a:lnTo>
                      <a:pt x="78" y="150"/>
                    </a:lnTo>
                    <a:lnTo>
                      <a:pt x="96" y="138"/>
                    </a:lnTo>
                    <a:close/>
                    <a:moveTo>
                      <a:pt x="1332" y="402"/>
                    </a:moveTo>
                    <a:lnTo>
                      <a:pt x="1332" y="390"/>
                    </a:lnTo>
                    <a:lnTo>
                      <a:pt x="1308" y="384"/>
                    </a:lnTo>
                    <a:lnTo>
                      <a:pt x="1308" y="354"/>
                    </a:lnTo>
                    <a:lnTo>
                      <a:pt x="1272" y="336"/>
                    </a:lnTo>
                    <a:lnTo>
                      <a:pt x="1278" y="330"/>
                    </a:lnTo>
                    <a:lnTo>
                      <a:pt x="1284" y="318"/>
                    </a:lnTo>
                    <a:lnTo>
                      <a:pt x="1284" y="312"/>
                    </a:lnTo>
                    <a:lnTo>
                      <a:pt x="1290" y="306"/>
                    </a:lnTo>
                    <a:lnTo>
                      <a:pt x="1284" y="306"/>
                    </a:lnTo>
                    <a:lnTo>
                      <a:pt x="1278" y="300"/>
                    </a:lnTo>
                    <a:lnTo>
                      <a:pt x="1278" y="288"/>
                    </a:lnTo>
                    <a:lnTo>
                      <a:pt x="1266" y="276"/>
                    </a:lnTo>
                    <a:lnTo>
                      <a:pt x="1266" y="246"/>
                    </a:lnTo>
                    <a:lnTo>
                      <a:pt x="1248" y="222"/>
                    </a:lnTo>
                    <a:lnTo>
                      <a:pt x="1272" y="222"/>
                    </a:lnTo>
                    <a:lnTo>
                      <a:pt x="1272" y="216"/>
                    </a:lnTo>
                    <a:lnTo>
                      <a:pt x="1278" y="210"/>
                    </a:lnTo>
                    <a:lnTo>
                      <a:pt x="1272" y="198"/>
                    </a:lnTo>
                    <a:lnTo>
                      <a:pt x="1272" y="186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60" y="174"/>
                    </a:lnTo>
                    <a:lnTo>
                      <a:pt x="1248" y="180"/>
                    </a:lnTo>
                    <a:lnTo>
                      <a:pt x="1236" y="180"/>
                    </a:lnTo>
                    <a:lnTo>
                      <a:pt x="1224" y="174"/>
                    </a:lnTo>
                    <a:lnTo>
                      <a:pt x="1218" y="168"/>
                    </a:lnTo>
                    <a:lnTo>
                      <a:pt x="1212" y="156"/>
                    </a:lnTo>
                    <a:lnTo>
                      <a:pt x="1212" y="144"/>
                    </a:lnTo>
                    <a:lnTo>
                      <a:pt x="1200" y="108"/>
                    </a:lnTo>
                    <a:lnTo>
                      <a:pt x="1194" y="96"/>
                    </a:lnTo>
                    <a:lnTo>
                      <a:pt x="1194" y="84"/>
                    </a:lnTo>
                    <a:lnTo>
                      <a:pt x="1188" y="78"/>
                    </a:lnTo>
                    <a:lnTo>
                      <a:pt x="1164" y="78"/>
                    </a:lnTo>
                    <a:lnTo>
                      <a:pt x="1164" y="72"/>
                    </a:lnTo>
                    <a:lnTo>
                      <a:pt x="1158" y="60"/>
                    </a:lnTo>
                    <a:lnTo>
                      <a:pt x="1152" y="54"/>
                    </a:lnTo>
                    <a:lnTo>
                      <a:pt x="1140" y="48"/>
                    </a:lnTo>
                    <a:lnTo>
                      <a:pt x="1128" y="48"/>
                    </a:lnTo>
                    <a:lnTo>
                      <a:pt x="1116" y="54"/>
                    </a:lnTo>
                    <a:lnTo>
                      <a:pt x="1110" y="60"/>
                    </a:lnTo>
                    <a:lnTo>
                      <a:pt x="1074" y="54"/>
                    </a:lnTo>
                    <a:lnTo>
                      <a:pt x="1062" y="66"/>
                    </a:lnTo>
                    <a:lnTo>
                      <a:pt x="1026" y="90"/>
                    </a:lnTo>
                    <a:lnTo>
                      <a:pt x="1014" y="96"/>
                    </a:lnTo>
                    <a:lnTo>
                      <a:pt x="930" y="96"/>
                    </a:lnTo>
                    <a:lnTo>
                      <a:pt x="876" y="108"/>
                    </a:lnTo>
                    <a:lnTo>
                      <a:pt x="810" y="84"/>
                    </a:lnTo>
                    <a:lnTo>
                      <a:pt x="786" y="96"/>
                    </a:lnTo>
                    <a:lnTo>
                      <a:pt x="786" y="90"/>
                    </a:lnTo>
                    <a:lnTo>
                      <a:pt x="780" y="84"/>
                    </a:lnTo>
                    <a:lnTo>
                      <a:pt x="774" y="72"/>
                    </a:lnTo>
                    <a:lnTo>
                      <a:pt x="768" y="66"/>
                    </a:lnTo>
                    <a:lnTo>
                      <a:pt x="756" y="66"/>
                    </a:lnTo>
                    <a:lnTo>
                      <a:pt x="744" y="72"/>
                    </a:lnTo>
                    <a:lnTo>
                      <a:pt x="738" y="78"/>
                    </a:lnTo>
                    <a:lnTo>
                      <a:pt x="708" y="60"/>
                    </a:lnTo>
                    <a:lnTo>
                      <a:pt x="708" y="36"/>
                    </a:lnTo>
                    <a:lnTo>
                      <a:pt x="660" y="48"/>
                    </a:lnTo>
                    <a:lnTo>
                      <a:pt x="636" y="30"/>
                    </a:lnTo>
                    <a:lnTo>
                      <a:pt x="630" y="12"/>
                    </a:lnTo>
                    <a:lnTo>
                      <a:pt x="624" y="12"/>
                    </a:lnTo>
                    <a:lnTo>
                      <a:pt x="618" y="18"/>
                    </a:lnTo>
                    <a:lnTo>
                      <a:pt x="600" y="18"/>
                    </a:lnTo>
                    <a:lnTo>
                      <a:pt x="588" y="24"/>
                    </a:lnTo>
                    <a:lnTo>
                      <a:pt x="558" y="24"/>
                    </a:lnTo>
                    <a:lnTo>
                      <a:pt x="534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56" y="36"/>
                    </a:lnTo>
                    <a:lnTo>
                      <a:pt x="444" y="42"/>
                    </a:lnTo>
                    <a:lnTo>
                      <a:pt x="438" y="48"/>
                    </a:lnTo>
                    <a:lnTo>
                      <a:pt x="426" y="54"/>
                    </a:lnTo>
                    <a:lnTo>
                      <a:pt x="414" y="66"/>
                    </a:lnTo>
                    <a:lnTo>
                      <a:pt x="408" y="66"/>
                    </a:lnTo>
                    <a:lnTo>
                      <a:pt x="396" y="90"/>
                    </a:lnTo>
                    <a:lnTo>
                      <a:pt x="378" y="90"/>
                    </a:lnTo>
                    <a:lnTo>
                      <a:pt x="354" y="84"/>
                    </a:lnTo>
                    <a:lnTo>
                      <a:pt x="294" y="84"/>
                    </a:lnTo>
                    <a:lnTo>
                      <a:pt x="282" y="78"/>
                    </a:lnTo>
                    <a:lnTo>
                      <a:pt x="264" y="78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34" y="66"/>
                    </a:lnTo>
                    <a:lnTo>
                      <a:pt x="198" y="66"/>
                    </a:lnTo>
                    <a:lnTo>
                      <a:pt x="186" y="54"/>
                    </a:lnTo>
                    <a:lnTo>
                      <a:pt x="180" y="36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56" y="18"/>
                    </a:lnTo>
                    <a:lnTo>
                      <a:pt x="144" y="18"/>
                    </a:lnTo>
                    <a:lnTo>
                      <a:pt x="132" y="0"/>
                    </a:lnTo>
                    <a:lnTo>
                      <a:pt x="120" y="18"/>
                    </a:lnTo>
                    <a:lnTo>
                      <a:pt x="90" y="12"/>
                    </a:lnTo>
                    <a:lnTo>
                      <a:pt x="72" y="36"/>
                    </a:lnTo>
                    <a:lnTo>
                      <a:pt x="78" y="42"/>
                    </a:lnTo>
                    <a:lnTo>
                      <a:pt x="90" y="42"/>
                    </a:lnTo>
                    <a:lnTo>
                      <a:pt x="90" y="48"/>
                    </a:lnTo>
                    <a:lnTo>
                      <a:pt x="96" y="54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66" y="120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90" y="126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8" y="120"/>
                    </a:lnTo>
                    <a:lnTo>
                      <a:pt x="162" y="96"/>
                    </a:lnTo>
                    <a:lnTo>
                      <a:pt x="168" y="96"/>
                    </a:lnTo>
                    <a:lnTo>
                      <a:pt x="174" y="90"/>
                    </a:lnTo>
                    <a:lnTo>
                      <a:pt x="186" y="90"/>
                    </a:lnTo>
                    <a:lnTo>
                      <a:pt x="204" y="84"/>
                    </a:lnTo>
                    <a:lnTo>
                      <a:pt x="216" y="84"/>
                    </a:lnTo>
                    <a:lnTo>
                      <a:pt x="252" y="102"/>
                    </a:lnTo>
                    <a:lnTo>
                      <a:pt x="270" y="108"/>
                    </a:lnTo>
                    <a:lnTo>
                      <a:pt x="282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270" y="114"/>
                    </a:lnTo>
                    <a:lnTo>
                      <a:pt x="258" y="120"/>
                    </a:lnTo>
                    <a:lnTo>
                      <a:pt x="246" y="120"/>
                    </a:lnTo>
                    <a:lnTo>
                      <a:pt x="246" y="132"/>
                    </a:lnTo>
                    <a:lnTo>
                      <a:pt x="240" y="138"/>
                    </a:lnTo>
                    <a:lnTo>
                      <a:pt x="186" y="144"/>
                    </a:lnTo>
                    <a:lnTo>
                      <a:pt x="138" y="138"/>
                    </a:lnTo>
                    <a:lnTo>
                      <a:pt x="120" y="138"/>
                    </a:lnTo>
                    <a:lnTo>
                      <a:pt x="96" y="150"/>
                    </a:lnTo>
                    <a:lnTo>
                      <a:pt x="84" y="162"/>
                    </a:lnTo>
                    <a:lnTo>
                      <a:pt x="84" y="174"/>
                    </a:lnTo>
                    <a:lnTo>
                      <a:pt x="78" y="192"/>
                    </a:lnTo>
                    <a:lnTo>
                      <a:pt x="78" y="204"/>
                    </a:lnTo>
                    <a:lnTo>
                      <a:pt x="72" y="210"/>
                    </a:lnTo>
                    <a:lnTo>
                      <a:pt x="72" y="216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20" y="246"/>
                    </a:lnTo>
                    <a:lnTo>
                      <a:pt x="126" y="258"/>
                    </a:lnTo>
                    <a:lnTo>
                      <a:pt x="132" y="264"/>
                    </a:lnTo>
                    <a:lnTo>
                      <a:pt x="126" y="282"/>
                    </a:lnTo>
                    <a:lnTo>
                      <a:pt x="138" y="300"/>
                    </a:lnTo>
                    <a:lnTo>
                      <a:pt x="126" y="318"/>
                    </a:lnTo>
                    <a:lnTo>
                      <a:pt x="162" y="354"/>
                    </a:lnTo>
                    <a:lnTo>
                      <a:pt x="156" y="390"/>
                    </a:lnTo>
                    <a:lnTo>
                      <a:pt x="210" y="414"/>
                    </a:lnTo>
                    <a:lnTo>
                      <a:pt x="216" y="444"/>
                    </a:lnTo>
                    <a:lnTo>
                      <a:pt x="216" y="438"/>
                    </a:lnTo>
                    <a:lnTo>
                      <a:pt x="222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64" y="450"/>
                    </a:lnTo>
                    <a:lnTo>
                      <a:pt x="270" y="462"/>
                    </a:lnTo>
                    <a:lnTo>
                      <a:pt x="282" y="468"/>
                    </a:lnTo>
                    <a:lnTo>
                      <a:pt x="294" y="468"/>
                    </a:lnTo>
                    <a:lnTo>
                      <a:pt x="312" y="474"/>
                    </a:lnTo>
                    <a:lnTo>
                      <a:pt x="372" y="474"/>
                    </a:lnTo>
                    <a:lnTo>
                      <a:pt x="372" y="450"/>
                    </a:lnTo>
                    <a:lnTo>
                      <a:pt x="378" y="438"/>
                    </a:lnTo>
                    <a:lnTo>
                      <a:pt x="390" y="426"/>
                    </a:lnTo>
                    <a:lnTo>
                      <a:pt x="408" y="426"/>
                    </a:lnTo>
                    <a:lnTo>
                      <a:pt x="432" y="432"/>
                    </a:lnTo>
                    <a:lnTo>
                      <a:pt x="468" y="444"/>
                    </a:lnTo>
                    <a:lnTo>
                      <a:pt x="474" y="450"/>
                    </a:lnTo>
                    <a:lnTo>
                      <a:pt x="480" y="450"/>
                    </a:lnTo>
                    <a:lnTo>
                      <a:pt x="480" y="456"/>
                    </a:lnTo>
                    <a:lnTo>
                      <a:pt x="486" y="468"/>
                    </a:lnTo>
                    <a:lnTo>
                      <a:pt x="486" y="474"/>
                    </a:lnTo>
                    <a:lnTo>
                      <a:pt x="492" y="480"/>
                    </a:lnTo>
                    <a:lnTo>
                      <a:pt x="504" y="486"/>
                    </a:lnTo>
                    <a:lnTo>
                      <a:pt x="564" y="486"/>
                    </a:lnTo>
                    <a:lnTo>
                      <a:pt x="576" y="480"/>
                    </a:lnTo>
                    <a:lnTo>
                      <a:pt x="594" y="474"/>
                    </a:lnTo>
                    <a:lnTo>
                      <a:pt x="606" y="462"/>
                    </a:lnTo>
                    <a:lnTo>
                      <a:pt x="618" y="456"/>
                    </a:lnTo>
                    <a:lnTo>
                      <a:pt x="630" y="444"/>
                    </a:lnTo>
                    <a:lnTo>
                      <a:pt x="648" y="438"/>
                    </a:lnTo>
                    <a:lnTo>
                      <a:pt x="660" y="432"/>
                    </a:lnTo>
                    <a:lnTo>
                      <a:pt x="672" y="432"/>
                    </a:lnTo>
                    <a:lnTo>
                      <a:pt x="684" y="438"/>
                    </a:lnTo>
                    <a:lnTo>
                      <a:pt x="690" y="444"/>
                    </a:lnTo>
                    <a:lnTo>
                      <a:pt x="696" y="444"/>
                    </a:lnTo>
                    <a:lnTo>
                      <a:pt x="702" y="450"/>
                    </a:lnTo>
                    <a:lnTo>
                      <a:pt x="714" y="450"/>
                    </a:lnTo>
                    <a:lnTo>
                      <a:pt x="726" y="444"/>
                    </a:lnTo>
                    <a:lnTo>
                      <a:pt x="732" y="432"/>
                    </a:lnTo>
                    <a:lnTo>
                      <a:pt x="744" y="420"/>
                    </a:lnTo>
                    <a:lnTo>
                      <a:pt x="756" y="432"/>
                    </a:lnTo>
                    <a:lnTo>
                      <a:pt x="756" y="444"/>
                    </a:lnTo>
                    <a:lnTo>
                      <a:pt x="750" y="450"/>
                    </a:lnTo>
                    <a:lnTo>
                      <a:pt x="744" y="462"/>
                    </a:lnTo>
                    <a:lnTo>
                      <a:pt x="744" y="468"/>
                    </a:lnTo>
                    <a:lnTo>
                      <a:pt x="738" y="474"/>
                    </a:lnTo>
                    <a:lnTo>
                      <a:pt x="738" y="486"/>
                    </a:lnTo>
                    <a:lnTo>
                      <a:pt x="744" y="492"/>
                    </a:lnTo>
                    <a:lnTo>
                      <a:pt x="744" y="498"/>
                    </a:lnTo>
                    <a:lnTo>
                      <a:pt x="756" y="510"/>
                    </a:lnTo>
                    <a:lnTo>
                      <a:pt x="768" y="510"/>
                    </a:lnTo>
                    <a:lnTo>
                      <a:pt x="768" y="504"/>
                    </a:lnTo>
                    <a:lnTo>
                      <a:pt x="774" y="498"/>
                    </a:lnTo>
                    <a:lnTo>
                      <a:pt x="774" y="480"/>
                    </a:lnTo>
                    <a:lnTo>
                      <a:pt x="780" y="486"/>
                    </a:lnTo>
                    <a:lnTo>
                      <a:pt x="792" y="486"/>
                    </a:lnTo>
                    <a:lnTo>
                      <a:pt x="792" y="462"/>
                    </a:lnTo>
                    <a:lnTo>
                      <a:pt x="786" y="462"/>
                    </a:lnTo>
                    <a:lnTo>
                      <a:pt x="786" y="432"/>
                    </a:lnTo>
                    <a:lnTo>
                      <a:pt x="810" y="432"/>
                    </a:lnTo>
                    <a:lnTo>
                      <a:pt x="804" y="438"/>
                    </a:lnTo>
                    <a:lnTo>
                      <a:pt x="804" y="444"/>
                    </a:lnTo>
                    <a:lnTo>
                      <a:pt x="840" y="444"/>
                    </a:lnTo>
                    <a:lnTo>
                      <a:pt x="858" y="438"/>
                    </a:lnTo>
                    <a:lnTo>
                      <a:pt x="864" y="432"/>
                    </a:lnTo>
                    <a:lnTo>
                      <a:pt x="870" y="432"/>
                    </a:lnTo>
                    <a:lnTo>
                      <a:pt x="888" y="414"/>
                    </a:lnTo>
                    <a:lnTo>
                      <a:pt x="894" y="414"/>
                    </a:lnTo>
                    <a:lnTo>
                      <a:pt x="900" y="420"/>
                    </a:lnTo>
                    <a:lnTo>
                      <a:pt x="912" y="426"/>
                    </a:lnTo>
                    <a:lnTo>
                      <a:pt x="924" y="438"/>
                    </a:lnTo>
                    <a:lnTo>
                      <a:pt x="942" y="438"/>
                    </a:lnTo>
                    <a:lnTo>
                      <a:pt x="954" y="444"/>
                    </a:lnTo>
                    <a:lnTo>
                      <a:pt x="966" y="444"/>
                    </a:lnTo>
                    <a:lnTo>
                      <a:pt x="978" y="438"/>
                    </a:lnTo>
                    <a:lnTo>
                      <a:pt x="996" y="438"/>
                    </a:lnTo>
                    <a:lnTo>
                      <a:pt x="1002" y="432"/>
                    </a:lnTo>
                    <a:lnTo>
                      <a:pt x="1014" y="426"/>
                    </a:lnTo>
                    <a:lnTo>
                      <a:pt x="1026" y="414"/>
                    </a:lnTo>
                    <a:lnTo>
                      <a:pt x="1038" y="408"/>
                    </a:lnTo>
                    <a:lnTo>
                      <a:pt x="1086" y="408"/>
                    </a:lnTo>
                    <a:lnTo>
                      <a:pt x="1092" y="414"/>
                    </a:lnTo>
                    <a:lnTo>
                      <a:pt x="1110" y="414"/>
                    </a:lnTo>
                    <a:lnTo>
                      <a:pt x="1122" y="402"/>
                    </a:lnTo>
                    <a:lnTo>
                      <a:pt x="1146" y="402"/>
                    </a:lnTo>
                    <a:lnTo>
                      <a:pt x="1152" y="390"/>
                    </a:lnTo>
                    <a:lnTo>
                      <a:pt x="1152" y="384"/>
                    </a:lnTo>
                    <a:lnTo>
                      <a:pt x="1158" y="384"/>
                    </a:lnTo>
                    <a:lnTo>
                      <a:pt x="1158" y="408"/>
                    </a:lnTo>
                    <a:lnTo>
                      <a:pt x="1164" y="414"/>
                    </a:lnTo>
                    <a:lnTo>
                      <a:pt x="1170" y="414"/>
                    </a:lnTo>
                    <a:lnTo>
                      <a:pt x="1182" y="408"/>
                    </a:lnTo>
                    <a:lnTo>
                      <a:pt x="1188" y="402"/>
                    </a:lnTo>
                    <a:lnTo>
                      <a:pt x="1188" y="390"/>
                    </a:lnTo>
                    <a:lnTo>
                      <a:pt x="1230" y="390"/>
                    </a:lnTo>
                    <a:lnTo>
                      <a:pt x="1242" y="402"/>
                    </a:lnTo>
                    <a:lnTo>
                      <a:pt x="1254" y="402"/>
                    </a:lnTo>
                    <a:lnTo>
                      <a:pt x="1260" y="396"/>
                    </a:lnTo>
                    <a:lnTo>
                      <a:pt x="1260" y="390"/>
                    </a:lnTo>
                    <a:lnTo>
                      <a:pt x="1284" y="390"/>
                    </a:lnTo>
                    <a:lnTo>
                      <a:pt x="1290" y="396"/>
                    </a:lnTo>
                    <a:lnTo>
                      <a:pt x="1290" y="414"/>
                    </a:lnTo>
                    <a:lnTo>
                      <a:pt x="1332" y="402"/>
                    </a:lnTo>
                    <a:close/>
                    <a:moveTo>
                      <a:pt x="102" y="282"/>
                    </a:moveTo>
                    <a:lnTo>
                      <a:pt x="96" y="282"/>
                    </a:lnTo>
                    <a:lnTo>
                      <a:pt x="96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14" y="324"/>
                    </a:lnTo>
                    <a:lnTo>
                      <a:pt x="114" y="318"/>
                    </a:lnTo>
                    <a:lnTo>
                      <a:pt x="120" y="312"/>
                    </a:lnTo>
                    <a:lnTo>
                      <a:pt x="120" y="300"/>
                    </a:lnTo>
                    <a:lnTo>
                      <a:pt x="102" y="28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2" name="Sy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B7B775F-35FB-4336-3569-361953AE373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87745" y="2559493"/>
                <a:ext cx="202203" cy="186264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3" name="Switzer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96E5A72-6CE4-92AC-1334-3CF8ADEA2B9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04440" y="2185192"/>
                <a:ext cx="129479" cy="70957"/>
              </a:xfrm>
              <a:custGeom>
                <a:avLst/>
                <a:gdLst>
                  <a:gd name="T0" fmla="*/ 2147483647 w 288"/>
                  <a:gd name="T1" fmla="*/ 2147483647 h 162"/>
                  <a:gd name="T2" fmla="*/ 2147483647 w 288"/>
                  <a:gd name="T3" fmla="*/ 2147483647 h 162"/>
                  <a:gd name="T4" fmla="*/ 2147483647 w 288"/>
                  <a:gd name="T5" fmla="*/ 2147483647 h 162"/>
                  <a:gd name="T6" fmla="*/ 2147483647 w 288"/>
                  <a:gd name="T7" fmla="*/ 2147483647 h 162"/>
                  <a:gd name="T8" fmla="*/ 2147483647 w 288"/>
                  <a:gd name="T9" fmla="*/ 2147483647 h 162"/>
                  <a:gd name="T10" fmla="*/ 2147483647 w 288"/>
                  <a:gd name="T11" fmla="*/ 2147483647 h 162"/>
                  <a:gd name="T12" fmla="*/ 2147483647 w 288"/>
                  <a:gd name="T13" fmla="*/ 2147483647 h 162"/>
                  <a:gd name="T14" fmla="*/ 0 w 288"/>
                  <a:gd name="T15" fmla="*/ 2147483647 h 162"/>
                  <a:gd name="T16" fmla="*/ 2147483647 w 288"/>
                  <a:gd name="T17" fmla="*/ 2147483647 h 162"/>
                  <a:gd name="T18" fmla="*/ 2147483647 w 288"/>
                  <a:gd name="T19" fmla="*/ 2147483647 h 162"/>
                  <a:gd name="T20" fmla="*/ 2147483647 w 288"/>
                  <a:gd name="T21" fmla="*/ 2147483647 h 162"/>
                  <a:gd name="T22" fmla="*/ 2147483647 w 288"/>
                  <a:gd name="T23" fmla="*/ 2147483647 h 162"/>
                  <a:gd name="T24" fmla="*/ 2147483647 w 288"/>
                  <a:gd name="T25" fmla="*/ 2147483647 h 162"/>
                  <a:gd name="T26" fmla="*/ 2147483647 w 288"/>
                  <a:gd name="T27" fmla="*/ 2147483647 h 162"/>
                  <a:gd name="T28" fmla="*/ 2147483647 w 288"/>
                  <a:gd name="T29" fmla="*/ 2147483647 h 162"/>
                  <a:gd name="T30" fmla="*/ 2147483647 w 288"/>
                  <a:gd name="T31" fmla="*/ 2147483647 h 162"/>
                  <a:gd name="T32" fmla="*/ 2147483647 w 288"/>
                  <a:gd name="T33" fmla="*/ 2147483647 h 162"/>
                  <a:gd name="T34" fmla="*/ 2147483647 w 288"/>
                  <a:gd name="T35" fmla="*/ 2147483647 h 162"/>
                  <a:gd name="T36" fmla="*/ 2147483647 w 288"/>
                  <a:gd name="T37" fmla="*/ 2147483647 h 162"/>
                  <a:gd name="T38" fmla="*/ 2147483647 w 288"/>
                  <a:gd name="T39" fmla="*/ 2147483647 h 162"/>
                  <a:gd name="T40" fmla="*/ 2147483647 w 288"/>
                  <a:gd name="T41" fmla="*/ 2147483647 h 162"/>
                  <a:gd name="T42" fmla="*/ 2147483647 w 288"/>
                  <a:gd name="T43" fmla="*/ 2147483647 h 162"/>
                  <a:gd name="T44" fmla="*/ 2147483647 w 288"/>
                  <a:gd name="T45" fmla="*/ 2147483647 h 162"/>
                  <a:gd name="T46" fmla="*/ 2147483647 w 288"/>
                  <a:gd name="T47" fmla="*/ 2147483647 h 162"/>
                  <a:gd name="T48" fmla="*/ 2147483647 w 288"/>
                  <a:gd name="T49" fmla="*/ 2147483647 h 162"/>
                  <a:gd name="T50" fmla="*/ 2147483647 w 288"/>
                  <a:gd name="T51" fmla="*/ 2147483647 h 162"/>
                  <a:gd name="T52" fmla="*/ 2147483647 w 288"/>
                  <a:gd name="T53" fmla="*/ 2147483647 h 162"/>
                  <a:gd name="T54" fmla="*/ 2147483647 w 288"/>
                  <a:gd name="T55" fmla="*/ 2147483647 h 162"/>
                  <a:gd name="T56" fmla="*/ 2147483647 w 288"/>
                  <a:gd name="T57" fmla="*/ 2147483647 h 162"/>
                  <a:gd name="T58" fmla="*/ 2147483647 w 288"/>
                  <a:gd name="T59" fmla="*/ 2147483647 h 162"/>
                  <a:gd name="T60" fmla="*/ 2147483647 w 288"/>
                  <a:gd name="T61" fmla="*/ 2147483647 h 162"/>
                  <a:gd name="T62" fmla="*/ 2147483647 w 288"/>
                  <a:gd name="T63" fmla="*/ 2147483647 h 162"/>
                  <a:gd name="T64" fmla="*/ 2147483647 w 288"/>
                  <a:gd name="T65" fmla="*/ 2147483647 h 162"/>
                  <a:gd name="T66" fmla="*/ 2147483647 w 288"/>
                  <a:gd name="T67" fmla="*/ 0 h 162"/>
                  <a:gd name="T68" fmla="*/ 2147483647 w 288"/>
                  <a:gd name="T69" fmla="*/ 2147483647 h 162"/>
                  <a:gd name="T70" fmla="*/ 2147483647 w 288"/>
                  <a:gd name="T71" fmla="*/ 2147483647 h 162"/>
                  <a:gd name="T72" fmla="*/ 2147483647 w 288"/>
                  <a:gd name="T73" fmla="*/ 2147483647 h 16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162"/>
                  <a:gd name="T113" fmla="*/ 288 w 288"/>
                  <a:gd name="T114" fmla="*/ 162 h 16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162">
                    <a:moveTo>
                      <a:pt x="132" y="24"/>
                    </a:moveTo>
                    <a:lnTo>
                      <a:pt x="96" y="24"/>
                    </a:lnTo>
                    <a:lnTo>
                      <a:pt x="90" y="42"/>
                    </a:lnTo>
                    <a:lnTo>
                      <a:pt x="72" y="30"/>
                    </a:lnTo>
                    <a:lnTo>
                      <a:pt x="66" y="42"/>
                    </a:lnTo>
                    <a:lnTo>
                      <a:pt x="60" y="48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30" y="66"/>
                    </a:lnTo>
                    <a:lnTo>
                      <a:pt x="30" y="78"/>
                    </a:lnTo>
                    <a:lnTo>
                      <a:pt x="18" y="90"/>
                    </a:lnTo>
                    <a:lnTo>
                      <a:pt x="12" y="102"/>
                    </a:lnTo>
                    <a:lnTo>
                      <a:pt x="0" y="108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30" y="108"/>
                    </a:lnTo>
                    <a:lnTo>
                      <a:pt x="48" y="108"/>
                    </a:lnTo>
                    <a:lnTo>
                      <a:pt x="54" y="114"/>
                    </a:lnTo>
                    <a:lnTo>
                      <a:pt x="48" y="138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6"/>
                    </a:lnTo>
                    <a:lnTo>
                      <a:pt x="114" y="156"/>
                    </a:lnTo>
                    <a:lnTo>
                      <a:pt x="132" y="138"/>
                    </a:lnTo>
                    <a:lnTo>
                      <a:pt x="132" y="120"/>
                    </a:lnTo>
                    <a:lnTo>
                      <a:pt x="138" y="114"/>
                    </a:lnTo>
                    <a:lnTo>
                      <a:pt x="150" y="114"/>
                    </a:lnTo>
                    <a:lnTo>
                      <a:pt x="156" y="120"/>
                    </a:lnTo>
                    <a:lnTo>
                      <a:pt x="156" y="126"/>
                    </a:lnTo>
                    <a:lnTo>
                      <a:pt x="162" y="132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92" y="162"/>
                    </a:lnTo>
                    <a:lnTo>
                      <a:pt x="192" y="144"/>
                    </a:lnTo>
                    <a:lnTo>
                      <a:pt x="204" y="132"/>
                    </a:lnTo>
                    <a:lnTo>
                      <a:pt x="210" y="108"/>
                    </a:lnTo>
                    <a:lnTo>
                      <a:pt x="222" y="126"/>
                    </a:lnTo>
                    <a:lnTo>
                      <a:pt x="240" y="120"/>
                    </a:lnTo>
                    <a:lnTo>
                      <a:pt x="258" y="132"/>
                    </a:lnTo>
                    <a:lnTo>
                      <a:pt x="264" y="120"/>
                    </a:lnTo>
                    <a:lnTo>
                      <a:pt x="252" y="108"/>
                    </a:lnTo>
                    <a:lnTo>
                      <a:pt x="252" y="102"/>
                    </a:lnTo>
                    <a:lnTo>
                      <a:pt x="276" y="102"/>
                    </a:lnTo>
                    <a:lnTo>
                      <a:pt x="282" y="84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6" y="66"/>
                    </a:lnTo>
                    <a:lnTo>
                      <a:pt x="270" y="66"/>
                    </a:lnTo>
                    <a:lnTo>
                      <a:pt x="252" y="84"/>
                    </a:lnTo>
                    <a:lnTo>
                      <a:pt x="246" y="84"/>
                    </a:lnTo>
                    <a:lnTo>
                      <a:pt x="246" y="66"/>
                    </a:lnTo>
                    <a:lnTo>
                      <a:pt x="210" y="66"/>
                    </a:lnTo>
                    <a:lnTo>
                      <a:pt x="210" y="60"/>
                    </a:lnTo>
                    <a:lnTo>
                      <a:pt x="216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28" y="30"/>
                    </a:lnTo>
                    <a:lnTo>
                      <a:pt x="216" y="30"/>
                    </a:lnTo>
                    <a:lnTo>
                      <a:pt x="210" y="18"/>
                    </a:lnTo>
                    <a:lnTo>
                      <a:pt x="192" y="12"/>
                    </a:lnTo>
                    <a:lnTo>
                      <a:pt x="180" y="12"/>
                    </a:lnTo>
                    <a:lnTo>
                      <a:pt x="174" y="6"/>
                    </a:lnTo>
                    <a:lnTo>
                      <a:pt x="162" y="0"/>
                    </a:lnTo>
                    <a:lnTo>
                      <a:pt x="156" y="0"/>
                    </a:lnTo>
                    <a:lnTo>
                      <a:pt x="150" y="6"/>
                    </a:lnTo>
                    <a:lnTo>
                      <a:pt x="150" y="18"/>
                    </a:lnTo>
                    <a:lnTo>
                      <a:pt x="156" y="24"/>
                    </a:lnTo>
                    <a:lnTo>
                      <a:pt x="150" y="18"/>
                    </a:lnTo>
                    <a:lnTo>
                      <a:pt x="132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4" name="Swed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B810E80-5780-3167-7208-54C3D5839A1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51657" y="1477388"/>
                <a:ext cx="312172" cy="445261"/>
              </a:xfrm>
              <a:custGeom>
                <a:avLst/>
                <a:gdLst>
                  <a:gd name="T0" fmla="*/ 2147483647 w 690"/>
                  <a:gd name="T1" fmla="*/ 2147483647 h 990"/>
                  <a:gd name="T2" fmla="*/ 2147483647 w 690"/>
                  <a:gd name="T3" fmla="*/ 2147483647 h 990"/>
                  <a:gd name="T4" fmla="*/ 2147483647 w 690"/>
                  <a:gd name="T5" fmla="*/ 2147483647 h 990"/>
                  <a:gd name="T6" fmla="*/ 2147483647 w 690"/>
                  <a:gd name="T7" fmla="*/ 2147483647 h 990"/>
                  <a:gd name="T8" fmla="*/ 2147483647 w 690"/>
                  <a:gd name="T9" fmla="*/ 2147483647 h 990"/>
                  <a:gd name="T10" fmla="*/ 2147483647 w 690"/>
                  <a:gd name="T11" fmla="*/ 2147483647 h 990"/>
                  <a:gd name="T12" fmla="*/ 2147483647 w 690"/>
                  <a:gd name="T13" fmla="*/ 2147483647 h 990"/>
                  <a:gd name="T14" fmla="*/ 2147483647 w 690"/>
                  <a:gd name="T15" fmla="*/ 2147483647 h 990"/>
                  <a:gd name="T16" fmla="*/ 2147483647 w 690"/>
                  <a:gd name="T17" fmla="*/ 2147483647 h 990"/>
                  <a:gd name="T18" fmla="*/ 2147483647 w 690"/>
                  <a:gd name="T19" fmla="*/ 2147483647 h 990"/>
                  <a:gd name="T20" fmla="*/ 2147483647 w 690"/>
                  <a:gd name="T21" fmla="*/ 2147483647 h 990"/>
                  <a:gd name="T22" fmla="*/ 2147483647 w 690"/>
                  <a:gd name="T23" fmla="*/ 2147483647 h 990"/>
                  <a:gd name="T24" fmla="*/ 2147483647 w 690"/>
                  <a:gd name="T25" fmla="*/ 2147483647 h 990"/>
                  <a:gd name="T26" fmla="*/ 2147483647 w 690"/>
                  <a:gd name="T27" fmla="*/ 2147483647 h 990"/>
                  <a:gd name="T28" fmla="*/ 2147483647 w 690"/>
                  <a:gd name="T29" fmla="*/ 2147483647 h 990"/>
                  <a:gd name="T30" fmla="*/ 2147483647 w 690"/>
                  <a:gd name="T31" fmla="*/ 2147483647 h 990"/>
                  <a:gd name="T32" fmla="*/ 2147483647 w 690"/>
                  <a:gd name="T33" fmla="*/ 2147483647 h 990"/>
                  <a:gd name="T34" fmla="*/ 2147483647 w 690"/>
                  <a:gd name="T35" fmla="*/ 2147483647 h 990"/>
                  <a:gd name="T36" fmla="*/ 2147483647 w 690"/>
                  <a:gd name="T37" fmla="*/ 2147483647 h 990"/>
                  <a:gd name="T38" fmla="*/ 2147483647 w 690"/>
                  <a:gd name="T39" fmla="*/ 2147483647 h 990"/>
                  <a:gd name="T40" fmla="*/ 2147483647 w 690"/>
                  <a:gd name="T41" fmla="*/ 2147483647 h 990"/>
                  <a:gd name="T42" fmla="*/ 2147483647 w 690"/>
                  <a:gd name="T43" fmla="*/ 2147483647 h 990"/>
                  <a:gd name="T44" fmla="*/ 2147483647 w 690"/>
                  <a:gd name="T45" fmla="*/ 2147483647 h 990"/>
                  <a:gd name="T46" fmla="*/ 0 w 690"/>
                  <a:gd name="T47" fmla="*/ 2147483647 h 990"/>
                  <a:gd name="T48" fmla="*/ 2147483647 w 690"/>
                  <a:gd name="T49" fmla="*/ 2147483647 h 990"/>
                  <a:gd name="T50" fmla="*/ 2147483647 w 690"/>
                  <a:gd name="T51" fmla="*/ 2147483647 h 990"/>
                  <a:gd name="T52" fmla="*/ 2147483647 w 690"/>
                  <a:gd name="T53" fmla="*/ 2147483647 h 990"/>
                  <a:gd name="T54" fmla="*/ 2147483647 w 690"/>
                  <a:gd name="T55" fmla="*/ 2147483647 h 990"/>
                  <a:gd name="T56" fmla="*/ 2147483647 w 690"/>
                  <a:gd name="T57" fmla="*/ 2147483647 h 990"/>
                  <a:gd name="T58" fmla="*/ 2147483647 w 690"/>
                  <a:gd name="T59" fmla="*/ 2147483647 h 990"/>
                  <a:gd name="T60" fmla="*/ 2147483647 w 690"/>
                  <a:gd name="T61" fmla="*/ 2147483647 h 990"/>
                  <a:gd name="T62" fmla="*/ 2147483647 w 690"/>
                  <a:gd name="T63" fmla="*/ 2147483647 h 990"/>
                  <a:gd name="T64" fmla="*/ 2147483647 w 690"/>
                  <a:gd name="T65" fmla="*/ 2147483647 h 990"/>
                  <a:gd name="T66" fmla="*/ 2147483647 w 690"/>
                  <a:gd name="T67" fmla="*/ 2147483647 h 990"/>
                  <a:gd name="T68" fmla="*/ 2147483647 w 690"/>
                  <a:gd name="T69" fmla="*/ 2147483647 h 990"/>
                  <a:gd name="T70" fmla="*/ 2147483647 w 690"/>
                  <a:gd name="T71" fmla="*/ 2147483647 h 990"/>
                  <a:gd name="T72" fmla="*/ 2147483647 w 690"/>
                  <a:gd name="T73" fmla="*/ 2147483647 h 990"/>
                  <a:gd name="T74" fmla="*/ 2147483647 w 690"/>
                  <a:gd name="T75" fmla="*/ 2147483647 h 990"/>
                  <a:gd name="T76" fmla="*/ 2147483647 w 690"/>
                  <a:gd name="T77" fmla="*/ 2147483647 h 990"/>
                  <a:gd name="T78" fmla="*/ 2147483647 w 690"/>
                  <a:gd name="T79" fmla="*/ 2147483647 h 990"/>
                  <a:gd name="T80" fmla="*/ 2147483647 w 690"/>
                  <a:gd name="T81" fmla="*/ 2147483647 h 990"/>
                  <a:gd name="T82" fmla="*/ 2147483647 w 690"/>
                  <a:gd name="T83" fmla="*/ 2147483647 h 990"/>
                  <a:gd name="T84" fmla="*/ 2147483647 w 690"/>
                  <a:gd name="T85" fmla="*/ 2147483647 h 990"/>
                  <a:gd name="T86" fmla="*/ 2147483647 w 690"/>
                  <a:gd name="T87" fmla="*/ 2147483647 h 990"/>
                  <a:gd name="T88" fmla="*/ 2147483647 w 690"/>
                  <a:gd name="T89" fmla="*/ 2147483647 h 990"/>
                  <a:gd name="T90" fmla="*/ 2147483647 w 690"/>
                  <a:gd name="T91" fmla="*/ 2147483647 h 990"/>
                  <a:gd name="T92" fmla="*/ 2147483647 w 690"/>
                  <a:gd name="T93" fmla="*/ 2147483647 h 990"/>
                  <a:gd name="T94" fmla="*/ 2147483647 w 690"/>
                  <a:gd name="T95" fmla="*/ 2147483647 h 990"/>
                  <a:gd name="T96" fmla="*/ 2147483647 w 690"/>
                  <a:gd name="T97" fmla="*/ 2147483647 h 990"/>
                  <a:gd name="T98" fmla="*/ 2147483647 w 690"/>
                  <a:gd name="T99" fmla="*/ 2147483647 h 990"/>
                  <a:gd name="T100" fmla="*/ 2147483647 w 690"/>
                  <a:gd name="T101" fmla="*/ 2147483647 h 9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0"/>
                  <a:gd name="T154" fmla="*/ 0 h 990"/>
                  <a:gd name="T155" fmla="*/ 690 w 690"/>
                  <a:gd name="T156" fmla="*/ 990 h 9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0" h="990">
                    <a:moveTo>
                      <a:pt x="678" y="204"/>
                    </a:moveTo>
                    <a:lnTo>
                      <a:pt x="672" y="198"/>
                    </a:lnTo>
                    <a:lnTo>
                      <a:pt x="660" y="192"/>
                    </a:lnTo>
                    <a:lnTo>
                      <a:pt x="648" y="180"/>
                    </a:lnTo>
                    <a:lnTo>
                      <a:pt x="648" y="174"/>
                    </a:lnTo>
                    <a:lnTo>
                      <a:pt x="654" y="162"/>
                    </a:lnTo>
                    <a:lnTo>
                      <a:pt x="660" y="156"/>
                    </a:lnTo>
                    <a:lnTo>
                      <a:pt x="666" y="144"/>
                    </a:lnTo>
                    <a:lnTo>
                      <a:pt x="642" y="132"/>
                    </a:lnTo>
                    <a:lnTo>
                      <a:pt x="648" y="108"/>
                    </a:lnTo>
                    <a:lnTo>
                      <a:pt x="636" y="102"/>
                    </a:lnTo>
                    <a:lnTo>
                      <a:pt x="636" y="96"/>
                    </a:lnTo>
                    <a:lnTo>
                      <a:pt x="642" y="90"/>
                    </a:lnTo>
                    <a:lnTo>
                      <a:pt x="642" y="66"/>
                    </a:lnTo>
                    <a:lnTo>
                      <a:pt x="636" y="66"/>
                    </a:lnTo>
                    <a:lnTo>
                      <a:pt x="630" y="60"/>
                    </a:lnTo>
                    <a:lnTo>
                      <a:pt x="618" y="60"/>
                    </a:lnTo>
                    <a:lnTo>
                      <a:pt x="588" y="42"/>
                    </a:lnTo>
                    <a:lnTo>
                      <a:pt x="552" y="42"/>
                    </a:lnTo>
                    <a:lnTo>
                      <a:pt x="540" y="30"/>
                    </a:lnTo>
                    <a:lnTo>
                      <a:pt x="534" y="30"/>
                    </a:lnTo>
                    <a:lnTo>
                      <a:pt x="528" y="24"/>
                    </a:lnTo>
                    <a:lnTo>
                      <a:pt x="516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56" y="0"/>
                    </a:lnTo>
                    <a:lnTo>
                      <a:pt x="456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42"/>
                    </a:lnTo>
                    <a:lnTo>
                      <a:pt x="462" y="42"/>
                    </a:lnTo>
                    <a:lnTo>
                      <a:pt x="456" y="48"/>
                    </a:lnTo>
                    <a:lnTo>
                      <a:pt x="444" y="48"/>
                    </a:lnTo>
                    <a:lnTo>
                      <a:pt x="438" y="42"/>
                    </a:lnTo>
                    <a:lnTo>
                      <a:pt x="414" y="42"/>
                    </a:lnTo>
                    <a:lnTo>
                      <a:pt x="390" y="36"/>
                    </a:lnTo>
                    <a:lnTo>
                      <a:pt x="366" y="42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48" y="36"/>
                    </a:lnTo>
                    <a:lnTo>
                      <a:pt x="348" y="66"/>
                    </a:lnTo>
                    <a:lnTo>
                      <a:pt x="342" y="72"/>
                    </a:lnTo>
                    <a:lnTo>
                      <a:pt x="324" y="72"/>
                    </a:lnTo>
                    <a:lnTo>
                      <a:pt x="282" y="78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246" y="102"/>
                    </a:lnTo>
                    <a:lnTo>
                      <a:pt x="246" y="114"/>
                    </a:lnTo>
                    <a:lnTo>
                      <a:pt x="258" y="120"/>
                    </a:lnTo>
                    <a:lnTo>
                      <a:pt x="264" y="126"/>
                    </a:lnTo>
                    <a:lnTo>
                      <a:pt x="258" y="144"/>
                    </a:lnTo>
                    <a:lnTo>
                      <a:pt x="252" y="144"/>
                    </a:lnTo>
                    <a:lnTo>
                      <a:pt x="240" y="150"/>
                    </a:lnTo>
                    <a:lnTo>
                      <a:pt x="234" y="156"/>
                    </a:lnTo>
                    <a:lnTo>
                      <a:pt x="234" y="162"/>
                    </a:lnTo>
                    <a:lnTo>
                      <a:pt x="228" y="168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16" y="180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0" y="198"/>
                    </a:lnTo>
                    <a:lnTo>
                      <a:pt x="204" y="198"/>
                    </a:lnTo>
                    <a:lnTo>
                      <a:pt x="192" y="204"/>
                    </a:lnTo>
                    <a:lnTo>
                      <a:pt x="174" y="192"/>
                    </a:lnTo>
                    <a:lnTo>
                      <a:pt x="174" y="228"/>
                    </a:lnTo>
                    <a:lnTo>
                      <a:pt x="168" y="270"/>
                    </a:lnTo>
                    <a:lnTo>
                      <a:pt x="138" y="300"/>
                    </a:lnTo>
                    <a:lnTo>
                      <a:pt x="132" y="300"/>
                    </a:lnTo>
                    <a:lnTo>
                      <a:pt x="120" y="306"/>
                    </a:lnTo>
                    <a:lnTo>
                      <a:pt x="132" y="312"/>
                    </a:lnTo>
                    <a:lnTo>
                      <a:pt x="150" y="330"/>
                    </a:lnTo>
                    <a:lnTo>
                      <a:pt x="150" y="336"/>
                    </a:lnTo>
                    <a:lnTo>
                      <a:pt x="144" y="342"/>
                    </a:lnTo>
                    <a:lnTo>
                      <a:pt x="102" y="342"/>
                    </a:lnTo>
                    <a:lnTo>
                      <a:pt x="90" y="348"/>
                    </a:lnTo>
                    <a:lnTo>
                      <a:pt x="84" y="354"/>
                    </a:lnTo>
                    <a:lnTo>
                      <a:pt x="72" y="360"/>
                    </a:lnTo>
                    <a:lnTo>
                      <a:pt x="30" y="402"/>
                    </a:lnTo>
                    <a:lnTo>
                      <a:pt x="36" y="408"/>
                    </a:lnTo>
                    <a:lnTo>
                      <a:pt x="42" y="408"/>
                    </a:lnTo>
                    <a:lnTo>
                      <a:pt x="48" y="414"/>
                    </a:lnTo>
                    <a:lnTo>
                      <a:pt x="48" y="420"/>
                    </a:lnTo>
                    <a:lnTo>
                      <a:pt x="42" y="426"/>
                    </a:lnTo>
                    <a:lnTo>
                      <a:pt x="36" y="426"/>
                    </a:lnTo>
                    <a:lnTo>
                      <a:pt x="30" y="432"/>
                    </a:lnTo>
                    <a:lnTo>
                      <a:pt x="30" y="444"/>
                    </a:lnTo>
                    <a:lnTo>
                      <a:pt x="54" y="468"/>
                    </a:lnTo>
                    <a:lnTo>
                      <a:pt x="54" y="480"/>
                    </a:lnTo>
                    <a:lnTo>
                      <a:pt x="48" y="492"/>
                    </a:lnTo>
                    <a:lnTo>
                      <a:pt x="48" y="510"/>
                    </a:lnTo>
                    <a:lnTo>
                      <a:pt x="60" y="522"/>
                    </a:lnTo>
                    <a:lnTo>
                      <a:pt x="66" y="522"/>
                    </a:lnTo>
                    <a:lnTo>
                      <a:pt x="84" y="540"/>
                    </a:lnTo>
                    <a:lnTo>
                      <a:pt x="84" y="552"/>
                    </a:lnTo>
                    <a:lnTo>
                      <a:pt x="72" y="564"/>
                    </a:lnTo>
                    <a:lnTo>
                      <a:pt x="48" y="570"/>
                    </a:lnTo>
                    <a:lnTo>
                      <a:pt x="54" y="576"/>
                    </a:lnTo>
                    <a:lnTo>
                      <a:pt x="60" y="588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66" y="606"/>
                    </a:lnTo>
                    <a:lnTo>
                      <a:pt x="72" y="618"/>
                    </a:lnTo>
                    <a:lnTo>
                      <a:pt x="66" y="618"/>
                    </a:lnTo>
                    <a:lnTo>
                      <a:pt x="66" y="642"/>
                    </a:lnTo>
                    <a:lnTo>
                      <a:pt x="60" y="648"/>
                    </a:lnTo>
                    <a:lnTo>
                      <a:pt x="24" y="648"/>
                    </a:lnTo>
                    <a:lnTo>
                      <a:pt x="30" y="660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18" y="672"/>
                    </a:lnTo>
                    <a:lnTo>
                      <a:pt x="18" y="678"/>
                    </a:lnTo>
                    <a:lnTo>
                      <a:pt x="30" y="690"/>
                    </a:lnTo>
                    <a:lnTo>
                      <a:pt x="30" y="708"/>
                    </a:lnTo>
                    <a:lnTo>
                      <a:pt x="24" y="714"/>
                    </a:lnTo>
                    <a:lnTo>
                      <a:pt x="18" y="726"/>
                    </a:lnTo>
                    <a:lnTo>
                      <a:pt x="0" y="708"/>
                    </a:lnTo>
                    <a:lnTo>
                      <a:pt x="0" y="768"/>
                    </a:lnTo>
                    <a:lnTo>
                      <a:pt x="6" y="762"/>
                    </a:lnTo>
                    <a:lnTo>
                      <a:pt x="24" y="762"/>
                    </a:lnTo>
                    <a:lnTo>
                      <a:pt x="36" y="774"/>
                    </a:lnTo>
                    <a:lnTo>
                      <a:pt x="36" y="780"/>
                    </a:lnTo>
                    <a:lnTo>
                      <a:pt x="30" y="780"/>
                    </a:lnTo>
                    <a:lnTo>
                      <a:pt x="30" y="774"/>
                    </a:lnTo>
                    <a:lnTo>
                      <a:pt x="24" y="774"/>
                    </a:lnTo>
                    <a:lnTo>
                      <a:pt x="24" y="834"/>
                    </a:lnTo>
                    <a:lnTo>
                      <a:pt x="30" y="840"/>
                    </a:lnTo>
                    <a:lnTo>
                      <a:pt x="36" y="840"/>
                    </a:lnTo>
                    <a:lnTo>
                      <a:pt x="48" y="846"/>
                    </a:lnTo>
                    <a:lnTo>
                      <a:pt x="54" y="858"/>
                    </a:lnTo>
                    <a:lnTo>
                      <a:pt x="60" y="864"/>
                    </a:lnTo>
                    <a:lnTo>
                      <a:pt x="66" y="876"/>
                    </a:lnTo>
                    <a:lnTo>
                      <a:pt x="90" y="900"/>
                    </a:lnTo>
                    <a:lnTo>
                      <a:pt x="96" y="900"/>
                    </a:lnTo>
                    <a:lnTo>
                      <a:pt x="96" y="912"/>
                    </a:lnTo>
                    <a:lnTo>
                      <a:pt x="78" y="912"/>
                    </a:lnTo>
                    <a:lnTo>
                      <a:pt x="78" y="942"/>
                    </a:lnTo>
                    <a:lnTo>
                      <a:pt x="90" y="954"/>
                    </a:lnTo>
                    <a:lnTo>
                      <a:pt x="102" y="960"/>
                    </a:lnTo>
                    <a:lnTo>
                      <a:pt x="96" y="966"/>
                    </a:lnTo>
                    <a:lnTo>
                      <a:pt x="96" y="984"/>
                    </a:lnTo>
                    <a:lnTo>
                      <a:pt x="102" y="984"/>
                    </a:lnTo>
                    <a:lnTo>
                      <a:pt x="108" y="990"/>
                    </a:lnTo>
                    <a:lnTo>
                      <a:pt x="174" y="990"/>
                    </a:lnTo>
                    <a:lnTo>
                      <a:pt x="180" y="984"/>
                    </a:lnTo>
                    <a:lnTo>
                      <a:pt x="180" y="948"/>
                    </a:lnTo>
                    <a:lnTo>
                      <a:pt x="198" y="942"/>
                    </a:lnTo>
                    <a:lnTo>
                      <a:pt x="198" y="924"/>
                    </a:lnTo>
                    <a:lnTo>
                      <a:pt x="264" y="930"/>
                    </a:lnTo>
                    <a:lnTo>
                      <a:pt x="276" y="936"/>
                    </a:lnTo>
                    <a:lnTo>
                      <a:pt x="300" y="876"/>
                    </a:lnTo>
                    <a:lnTo>
                      <a:pt x="300" y="864"/>
                    </a:lnTo>
                    <a:lnTo>
                      <a:pt x="306" y="852"/>
                    </a:lnTo>
                    <a:lnTo>
                      <a:pt x="306" y="816"/>
                    </a:lnTo>
                    <a:lnTo>
                      <a:pt x="300" y="810"/>
                    </a:lnTo>
                    <a:lnTo>
                      <a:pt x="294" y="798"/>
                    </a:lnTo>
                    <a:lnTo>
                      <a:pt x="312" y="798"/>
                    </a:lnTo>
                    <a:lnTo>
                      <a:pt x="324" y="786"/>
                    </a:lnTo>
                    <a:lnTo>
                      <a:pt x="324" y="780"/>
                    </a:lnTo>
                    <a:lnTo>
                      <a:pt x="306" y="762"/>
                    </a:lnTo>
                    <a:lnTo>
                      <a:pt x="294" y="762"/>
                    </a:lnTo>
                    <a:lnTo>
                      <a:pt x="312" y="756"/>
                    </a:lnTo>
                    <a:lnTo>
                      <a:pt x="300" y="750"/>
                    </a:lnTo>
                    <a:lnTo>
                      <a:pt x="324" y="750"/>
                    </a:lnTo>
                    <a:lnTo>
                      <a:pt x="336" y="744"/>
                    </a:lnTo>
                    <a:lnTo>
                      <a:pt x="348" y="744"/>
                    </a:lnTo>
                    <a:lnTo>
                      <a:pt x="354" y="738"/>
                    </a:lnTo>
                    <a:lnTo>
                      <a:pt x="360" y="726"/>
                    </a:lnTo>
                    <a:lnTo>
                      <a:pt x="360" y="714"/>
                    </a:lnTo>
                    <a:lnTo>
                      <a:pt x="366" y="708"/>
                    </a:lnTo>
                    <a:lnTo>
                      <a:pt x="384" y="726"/>
                    </a:lnTo>
                    <a:lnTo>
                      <a:pt x="390" y="726"/>
                    </a:lnTo>
                    <a:lnTo>
                      <a:pt x="396" y="720"/>
                    </a:lnTo>
                    <a:lnTo>
                      <a:pt x="408" y="696"/>
                    </a:lnTo>
                    <a:lnTo>
                      <a:pt x="402" y="690"/>
                    </a:lnTo>
                    <a:lnTo>
                      <a:pt x="402" y="684"/>
                    </a:lnTo>
                    <a:lnTo>
                      <a:pt x="414" y="684"/>
                    </a:lnTo>
                    <a:lnTo>
                      <a:pt x="420" y="678"/>
                    </a:lnTo>
                    <a:lnTo>
                      <a:pt x="432" y="672"/>
                    </a:lnTo>
                    <a:lnTo>
                      <a:pt x="432" y="660"/>
                    </a:lnTo>
                    <a:lnTo>
                      <a:pt x="420" y="636"/>
                    </a:lnTo>
                    <a:lnTo>
                      <a:pt x="408" y="630"/>
                    </a:lnTo>
                    <a:lnTo>
                      <a:pt x="408" y="618"/>
                    </a:lnTo>
                    <a:lnTo>
                      <a:pt x="372" y="600"/>
                    </a:lnTo>
                    <a:lnTo>
                      <a:pt x="360" y="606"/>
                    </a:lnTo>
                    <a:lnTo>
                      <a:pt x="354" y="606"/>
                    </a:lnTo>
                    <a:lnTo>
                      <a:pt x="342" y="600"/>
                    </a:lnTo>
                    <a:lnTo>
                      <a:pt x="330" y="576"/>
                    </a:lnTo>
                    <a:lnTo>
                      <a:pt x="330" y="558"/>
                    </a:lnTo>
                    <a:lnTo>
                      <a:pt x="324" y="546"/>
                    </a:lnTo>
                    <a:lnTo>
                      <a:pt x="324" y="528"/>
                    </a:lnTo>
                    <a:lnTo>
                      <a:pt x="336" y="516"/>
                    </a:lnTo>
                    <a:lnTo>
                      <a:pt x="342" y="504"/>
                    </a:lnTo>
                    <a:lnTo>
                      <a:pt x="342" y="486"/>
                    </a:lnTo>
                    <a:lnTo>
                      <a:pt x="336" y="474"/>
                    </a:lnTo>
                    <a:lnTo>
                      <a:pt x="330" y="468"/>
                    </a:lnTo>
                    <a:lnTo>
                      <a:pt x="330" y="462"/>
                    </a:lnTo>
                    <a:lnTo>
                      <a:pt x="348" y="462"/>
                    </a:lnTo>
                    <a:lnTo>
                      <a:pt x="354" y="456"/>
                    </a:lnTo>
                    <a:lnTo>
                      <a:pt x="354" y="438"/>
                    </a:lnTo>
                    <a:lnTo>
                      <a:pt x="348" y="426"/>
                    </a:lnTo>
                    <a:lnTo>
                      <a:pt x="354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96" y="420"/>
                    </a:lnTo>
                    <a:lnTo>
                      <a:pt x="408" y="408"/>
                    </a:lnTo>
                    <a:lnTo>
                      <a:pt x="438" y="414"/>
                    </a:lnTo>
                    <a:lnTo>
                      <a:pt x="450" y="390"/>
                    </a:lnTo>
                    <a:lnTo>
                      <a:pt x="480" y="390"/>
                    </a:lnTo>
                    <a:lnTo>
                      <a:pt x="498" y="384"/>
                    </a:lnTo>
                    <a:lnTo>
                      <a:pt x="510" y="378"/>
                    </a:lnTo>
                    <a:lnTo>
                      <a:pt x="522" y="354"/>
                    </a:lnTo>
                    <a:lnTo>
                      <a:pt x="540" y="336"/>
                    </a:lnTo>
                    <a:lnTo>
                      <a:pt x="546" y="324"/>
                    </a:lnTo>
                    <a:lnTo>
                      <a:pt x="528" y="300"/>
                    </a:lnTo>
                    <a:lnTo>
                      <a:pt x="558" y="264"/>
                    </a:lnTo>
                    <a:lnTo>
                      <a:pt x="540" y="246"/>
                    </a:lnTo>
                    <a:lnTo>
                      <a:pt x="576" y="234"/>
                    </a:lnTo>
                    <a:lnTo>
                      <a:pt x="594" y="216"/>
                    </a:lnTo>
                    <a:lnTo>
                      <a:pt x="672" y="222"/>
                    </a:lnTo>
                    <a:lnTo>
                      <a:pt x="684" y="240"/>
                    </a:lnTo>
                    <a:lnTo>
                      <a:pt x="690" y="240"/>
                    </a:lnTo>
                    <a:lnTo>
                      <a:pt x="678" y="204"/>
                    </a:lnTo>
                    <a:close/>
                    <a:moveTo>
                      <a:pt x="390" y="828"/>
                    </a:moveTo>
                    <a:lnTo>
                      <a:pt x="390" y="840"/>
                    </a:lnTo>
                    <a:lnTo>
                      <a:pt x="396" y="852"/>
                    </a:lnTo>
                    <a:lnTo>
                      <a:pt x="396" y="864"/>
                    </a:lnTo>
                    <a:lnTo>
                      <a:pt x="402" y="870"/>
                    </a:lnTo>
                    <a:lnTo>
                      <a:pt x="402" y="876"/>
                    </a:lnTo>
                    <a:lnTo>
                      <a:pt x="414" y="852"/>
                    </a:lnTo>
                    <a:lnTo>
                      <a:pt x="426" y="852"/>
                    </a:lnTo>
                    <a:lnTo>
                      <a:pt x="432" y="846"/>
                    </a:lnTo>
                    <a:lnTo>
                      <a:pt x="438" y="834"/>
                    </a:lnTo>
                    <a:lnTo>
                      <a:pt x="438" y="822"/>
                    </a:lnTo>
                    <a:lnTo>
                      <a:pt x="432" y="816"/>
                    </a:lnTo>
                    <a:lnTo>
                      <a:pt x="450" y="798"/>
                    </a:lnTo>
                    <a:lnTo>
                      <a:pt x="444" y="798"/>
                    </a:lnTo>
                    <a:lnTo>
                      <a:pt x="438" y="804"/>
                    </a:lnTo>
                    <a:lnTo>
                      <a:pt x="420" y="804"/>
                    </a:lnTo>
                    <a:lnTo>
                      <a:pt x="408" y="810"/>
                    </a:lnTo>
                    <a:lnTo>
                      <a:pt x="390" y="828"/>
                    </a:lnTo>
                    <a:close/>
                    <a:moveTo>
                      <a:pt x="300" y="900"/>
                    </a:moveTo>
                    <a:lnTo>
                      <a:pt x="300" y="912"/>
                    </a:lnTo>
                    <a:lnTo>
                      <a:pt x="294" y="924"/>
                    </a:lnTo>
                    <a:lnTo>
                      <a:pt x="300" y="918"/>
                    </a:lnTo>
                    <a:lnTo>
                      <a:pt x="312" y="912"/>
                    </a:lnTo>
                    <a:lnTo>
                      <a:pt x="318" y="900"/>
                    </a:lnTo>
                    <a:lnTo>
                      <a:pt x="318" y="894"/>
                    </a:lnTo>
                    <a:lnTo>
                      <a:pt x="324" y="888"/>
                    </a:lnTo>
                    <a:lnTo>
                      <a:pt x="324" y="882"/>
                    </a:lnTo>
                    <a:lnTo>
                      <a:pt x="342" y="858"/>
                    </a:lnTo>
                    <a:lnTo>
                      <a:pt x="336" y="840"/>
                    </a:lnTo>
                    <a:lnTo>
                      <a:pt x="330" y="852"/>
                    </a:lnTo>
                    <a:lnTo>
                      <a:pt x="312" y="870"/>
                    </a:lnTo>
                    <a:lnTo>
                      <a:pt x="300" y="894"/>
                    </a:lnTo>
                    <a:lnTo>
                      <a:pt x="300" y="9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5" name="Spa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FB73E21-67EE-D6EB-B014-6894D928A40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5692" y="2330655"/>
                <a:ext cx="393764" cy="276735"/>
              </a:xfrm>
              <a:custGeom>
                <a:avLst/>
                <a:gdLst>
                  <a:gd name="T0" fmla="*/ 2147483647 w 876"/>
                  <a:gd name="T1" fmla="*/ 2147483647 h 618"/>
                  <a:gd name="T2" fmla="*/ 2147483647 w 876"/>
                  <a:gd name="T3" fmla="*/ 2147483647 h 618"/>
                  <a:gd name="T4" fmla="*/ 2147483647 w 876"/>
                  <a:gd name="T5" fmla="*/ 2147483647 h 618"/>
                  <a:gd name="T6" fmla="*/ 2147483647 w 876"/>
                  <a:gd name="T7" fmla="*/ 2147483647 h 618"/>
                  <a:gd name="T8" fmla="*/ 2147483647 w 876"/>
                  <a:gd name="T9" fmla="*/ 2147483647 h 618"/>
                  <a:gd name="T10" fmla="*/ 2147483647 w 876"/>
                  <a:gd name="T11" fmla="*/ 2147483647 h 618"/>
                  <a:gd name="T12" fmla="*/ 2147483647 w 876"/>
                  <a:gd name="T13" fmla="*/ 2147483647 h 618"/>
                  <a:gd name="T14" fmla="*/ 2147483647 w 876"/>
                  <a:gd name="T15" fmla="*/ 2147483647 h 618"/>
                  <a:gd name="T16" fmla="*/ 2147483647 w 876"/>
                  <a:gd name="T17" fmla="*/ 2147483647 h 618"/>
                  <a:gd name="T18" fmla="*/ 2147483647 w 876"/>
                  <a:gd name="T19" fmla="*/ 2147483647 h 618"/>
                  <a:gd name="T20" fmla="*/ 2147483647 w 876"/>
                  <a:gd name="T21" fmla="*/ 2147483647 h 618"/>
                  <a:gd name="T22" fmla="*/ 2147483647 w 876"/>
                  <a:gd name="T23" fmla="*/ 2147483647 h 618"/>
                  <a:gd name="T24" fmla="*/ 2147483647 w 876"/>
                  <a:gd name="T25" fmla="*/ 2147483647 h 618"/>
                  <a:gd name="T26" fmla="*/ 2147483647 w 876"/>
                  <a:gd name="T27" fmla="*/ 2147483647 h 618"/>
                  <a:gd name="T28" fmla="*/ 2147483647 w 876"/>
                  <a:gd name="T29" fmla="*/ 2147483647 h 618"/>
                  <a:gd name="T30" fmla="*/ 2147483647 w 876"/>
                  <a:gd name="T31" fmla="*/ 2147483647 h 618"/>
                  <a:gd name="T32" fmla="*/ 2147483647 w 876"/>
                  <a:gd name="T33" fmla="*/ 2147483647 h 618"/>
                  <a:gd name="T34" fmla="*/ 2147483647 w 876"/>
                  <a:gd name="T35" fmla="*/ 2147483647 h 618"/>
                  <a:gd name="T36" fmla="*/ 2147483647 w 876"/>
                  <a:gd name="T37" fmla="*/ 2147483647 h 618"/>
                  <a:gd name="T38" fmla="*/ 2147483647 w 876"/>
                  <a:gd name="T39" fmla="*/ 2147483647 h 618"/>
                  <a:gd name="T40" fmla="*/ 2147483647 w 876"/>
                  <a:gd name="T41" fmla="*/ 0 h 618"/>
                  <a:gd name="T42" fmla="*/ 2147483647 w 876"/>
                  <a:gd name="T43" fmla="*/ 2147483647 h 618"/>
                  <a:gd name="T44" fmla="*/ 0 w 876"/>
                  <a:gd name="T45" fmla="*/ 2147483647 h 618"/>
                  <a:gd name="T46" fmla="*/ 2147483647 w 876"/>
                  <a:gd name="T47" fmla="*/ 2147483647 h 618"/>
                  <a:gd name="T48" fmla="*/ 2147483647 w 876"/>
                  <a:gd name="T49" fmla="*/ 2147483647 h 618"/>
                  <a:gd name="T50" fmla="*/ 2147483647 w 876"/>
                  <a:gd name="T51" fmla="*/ 2147483647 h 618"/>
                  <a:gd name="T52" fmla="*/ 2147483647 w 876"/>
                  <a:gd name="T53" fmla="*/ 2147483647 h 618"/>
                  <a:gd name="T54" fmla="*/ 2147483647 w 876"/>
                  <a:gd name="T55" fmla="*/ 2147483647 h 618"/>
                  <a:gd name="T56" fmla="*/ 2147483647 w 876"/>
                  <a:gd name="T57" fmla="*/ 2147483647 h 618"/>
                  <a:gd name="T58" fmla="*/ 2147483647 w 876"/>
                  <a:gd name="T59" fmla="*/ 2147483647 h 618"/>
                  <a:gd name="T60" fmla="*/ 2147483647 w 876"/>
                  <a:gd name="T61" fmla="*/ 2147483647 h 618"/>
                  <a:gd name="T62" fmla="*/ 2147483647 w 876"/>
                  <a:gd name="T63" fmla="*/ 2147483647 h 618"/>
                  <a:gd name="T64" fmla="*/ 2147483647 w 876"/>
                  <a:gd name="T65" fmla="*/ 2147483647 h 618"/>
                  <a:gd name="T66" fmla="*/ 2147483647 w 876"/>
                  <a:gd name="T67" fmla="*/ 2147483647 h 618"/>
                  <a:gd name="T68" fmla="*/ 2147483647 w 876"/>
                  <a:gd name="T69" fmla="*/ 2147483647 h 618"/>
                  <a:gd name="T70" fmla="*/ 2147483647 w 876"/>
                  <a:gd name="T71" fmla="*/ 2147483647 h 618"/>
                  <a:gd name="T72" fmla="*/ 2147483647 w 876"/>
                  <a:gd name="T73" fmla="*/ 2147483647 h 618"/>
                  <a:gd name="T74" fmla="*/ 2147483647 w 876"/>
                  <a:gd name="T75" fmla="*/ 2147483647 h 618"/>
                  <a:gd name="T76" fmla="*/ 2147483647 w 876"/>
                  <a:gd name="T77" fmla="*/ 2147483647 h 618"/>
                  <a:gd name="T78" fmla="*/ 2147483647 w 876"/>
                  <a:gd name="T79" fmla="*/ 2147483647 h 618"/>
                  <a:gd name="T80" fmla="*/ 2147483647 w 876"/>
                  <a:gd name="T81" fmla="*/ 2147483647 h 618"/>
                  <a:gd name="T82" fmla="*/ 2147483647 w 876"/>
                  <a:gd name="T83" fmla="*/ 2147483647 h 618"/>
                  <a:gd name="T84" fmla="*/ 2147483647 w 876"/>
                  <a:gd name="T85" fmla="*/ 2147483647 h 618"/>
                  <a:gd name="T86" fmla="*/ 2147483647 w 876"/>
                  <a:gd name="T87" fmla="*/ 2147483647 h 618"/>
                  <a:gd name="T88" fmla="*/ 2147483647 w 876"/>
                  <a:gd name="T89" fmla="*/ 2147483647 h 618"/>
                  <a:gd name="T90" fmla="*/ 2147483647 w 876"/>
                  <a:gd name="T91" fmla="*/ 2147483647 h 618"/>
                  <a:gd name="T92" fmla="*/ 2147483647 w 876"/>
                  <a:gd name="T93" fmla="*/ 2147483647 h 618"/>
                  <a:gd name="T94" fmla="*/ 2147483647 w 876"/>
                  <a:gd name="T95" fmla="*/ 2147483647 h 618"/>
                  <a:gd name="T96" fmla="*/ 2147483647 w 876"/>
                  <a:gd name="T97" fmla="*/ 2147483647 h 618"/>
                  <a:gd name="T98" fmla="*/ 2147483647 w 876"/>
                  <a:gd name="T99" fmla="*/ 2147483647 h 618"/>
                  <a:gd name="T100" fmla="*/ 2147483647 w 876"/>
                  <a:gd name="T101" fmla="*/ 2147483647 h 618"/>
                  <a:gd name="T102" fmla="*/ 2147483647 w 876"/>
                  <a:gd name="T103" fmla="*/ 2147483647 h 618"/>
                  <a:gd name="T104" fmla="*/ 2147483647 w 876"/>
                  <a:gd name="T105" fmla="*/ 2147483647 h 618"/>
                  <a:gd name="T106" fmla="*/ 2147483647 w 876"/>
                  <a:gd name="T107" fmla="*/ 2147483647 h 618"/>
                  <a:gd name="T108" fmla="*/ 2147483647 w 876"/>
                  <a:gd name="T109" fmla="*/ 2147483647 h 6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6"/>
                  <a:gd name="T166" fmla="*/ 0 h 618"/>
                  <a:gd name="T167" fmla="*/ 876 w 876"/>
                  <a:gd name="T168" fmla="*/ 618 h 61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6" h="618">
                    <a:moveTo>
                      <a:pt x="804" y="318"/>
                    </a:moveTo>
                    <a:lnTo>
                      <a:pt x="798" y="312"/>
                    </a:lnTo>
                    <a:lnTo>
                      <a:pt x="798" y="306"/>
                    </a:lnTo>
                    <a:lnTo>
                      <a:pt x="786" y="306"/>
                    </a:lnTo>
                    <a:lnTo>
                      <a:pt x="762" y="318"/>
                    </a:lnTo>
                    <a:lnTo>
                      <a:pt x="750" y="330"/>
                    </a:lnTo>
                    <a:lnTo>
                      <a:pt x="750" y="336"/>
                    </a:lnTo>
                    <a:lnTo>
                      <a:pt x="756" y="342"/>
                    </a:lnTo>
                    <a:lnTo>
                      <a:pt x="768" y="342"/>
                    </a:lnTo>
                    <a:lnTo>
                      <a:pt x="774" y="348"/>
                    </a:lnTo>
                    <a:lnTo>
                      <a:pt x="774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816" y="324"/>
                    </a:lnTo>
                    <a:lnTo>
                      <a:pt x="810" y="318"/>
                    </a:lnTo>
                    <a:lnTo>
                      <a:pt x="804" y="318"/>
                    </a:lnTo>
                    <a:close/>
                    <a:moveTo>
                      <a:pt x="672" y="390"/>
                    </a:moveTo>
                    <a:lnTo>
                      <a:pt x="678" y="396"/>
                    </a:lnTo>
                    <a:lnTo>
                      <a:pt x="684" y="396"/>
                    </a:lnTo>
                    <a:lnTo>
                      <a:pt x="690" y="390"/>
                    </a:lnTo>
                    <a:lnTo>
                      <a:pt x="690" y="372"/>
                    </a:lnTo>
                    <a:lnTo>
                      <a:pt x="684" y="372"/>
                    </a:lnTo>
                    <a:lnTo>
                      <a:pt x="672" y="384"/>
                    </a:lnTo>
                    <a:lnTo>
                      <a:pt x="672" y="390"/>
                    </a:lnTo>
                    <a:close/>
                    <a:moveTo>
                      <a:pt x="840" y="300"/>
                    </a:moveTo>
                    <a:lnTo>
                      <a:pt x="840" y="306"/>
                    </a:lnTo>
                    <a:lnTo>
                      <a:pt x="852" y="318"/>
                    </a:lnTo>
                    <a:lnTo>
                      <a:pt x="870" y="318"/>
                    </a:lnTo>
                    <a:lnTo>
                      <a:pt x="876" y="312"/>
                    </a:lnTo>
                    <a:lnTo>
                      <a:pt x="864" y="300"/>
                    </a:lnTo>
                    <a:lnTo>
                      <a:pt x="852" y="300"/>
                    </a:lnTo>
                    <a:lnTo>
                      <a:pt x="846" y="294"/>
                    </a:lnTo>
                    <a:lnTo>
                      <a:pt x="840" y="300"/>
                    </a:lnTo>
                    <a:close/>
                    <a:moveTo>
                      <a:pt x="804" y="150"/>
                    </a:moveTo>
                    <a:lnTo>
                      <a:pt x="798" y="138"/>
                    </a:lnTo>
                    <a:lnTo>
                      <a:pt x="798" y="132"/>
                    </a:lnTo>
                    <a:lnTo>
                      <a:pt x="810" y="120"/>
                    </a:lnTo>
                    <a:lnTo>
                      <a:pt x="798" y="114"/>
                    </a:lnTo>
                    <a:lnTo>
                      <a:pt x="792" y="108"/>
                    </a:lnTo>
                    <a:lnTo>
                      <a:pt x="792" y="102"/>
                    </a:lnTo>
                    <a:lnTo>
                      <a:pt x="780" y="102"/>
                    </a:lnTo>
                    <a:lnTo>
                      <a:pt x="780" y="108"/>
                    </a:lnTo>
                    <a:lnTo>
                      <a:pt x="774" y="114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26" y="108"/>
                    </a:lnTo>
                    <a:lnTo>
                      <a:pt x="726" y="102"/>
                    </a:lnTo>
                    <a:lnTo>
                      <a:pt x="708" y="102"/>
                    </a:lnTo>
                    <a:lnTo>
                      <a:pt x="696" y="108"/>
                    </a:lnTo>
                    <a:lnTo>
                      <a:pt x="690" y="84"/>
                    </a:lnTo>
                    <a:lnTo>
                      <a:pt x="672" y="84"/>
                    </a:lnTo>
                    <a:lnTo>
                      <a:pt x="672" y="78"/>
                    </a:lnTo>
                    <a:lnTo>
                      <a:pt x="666" y="72"/>
                    </a:lnTo>
                    <a:lnTo>
                      <a:pt x="648" y="72"/>
                    </a:lnTo>
                    <a:lnTo>
                      <a:pt x="642" y="78"/>
                    </a:lnTo>
                    <a:lnTo>
                      <a:pt x="642" y="90"/>
                    </a:lnTo>
                    <a:lnTo>
                      <a:pt x="624" y="96"/>
                    </a:lnTo>
                    <a:lnTo>
                      <a:pt x="624" y="84"/>
                    </a:lnTo>
                    <a:lnTo>
                      <a:pt x="594" y="84"/>
                    </a:lnTo>
                    <a:lnTo>
                      <a:pt x="582" y="72"/>
                    </a:lnTo>
                    <a:lnTo>
                      <a:pt x="570" y="72"/>
                    </a:lnTo>
                    <a:lnTo>
                      <a:pt x="564" y="78"/>
                    </a:lnTo>
                    <a:lnTo>
                      <a:pt x="546" y="60"/>
                    </a:lnTo>
                    <a:lnTo>
                      <a:pt x="510" y="60"/>
                    </a:lnTo>
                    <a:lnTo>
                      <a:pt x="516" y="54"/>
                    </a:lnTo>
                    <a:lnTo>
                      <a:pt x="516" y="48"/>
                    </a:lnTo>
                    <a:lnTo>
                      <a:pt x="504" y="36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36"/>
                    </a:lnTo>
                    <a:lnTo>
                      <a:pt x="450" y="36"/>
                    </a:lnTo>
                    <a:lnTo>
                      <a:pt x="390" y="24"/>
                    </a:lnTo>
                    <a:lnTo>
                      <a:pt x="378" y="24"/>
                    </a:lnTo>
                    <a:lnTo>
                      <a:pt x="348" y="36"/>
                    </a:lnTo>
                    <a:lnTo>
                      <a:pt x="294" y="30"/>
                    </a:lnTo>
                    <a:lnTo>
                      <a:pt x="258" y="12"/>
                    </a:lnTo>
                    <a:lnTo>
                      <a:pt x="234" y="12"/>
                    </a:lnTo>
                    <a:lnTo>
                      <a:pt x="216" y="18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2" y="90"/>
                    </a:lnTo>
                    <a:lnTo>
                      <a:pt x="24" y="96"/>
                    </a:lnTo>
                    <a:lnTo>
                      <a:pt x="30" y="102"/>
                    </a:lnTo>
                    <a:lnTo>
                      <a:pt x="18" y="138"/>
                    </a:lnTo>
                    <a:lnTo>
                      <a:pt x="24" y="144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5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78" y="15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14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74" y="144"/>
                    </a:lnTo>
                    <a:lnTo>
                      <a:pt x="174" y="162"/>
                    </a:lnTo>
                    <a:lnTo>
                      <a:pt x="180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68" y="198"/>
                    </a:lnTo>
                    <a:lnTo>
                      <a:pt x="144" y="210"/>
                    </a:lnTo>
                    <a:lnTo>
                      <a:pt x="138" y="216"/>
                    </a:lnTo>
                    <a:lnTo>
                      <a:pt x="138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0" y="240"/>
                    </a:lnTo>
                    <a:lnTo>
                      <a:pt x="144" y="258"/>
                    </a:lnTo>
                    <a:lnTo>
                      <a:pt x="144" y="276"/>
                    </a:lnTo>
                    <a:lnTo>
                      <a:pt x="138" y="276"/>
                    </a:lnTo>
                    <a:lnTo>
                      <a:pt x="132" y="282"/>
                    </a:lnTo>
                    <a:lnTo>
                      <a:pt x="132" y="294"/>
                    </a:lnTo>
                    <a:lnTo>
                      <a:pt x="138" y="300"/>
                    </a:lnTo>
                    <a:lnTo>
                      <a:pt x="138" y="312"/>
                    </a:lnTo>
                    <a:lnTo>
                      <a:pt x="126" y="324"/>
                    </a:lnTo>
                    <a:lnTo>
                      <a:pt x="90" y="324"/>
                    </a:lnTo>
                    <a:lnTo>
                      <a:pt x="114" y="348"/>
                    </a:lnTo>
                    <a:lnTo>
                      <a:pt x="114" y="360"/>
                    </a:lnTo>
                    <a:lnTo>
                      <a:pt x="120" y="366"/>
                    </a:lnTo>
                    <a:lnTo>
                      <a:pt x="132" y="372"/>
                    </a:lnTo>
                    <a:lnTo>
                      <a:pt x="132" y="378"/>
                    </a:lnTo>
                    <a:lnTo>
                      <a:pt x="120" y="390"/>
                    </a:lnTo>
                    <a:lnTo>
                      <a:pt x="108" y="396"/>
                    </a:lnTo>
                    <a:lnTo>
                      <a:pt x="96" y="408"/>
                    </a:lnTo>
                    <a:lnTo>
                      <a:pt x="96" y="414"/>
                    </a:lnTo>
                    <a:lnTo>
                      <a:pt x="102" y="420"/>
                    </a:lnTo>
                    <a:lnTo>
                      <a:pt x="102" y="426"/>
                    </a:lnTo>
                    <a:lnTo>
                      <a:pt x="108" y="438"/>
                    </a:lnTo>
                    <a:lnTo>
                      <a:pt x="114" y="444"/>
                    </a:lnTo>
                    <a:lnTo>
                      <a:pt x="126" y="444"/>
                    </a:lnTo>
                    <a:lnTo>
                      <a:pt x="126" y="450"/>
                    </a:lnTo>
                    <a:lnTo>
                      <a:pt x="114" y="462"/>
                    </a:lnTo>
                    <a:lnTo>
                      <a:pt x="102" y="462"/>
                    </a:lnTo>
                    <a:lnTo>
                      <a:pt x="96" y="474"/>
                    </a:lnTo>
                    <a:lnTo>
                      <a:pt x="90" y="480"/>
                    </a:lnTo>
                    <a:lnTo>
                      <a:pt x="90" y="528"/>
                    </a:lnTo>
                    <a:lnTo>
                      <a:pt x="120" y="528"/>
                    </a:lnTo>
                    <a:lnTo>
                      <a:pt x="144" y="546"/>
                    </a:lnTo>
                    <a:lnTo>
                      <a:pt x="162" y="546"/>
                    </a:lnTo>
                    <a:lnTo>
                      <a:pt x="156" y="576"/>
                    </a:lnTo>
                    <a:lnTo>
                      <a:pt x="162" y="576"/>
                    </a:lnTo>
                    <a:lnTo>
                      <a:pt x="162" y="594"/>
                    </a:lnTo>
                    <a:lnTo>
                      <a:pt x="168" y="606"/>
                    </a:lnTo>
                    <a:lnTo>
                      <a:pt x="174" y="612"/>
                    </a:lnTo>
                    <a:lnTo>
                      <a:pt x="192" y="612"/>
                    </a:lnTo>
                    <a:lnTo>
                      <a:pt x="198" y="618"/>
                    </a:lnTo>
                    <a:lnTo>
                      <a:pt x="204" y="618"/>
                    </a:lnTo>
                    <a:lnTo>
                      <a:pt x="210" y="612"/>
                    </a:lnTo>
                    <a:lnTo>
                      <a:pt x="222" y="606"/>
                    </a:lnTo>
                    <a:lnTo>
                      <a:pt x="240" y="588"/>
                    </a:lnTo>
                    <a:lnTo>
                      <a:pt x="252" y="582"/>
                    </a:lnTo>
                    <a:lnTo>
                      <a:pt x="264" y="582"/>
                    </a:lnTo>
                    <a:lnTo>
                      <a:pt x="294" y="564"/>
                    </a:lnTo>
                    <a:lnTo>
                      <a:pt x="360" y="564"/>
                    </a:lnTo>
                    <a:lnTo>
                      <a:pt x="366" y="558"/>
                    </a:lnTo>
                    <a:lnTo>
                      <a:pt x="378" y="558"/>
                    </a:lnTo>
                    <a:lnTo>
                      <a:pt x="390" y="570"/>
                    </a:lnTo>
                    <a:lnTo>
                      <a:pt x="396" y="570"/>
                    </a:lnTo>
                    <a:lnTo>
                      <a:pt x="408" y="564"/>
                    </a:lnTo>
                    <a:lnTo>
                      <a:pt x="420" y="564"/>
                    </a:lnTo>
                    <a:lnTo>
                      <a:pt x="426" y="558"/>
                    </a:lnTo>
                    <a:lnTo>
                      <a:pt x="432" y="558"/>
                    </a:lnTo>
                    <a:lnTo>
                      <a:pt x="432" y="570"/>
                    </a:lnTo>
                    <a:lnTo>
                      <a:pt x="438" y="570"/>
                    </a:lnTo>
                    <a:lnTo>
                      <a:pt x="450" y="558"/>
                    </a:lnTo>
                    <a:lnTo>
                      <a:pt x="462" y="534"/>
                    </a:lnTo>
                    <a:lnTo>
                      <a:pt x="462" y="522"/>
                    </a:lnTo>
                    <a:lnTo>
                      <a:pt x="498" y="492"/>
                    </a:lnTo>
                    <a:lnTo>
                      <a:pt x="528" y="492"/>
                    </a:lnTo>
                    <a:lnTo>
                      <a:pt x="534" y="474"/>
                    </a:lnTo>
                    <a:lnTo>
                      <a:pt x="534" y="468"/>
                    </a:lnTo>
                    <a:lnTo>
                      <a:pt x="540" y="462"/>
                    </a:lnTo>
                    <a:lnTo>
                      <a:pt x="540" y="450"/>
                    </a:lnTo>
                    <a:lnTo>
                      <a:pt x="546" y="444"/>
                    </a:lnTo>
                    <a:lnTo>
                      <a:pt x="552" y="432"/>
                    </a:lnTo>
                    <a:lnTo>
                      <a:pt x="552" y="426"/>
                    </a:lnTo>
                    <a:lnTo>
                      <a:pt x="570" y="426"/>
                    </a:lnTo>
                    <a:lnTo>
                      <a:pt x="594" y="414"/>
                    </a:lnTo>
                    <a:lnTo>
                      <a:pt x="600" y="408"/>
                    </a:lnTo>
                    <a:lnTo>
                      <a:pt x="594" y="396"/>
                    </a:lnTo>
                    <a:lnTo>
                      <a:pt x="588" y="390"/>
                    </a:lnTo>
                    <a:lnTo>
                      <a:pt x="582" y="378"/>
                    </a:lnTo>
                    <a:lnTo>
                      <a:pt x="576" y="372"/>
                    </a:lnTo>
                    <a:lnTo>
                      <a:pt x="570" y="372"/>
                    </a:lnTo>
                    <a:lnTo>
                      <a:pt x="570" y="336"/>
                    </a:lnTo>
                    <a:lnTo>
                      <a:pt x="582" y="312"/>
                    </a:lnTo>
                    <a:lnTo>
                      <a:pt x="594" y="306"/>
                    </a:lnTo>
                    <a:lnTo>
                      <a:pt x="600" y="294"/>
                    </a:lnTo>
                    <a:lnTo>
                      <a:pt x="612" y="282"/>
                    </a:lnTo>
                    <a:lnTo>
                      <a:pt x="618" y="270"/>
                    </a:lnTo>
                    <a:lnTo>
                      <a:pt x="630" y="258"/>
                    </a:lnTo>
                    <a:lnTo>
                      <a:pt x="642" y="258"/>
                    </a:lnTo>
                    <a:lnTo>
                      <a:pt x="654" y="246"/>
                    </a:lnTo>
                    <a:lnTo>
                      <a:pt x="654" y="240"/>
                    </a:lnTo>
                    <a:lnTo>
                      <a:pt x="648" y="240"/>
                    </a:lnTo>
                    <a:lnTo>
                      <a:pt x="648" y="228"/>
                    </a:lnTo>
                    <a:lnTo>
                      <a:pt x="654" y="222"/>
                    </a:lnTo>
                    <a:lnTo>
                      <a:pt x="726" y="198"/>
                    </a:lnTo>
                    <a:lnTo>
                      <a:pt x="750" y="186"/>
                    </a:lnTo>
                    <a:lnTo>
                      <a:pt x="756" y="174"/>
                    </a:lnTo>
                    <a:lnTo>
                      <a:pt x="768" y="168"/>
                    </a:lnTo>
                    <a:lnTo>
                      <a:pt x="774" y="168"/>
                    </a:lnTo>
                    <a:lnTo>
                      <a:pt x="786" y="156"/>
                    </a:lnTo>
                    <a:lnTo>
                      <a:pt x="798" y="156"/>
                    </a:lnTo>
                    <a:lnTo>
                      <a:pt x="804" y="1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6" name="Slov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8C07D91-6008-48ED-947A-DBD1E1C47A5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11963" y="2215347"/>
                <a:ext cx="94006" cy="54992"/>
              </a:xfrm>
              <a:custGeom>
                <a:avLst/>
                <a:gdLst>
                  <a:gd name="T0" fmla="*/ 2147483647 w 210"/>
                  <a:gd name="T1" fmla="*/ 2147483647 h 120"/>
                  <a:gd name="T2" fmla="*/ 2147483647 w 210"/>
                  <a:gd name="T3" fmla="*/ 2147483647 h 120"/>
                  <a:gd name="T4" fmla="*/ 2147483647 w 210"/>
                  <a:gd name="T5" fmla="*/ 2147483647 h 120"/>
                  <a:gd name="T6" fmla="*/ 2147483647 w 210"/>
                  <a:gd name="T7" fmla="*/ 2147483647 h 120"/>
                  <a:gd name="T8" fmla="*/ 2147483647 w 210"/>
                  <a:gd name="T9" fmla="*/ 2147483647 h 120"/>
                  <a:gd name="T10" fmla="*/ 2147483647 w 210"/>
                  <a:gd name="T11" fmla="*/ 2147483647 h 120"/>
                  <a:gd name="T12" fmla="*/ 2147483647 w 210"/>
                  <a:gd name="T13" fmla="*/ 2147483647 h 120"/>
                  <a:gd name="T14" fmla="*/ 2147483647 w 210"/>
                  <a:gd name="T15" fmla="*/ 2147483647 h 120"/>
                  <a:gd name="T16" fmla="*/ 2147483647 w 210"/>
                  <a:gd name="T17" fmla="*/ 2147483647 h 120"/>
                  <a:gd name="T18" fmla="*/ 2147483647 w 210"/>
                  <a:gd name="T19" fmla="*/ 2147483647 h 120"/>
                  <a:gd name="T20" fmla="*/ 2147483647 w 210"/>
                  <a:gd name="T21" fmla="*/ 2147483647 h 120"/>
                  <a:gd name="T22" fmla="*/ 2147483647 w 210"/>
                  <a:gd name="T23" fmla="*/ 2147483647 h 120"/>
                  <a:gd name="T24" fmla="*/ 2147483647 w 210"/>
                  <a:gd name="T25" fmla="*/ 2147483647 h 120"/>
                  <a:gd name="T26" fmla="*/ 2147483647 w 210"/>
                  <a:gd name="T27" fmla="*/ 2147483647 h 120"/>
                  <a:gd name="T28" fmla="*/ 2147483647 w 210"/>
                  <a:gd name="T29" fmla="*/ 2147483647 h 120"/>
                  <a:gd name="T30" fmla="*/ 2147483647 w 210"/>
                  <a:gd name="T31" fmla="*/ 2147483647 h 120"/>
                  <a:gd name="T32" fmla="*/ 2147483647 w 210"/>
                  <a:gd name="T33" fmla="*/ 2147483647 h 120"/>
                  <a:gd name="T34" fmla="*/ 2147483647 w 210"/>
                  <a:gd name="T35" fmla="*/ 2147483647 h 120"/>
                  <a:gd name="T36" fmla="*/ 2147483647 w 210"/>
                  <a:gd name="T37" fmla="*/ 2147483647 h 120"/>
                  <a:gd name="T38" fmla="*/ 2147483647 w 210"/>
                  <a:gd name="T39" fmla="*/ 2147483647 h 120"/>
                  <a:gd name="T40" fmla="*/ 2147483647 w 210"/>
                  <a:gd name="T41" fmla="*/ 2147483647 h 120"/>
                  <a:gd name="T42" fmla="*/ 2147483647 w 210"/>
                  <a:gd name="T43" fmla="*/ 0 h 120"/>
                  <a:gd name="T44" fmla="*/ 2147483647 w 210"/>
                  <a:gd name="T45" fmla="*/ 2147483647 h 120"/>
                  <a:gd name="T46" fmla="*/ 2147483647 w 210"/>
                  <a:gd name="T47" fmla="*/ 2147483647 h 120"/>
                  <a:gd name="T48" fmla="*/ 2147483647 w 210"/>
                  <a:gd name="T49" fmla="*/ 2147483647 h 120"/>
                  <a:gd name="T50" fmla="*/ 2147483647 w 210"/>
                  <a:gd name="T51" fmla="*/ 2147483647 h 120"/>
                  <a:gd name="T52" fmla="*/ 2147483647 w 210"/>
                  <a:gd name="T53" fmla="*/ 2147483647 h 120"/>
                  <a:gd name="T54" fmla="*/ 2147483647 w 210"/>
                  <a:gd name="T55" fmla="*/ 2147483647 h 120"/>
                  <a:gd name="T56" fmla="*/ 2147483647 w 210"/>
                  <a:gd name="T57" fmla="*/ 2147483647 h 120"/>
                  <a:gd name="T58" fmla="*/ 2147483647 w 210"/>
                  <a:gd name="T59" fmla="*/ 2147483647 h 120"/>
                  <a:gd name="T60" fmla="*/ 2147483647 w 210"/>
                  <a:gd name="T61" fmla="*/ 2147483647 h 120"/>
                  <a:gd name="T62" fmla="*/ 2147483647 w 210"/>
                  <a:gd name="T63" fmla="*/ 2147483647 h 120"/>
                  <a:gd name="T64" fmla="*/ 2147483647 w 210"/>
                  <a:gd name="T65" fmla="*/ 2147483647 h 120"/>
                  <a:gd name="T66" fmla="*/ 2147483647 w 210"/>
                  <a:gd name="T67" fmla="*/ 2147483647 h 120"/>
                  <a:gd name="T68" fmla="*/ 0 w 210"/>
                  <a:gd name="T69" fmla="*/ 2147483647 h 120"/>
                  <a:gd name="T70" fmla="*/ 2147483647 w 210"/>
                  <a:gd name="T71" fmla="*/ 2147483647 h 120"/>
                  <a:gd name="T72" fmla="*/ 2147483647 w 210"/>
                  <a:gd name="T73" fmla="*/ 2147483647 h 120"/>
                  <a:gd name="T74" fmla="*/ 2147483647 w 210"/>
                  <a:gd name="T75" fmla="*/ 2147483647 h 120"/>
                  <a:gd name="T76" fmla="*/ 2147483647 w 210"/>
                  <a:gd name="T77" fmla="*/ 2147483647 h 120"/>
                  <a:gd name="T78" fmla="*/ 2147483647 w 210"/>
                  <a:gd name="T79" fmla="*/ 2147483647 h 120"/>
                  <a:gd name="T80" fmla="*/ 2147483647 w 210"/>
                  <a:gd name="T81" fmla="*/ 2147483647 h 120"/>
                  <a:gd name="T82" fmla="*/ 2147483647 w 210"/>
                  <a:gd name="T83" fmla="*/ 2147483647 h 120"/>
                  <a:gd name="T84" fmla="*/ 2147483647 w 210"/>
                  <a:gd name="T85" fmla="*/ 2147483647 h 120"/>
                  <a:gd name="T86" fmla="*/ 2147483647 w 210"/>
                  <a:gd name="T87" fmla="*/ 2147483647 h 1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120"/>
                  <a:gd name="T134" fmla="*/ 210 w 210"/>
                  <a:gd name="T135" fmla="*/ 120 h 1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120">
                    <a:moveTo>
                      <a:pt x="24" y="120"/>
                    </a:moveTo>
                    <a:lnTo>
                      <a:pt x="42" y="120"/>
                    </a:lnTo>
                    <a:lnTo>
                      <a:pt x="42" y="108"/>
                    </a:lnTo>
                    <a:lnTo>
                      <a:pt x="54" y="114"/>
                    </a:lnTo>
                    <a:lnTo>
                      <a:pt x="72" y="114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84" y="114"/>
                    </a:lnTo>
                    <a:lnTo>
                      <a:pt x="126" y="114"/>
                    </a:lnTo>
                    <a:lnTo>
                      <a:pt x="126" y="96"/>
                    </a:lnTo>
                    <a:lnTo>
                      <a:pt x="138" y="90"/>
                    </a:lnTo>
                    <a:lnTo>
                      <a:pt x="150" y="78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54"/>
                    </a:lnTo>
                    <a:lnTo>
                      <a:pt x="174" y="54"/>
                    </a:lnTo>
                    <a:lnTo>
                      <a:pt x="186" y="48"/>
                    </a:lnTo>
                    <a:lnTo>
                      <a:pt x="186" y="36"/>
                    </a:lnTo>
                    <a:lnTo>
                      <a:pt x="210" y="36"/>
                    </a:lnTo>
                    <a:lnTo>
                      <a:pt x="192" y="24"/>
                    </a:lnTo>
                    <a:lnTo>
                      <a:pt x="186" y="6"/>
                    </a:lnTo>
                    <a:lnTo>
                      <a:pt x="180" y="0"/>
                    </a:lnTo>
                    <a:lnTo>
                      <a:pt x="174" y="12"/>
                    </a:lnTo>
                    <a:lnTo>
                      <a:pt x="168" y="30"/>
                    </a:lnTo>
                    <a:lnTo>
                      <a:pt x="144" y="24"/>
                    </a:lnTo>
                    <a:lnTo>
                      <a:pt x="132" y="30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54" y="42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12" y="60"/>
                    </a:lnTo>
                    <a:lnTo>
                      <a:pt x="6" y="96"/>
                    </a:lnTo>
                    <a:lnTo>
                      <a:pt x="18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14"/>
                    </a:lnTo>
                    <a:lnTo>
                      <a:pt x="24" y="1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7" name="Slovak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1E02B35-FF72-BF69-A4C1-DE023FA494C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07743" y="2124877"/>
                <a:ext cx="161406" cy="65636"/>
              </a:xfrm>
              <a:custGeom>
                <a:avLst/>
                <a:gdLst>
                  <a:gd name="T0" fmla="*/ 2147483647 w 354"/>
                  <a:gd name="T1" fmla="*/ 2147483647 h 144"/>
                  <a:gd name="T2" fmla="*/ 2147483647 w 354"/>
                  <a:gd name="T3" fmla="*/ 2147483647 h 144"/>
                  <a:gd name="T4" fmla="*/ 2147483647 w 354"/>
                  <a:gd name="T5" fmla="*/ 2147483647 h 144"/>
                  <a:gd name="T6" fmla="*/ 2147483647 w 354"/>
                  <a:gd name="T7" fmla="*/ 2147483647 h 144"/>
                  <a:gd name="T8" fmla="*/ 2147483647 w 354"/>
                  <a:gd name="T9" fmla="*/ 2147483647 h 144"/>
                  <a:gd name="T10" fmla="*/ 2147483647 w 354"/>
                  <a:gd name="T11" fmla="*/ 2147483647 h 144"/>
                  <a:gd name="T12" fmla="*/ 2147483647 w 354"/>
                  <a:gd name="T13" fmla="*/ 2147483647 h 144"/>
                  <a:gd name="T14" fmla="*/ 2147483647 w 354"/>
                  <a:gd name="T15" fmla="*/ 0 h 144"/>
                  <a:gd name="T16" fmla="*/ 2147483647 w 354"/>
                  <a:gd name="T17" fmla="*/ 2147483647 h 144"/>
                  <a:gd name="T18" fmla="*/ 2147483647 w 354"/>
                  <a:gd name="T19" fmla="*/ 0 h 144"/>
                  <a:gd name="T20" fmla="*/ 2147483647 w 354"/>
                  <a:gd name="T21" fmla="*/ 2147483647 h 144"/>
                  <a:gd name="T22" fmla="*/ 2147483647 w 354"/>
                  <a:gd name="T23" fmla="*/ 2147483647 h 144"/>
                  <a:gd name="T24" fmla="*/ 2147483647 w 354"/>
                  <a:gd name="T25" fmla="*/ 2147483647 h 144"/>
                  <a:gd name="T26" fmla="*/ 2147483647 w 354"/>
                  <a:gd name="T27" fmla="*/ 2147483647 h 144"/>
                  <a:gd name="T28" fmla="*/ 2147483647 w 354"/>
                  <a:gd name="T29" fmla="*/ 2147483647 h 144"/>
                  <a:gd name="T30" fmla="*/ 0 w 354"/>
                  <a:gd name="T31" fmla="*/ 2147483647 h 144"/>
                  <a:gd name="T32" fmla="*/ 2147483647 w 354"/>
                  <a:gd name="T33" fmla="*/ 2147483647 h 144"/>
                  <a:gd name="T34" fmla="*/ 2147483647 w 354"/>
                  <a:gd name="T35" fmla="*/ 2147483647 h 144"/>
                  <a:gd name="T36" fmla="*/ 2147483647 w 354"/>
                  <a:gd name="T37" fmla="*/ 2147483647 h 144"/>
                  <a:gd name="T38" fmla="*/ 2147483647 w 354"/>
                  <a:gd name="T39" fmla="*/ 2147483647 h 144"/>
                  <a:gd name="T40" fmla="*/ 2147483647 w 354"/>
                  <a:gd name="T41" fmla="*/ 2147483647 h 144"/>
                  <a:gd name="T42" fmla="*/ 2147483647 w 354"/>
                  <a:gd name="T43" fmla="*/ 2147483647 h 144"/>
                  <a:gd name="T44" fmla="*/ 2147483647 w 354"/>
                  <a:gd name="T45" fmla="*/ 2147483647 h 144"/>
                  <a:gd name="T46" fmla="*/ 2147483647 w 354"/>
                  <a:gd name="T47" fmla="*/ 2147483647 h 144"/>
                  <a:gd name="T48" fmla="*/ 2147483647 w 354"/>
                  <a:gd name="T49" fmla="*/ 2147483647 h 144"/>
                  <a:gd name="T50" fmla="*/ 2147483647 w 354"/>
                  <a:gd name="T51" fmla="*/ 2147483647 h 144"/>
                  <a:gd name="T52" fmla="*/ 2147483647 w 354"/>
                  <a:gd name="T53" fmla="*/ 2147483647 h 144"/>
                  <a:gd name="T54" fmla="*/ 2147483647 w 354"/>
                  <a:gd name="T55" fmla="*/ 2147483647 h 144"/>
                  <a:gd name="T56" fmla="*/ 2147483647 w 354"/>
                  <a:gd name="T57" fmla="*/ 2147483647 h 144"/>
                  <a:gd name="T58" fmla="*/ 2147483647 w 354"/>
                  <a:gd name="T59" fmla="*/ 2147483647 h 144"/>
                  <a:gd name="T60" fmla="*/ 2147483647 w 354"/>
                  <a:gd name="T61" fmla="*/ 2147483647 h 144"/>
                  <a:gd name="T62" fmla="*/ 2147483647 w 354"/>
                  <a:gd name="T63" fmla="*/ 2147483647 h 144"/>
                  <a:gd name="T64" fmla="*/ 2147483647 w 354"/>
                  <a:gd name="T65" fmla="*/ 2147483647 h 144"/>
                  <a:gd name="T66" fmla="*/ 2147483647 w 354"/>
                  <a:gd name="T67" fmla="*/ 2147483647 h 144"/>
                  <a:gd name="T68" fmla="*/ 2147483647 w 354"/>
                  <a:gd name="T69" fmla="*/ 2147483647 h 1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4"/>
                  <a:gd name="T106" fmla="*/ 0 h 144"/>
                  <a:gd name="T107" fmla="*/ 354 w 354"/>
                  <a:gd name="T108" fmla="*/ 144 h 14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4" h="144">
                    <a:moveTo>
                      <a:pt x="348" y="30"/>
                    </a:moveTo>
                    <a:lnTo>
                      <a:pt x="324" y="30"/>
                    </a:lnTo>
                    <a:lnTo>
                      <a:pt x="300" y="6"/>
                    </a:lnTo>
                    <a:lnTo>
                      <a:pt x="276" y="6"/>
                    </a:lnTo>
                    <a:lnTo>
                      <a:pt x="270" y="12"/>
                    </a:lnTo>
                    <a:lnTo>
                      <a:pt x="258" y="18"/>
                    </a:lnTo>
                    <a:lnTo>
                      <a:pt x="246" y="18"/>
                    </a:lnTo>
                    <a:lnTo>
                      <a:pt x="240" y="12"/>
                    </a:lnTo>
                    <a:lnTo>
                      <a:pt x="210" y="12"/>
                    </a:lnTo>
                    <a:lnTo>
                      <a:pt x="210" y="18"/>
                    </a:lnTo>
                    <a:lnTo>
                      <a:pt x="204" y="24"/>
                    </a:lnTo>
                    <a:lnTo>
                      <a:pt x="192" y="24"/>
                    </a:lnTo>
                    <a:lnTo>
                      <a:pt x="186" y="18"/>
                    </a:lnTo>
                    <a:lnTo>
                      <a:pt x="186" y="12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56" y="0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0"/>
                    </a:lnTo>
                    <a:lnTo>
                      <a:pt x="108" y="12"/>
                    </a:lnTo>
                    <a:lnTo>
                      <a:pt x="84" y="18"/>
                    </a:lnTo>
                    <a:lnTo>
                      <a:pt x="84" y="42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54" y="60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30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0" y="90"/>
                    </a:lnTo>
                    <a:lnTo>
                      <a:pt x="0" y="102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12" y="114"/>
                    </a:lnTo>
                    <a:lnTo>
                      <a:pt x="12" y="126"/>
                    </a:lnTo>
                    <a:lnTo>
                      <a:pt x="6" y="132"/>
                    </a:lnTo>
                    <a:lnTo>
                      <a:pt x="18" y="13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90" y="144"/>
                    </a:lnTo>
                    <a:lnTo>
                      <a:pt x="108" y="138"/>
                    </a:lnTo>
                    <a:lnTo>
                      <a:pt x="120" y="138"/>
                    </a:lnTo>
                    <a:lnTo>
                      <a:pt x="132" y="114"/>
                    </a:lnTo>
                    <a:lnTo>
                      <a:pt x="168" y="120"/>
                    </a:lnTo>
                    <a:lnTo>
                      <a:pt x="174" y="108"/>
                    </a:lnTo>
                    <a:lnTo>
                      <a:pt x="198" y="108"/>
                    </a:lnTo>
                    <a:lnTo>
                      <a:pt x="210" y="102"/>
                    </a:lnTo>
                    <a:lnTo>
                      <a:pt x="216" y="102"/>
                    </a:lnTo>
                    <a:lnTo>
                      <a:pt x="228" y="90"/>
                    </a:lnTo>
                    <a:lnTo>
                      <a:pt x="234" y="78"/>
                    </a:lnTo>
                    <a:lnTo>
                      <a:pt x="258" y="78"/>
                    </a:lnTo>
                    <a:lnTo>
                      <a:pt x="258" y="90"/>
                    </a:lnTo>
                    <a:lnTo>
                      <a:pt x="276" y="96"/>
                    </a:lnTo>
                    <a:lnTo>
                      <a:pt x="276" y="78"/>
                    </a:lnTo>
                    <a:lnTo>
                      <a:pt x="288" y="78"/>
                    </a:lnTo>
                    <a:lnTo>
                      <a:pt x="288" y="90"/>
                    </a:lnTo>
                    <a:lnTo>
                      <a:pt x="300" y="90"/>
                    </a:lnTo>
                    <a:lnTo>
                      <a:pt x="312" y="84"/>
                    </a:lnTo>
                    <a:lnTo>
                      <a:pt x="336" y="84"/>
                    </a:lnTo>
                    <a:lnTo>
                      <a:pt x="336" y="90"/>
                    </a:lnTo>
                    <a:lnTo>
                      <a:pt x="336" y="72"/>
                    </a:lnTo>
                    <a:lnTo>
                      <a:pt x="342" y="72"/>
                    </a:lnTo>
                    <a:lnTo>
                      <a:pt x="348" y="66"/>
                    </a:lnTo>
                    <a:lnTo>
                      <a:pt x="348" y="60"/>
                    </a:lnTo>
                    <a:lnTo>
                      <a:pt x="354" y="54"/>
                    </a:lnTo>
                    <a:lnTo>
                      <a:pt x="354" y="30"/>
                    </a:lnTo>
                    <a:lnTo>
                      <a:pt x="348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8" name="Russia (Urup,Simushir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8B2B4A7-1341-F904-7EE1-40F0197C1E4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9932526" y="1791377"/>
                <a:ext cx="136575" cy="539278"/>
              </a:xfrm>
              <a:custGeom>
                <a:avLst/>
                <a:gdLst>
                  <a:gd name="T0" fmla="*/ 0 w 300"/>
                  <a:gd name="T1" fmla="*/ 2147483647 h 1194"/>
                  <a:gd name="T2" fmla="*/ 2147483647 w 300"/>
                  <a:gd name="T3" fmla="*/ 2147483647 h 1194"/>
                  <a:gd name="T4" fmla="*/ 2147483647 w 300"/>
                  <a:gd name="T5" fmla="*/ 2147483647 h 1194"/>
                  <a:gd name="T6" fmla="*/ 2147483647 w 300"/>
                  <a:gd name="T7" fmla="*/ 2147483647 h 1194"/>
                  <a:gd name="T8" fmla="*/ 0 w 300"/>
                  <a:gd name="T9" fmla="*/ 2147483647 h 1194"/>
                  <a:gd name="T10" fmla="*/ 2147483647 w 300"/>
                  <a:gd name="T11" fmla="*/ 2147483647 h 1194"/>
                  <a:gd name="T12" fmla="*/ 2147483647 w 300"/>
                  <a:gd name="T13" fmla="*/ 2147483647 h 1194"/>
                  <a:gd name="T14" fmla="*/ 2147483647 w 300"/>
                  <a:gd name="T15" fmla="*/ 2147483647 h 1194"/>
                  <a:gd name="T16" fmla="*/ 2147483647 w 300"/>
                  <a:gd name="T17" fmla="*/ 2147483647 h 1194"/>
                  <a:gd name="T18" fmla="*/ 2147483647 w 300"/>
                  <a:gd name="T19" fmla="*/ 2147483647 h 1194"/>
                  <a:gd name="T20" fmla="*/ 2147483647 w 300"/>
                  <a:gd name="T21" fmla="*/ 2147483647 h 1194"/>
                  <a:gd name="T22" fmla="*/ 2147483647 w 300"/>
                  <a:gd name="T23" fmla="*/ 2147483647 h 1194"/>
                  <a:gd name="T24" fmla="*/ 2147483647 w 300"/>
                  <a:gd name="T25" fmla="*/ 2147483647 h 1194"/>
                  <a:gd name="T26" fmla="*/ 2147483647 w 300"/>
                  <a:gd name="T27" fmla="*/ 2147483647 h 1194"/>
                  <a:gd name="T28" fmla="*/ 2147483647 w 300"/>
                  <a:gd name="T29" fmla="*/ 2147483647 h 1194"/>
                  <a:gd name="T30" fmla="*/ 2147483647 w 300"/>
                  <a:gd name="T31" fmla="*/ 2147483647 h 1194"/>
                  <a:gd name="T32" fmla="*/ 2147483647 w 300"/>
                  <a:gd name="T33" fmla="*/ 2147483647 h 1194"/>
                  <a:gd name="T34" fmla="*/ 2147483647 w 300"/>
                  <a:gd name="T35" fmla="*/ 2147483647 h 1194"/>
                  <a:gd name="T36" fmla="*/ 2147483647 w 300"/>
                  <a:gd name="T37" fmla="*/ 2147483647 h 1194"/>
                  <a:gd name="T38" fmla="*/ 2147483647 w 300"/>
                  <a:gd name="T39" fmla="*/ 2147483647 h 1194"/>
                  <a:gd name="T40" fmla="*/ 2147483647 w 300"/>
                  <a:gd name="T41" fmla="*/ 2147483647 h 1194"/>
                  <a:gd name="T42" fmla="*/ 2147483647 w 300"/>
                  <a:gd name="T43" fmla="*/ 2147483647 h 1194"/>
                  <a:gd name="T44" fmla="*/ 2147483647 w 300"/>
                  <a:gd name="T45" fmla="*/ 2147483647 h 1194"/>
                  <a:gd name="T46" fmla="*/ 2147483647 w 300"/>
                  <a:gd name="T47" fmla="*/ 2147483647 h 1194"/>
                  <a:gd name="T48" fmla="*/ 2147483647 w 300"/>
                  <a:gd name="T49" fmla="*/ 2147483647 h 1194"/>
                  <a:gd name="T50" fmla="*/ 2147483647 w 300"/>
                  <a:gd name="T51" fmla="*/ 2147483647 h 1194"/>
                  <a:gd name="T52" fmla="*/ 2147483647 w 300"/>
                  <a:gd name="T53" fmla="*/ 2147483647 h 1194"/>
                  <a:gd name="T54" fmla="*/ 2147483647 w 300"/>
                  <a:gd name="T55" fmla="*/ 2147483647 h 1194"/>
                  <a:gd name="T56" fmla="*/ 2147483647 w 300"/>
                  <a:gd name="T57" fmla="*/ 2147483647 h 1194"/>
                  <a:gd name="T58" fmla="*/ 2147483647 w 300"/>
                  <a:gd name="T59" fmla="*/ 2147483647 h 1194"/>
                  <a:gd name="T60" fmla="*/ 2147483647 w 300"/>
                  <a:gd name="T61" fmla="*/ 2147483647 h 1194"/>
                  <a:gd name="T62" fmla="*/ 2147483647 w 300"/>
                  <a:gd name="T63" fmla="*/ 2147483647 h 1194"/>
                  <a:gd name="T64" fmla="*/ 2147483647 w 300"/>
                  <a:gd name="T65" fmla="*/ 2147483647 h 1194"/>
                  <a:gd name="T66" fmla="*/ 2147483647 w 300"/>
                  <a:gd name="T67" fmla="*/ 2147483647 h 1194"/>
                  <a:gd name="T68" fmla="*/ 2147483647 w 300"/>
                  <a:gd name="T69" fmla="*/ 2147483647 h 1194"/>
                  <a:gd name="T70" fmla="*/ 2147483647 w 300"/>
                  <a:gd name="T71" fmla="*/ 2147483647 h 1194"/>
                  <a:gd name="T72" fmla="*/ 2147483647 w 300"/>
                  <a:gd name="T73" fmla="*/ 2147483647 h 1194"/>
                  <a:gd name="T74" fmla="*/ 2147483647 w 300"/>
                  <a:gd name="T75" fmla="*/ 2147483647 h 1194"/>
                  <a:gd name="T76" fmla="*/ 2147483647 w 300"/>
                  <a:gd name="T77" fmla="*/ 2147483647 h 1194"/>
                  <a:gd name="T78" fmla="*/ 2147483647 w 300"/>
                  <a:gd name="T79" fmla="*/ 2147483647 h 1194"/>
                  <a:gd name="T80" fmla="*/ 2147483647 w 300"/>
                  <a:gd name="T81" fmla="*/ 2147483647 h 1194"/>
                  <a:gd name="T82" fmla="*/ 2147483647 w 300"/>
                  <a:gd name="T83" fmla="*/ 2147483647 h 1194"/>
                  <a:gd name="T84" fmla="*/ 2147483647 w 300"/>
                  <a:gd name="T85" fmla="*/ 2147483647 h 1194"/>
                  <a:gd name="T86" fmla="*/ 2147483647 w 300"/>
                  <a:gd name="T87" fmla="*/ 2147483647 h 1194"/>
                  <a:gd name="T88" fmla="*/ 2147483647 w 300"/>
                  <a:gd name="T89" fmla="*/ 2147483647 h 1194"/>
                  <a:gd name="T90" fmla="*/ 2147483647 w 300"/>
                  <a:gd name="T91" fmla="*/ 2147483647 h 1194"/>
                  <a:gd name="T92" fmla="*/ 2147483647 w 300"/>
                  <a:gd name="T93" fmla="*/ 2147483647 h 1194"/>
                  <a:gd name="T94" fmla="*/ 2147483647 w 300"/>
                  <a:gd name="T95" fmla="*/ 2147483647 h 1194"/>
                  <a:gd name="T96" fmla="*/ 2147483647 w 300"/>
                  <a:gd name="T97" fmla="*/ 2147483647 h 1194"/>
                  <a:gd name="T98" fmla="*/ 2147483647 w 300"/>
                  <a:gd name="T99" fmla="*/ 0 h 1194"/>
                  <a:gd name="T100" fmla="*/ 2147483647 w 300"/>
                  <a:gd name="T101" fmla="*/ 2147483647 h 11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0"/>
                  <a:gd name="T154" fmla="*/ 0 h 1194"/>
                  <a:gd name="T155" fmla="*/ 300 w 300"/>
                  <a:gd name="T156" fmla="*/ 1194 h 11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0" h="1194">
                    <a:moveTo>
                      <a:pt x="0" y="1194"/>
                    </a:moveTo>
                    <a:lnTo>
                      <a:pt x="12" y="1188"/>
                    </a:lnTo>
                    <a:lnTo>
                      <a:pt x="36" y="1146"/>
                    </a:lnTo>
                    <a:lnTo>
                      <a:pt x="18" y="1134"/>
                    </a:lnTo>
                    <a:lnTo>
                      <a:pt x="0" y="1194"/>
                    </a:lnTo>
                    <a:close/>
                    <a:moveTo>
                      <a:pt x="114" y="1068"/>
                    </a:moveTo>
                    <a:lnTo>
                      <a:pt x="72" y="1062"/>
                    </a:lnTo>
                    <a:lnTo>
                      <a:pt x="54" y="1134"/>
                    </a:lnTo>
                    <a:lnTo>
                      <a:pt x="66" y="1134"/>
                    </a:lnTo>
                    <a:lnTo>
                      <a:pt x="84" y="1104"/>
                    </a:lnTo>
                    <a:lnTo>
                      <a:pt x="132" y="1074"/>
                    </a:lnTo>
                    <a:lnTo>
                      <a:pt x="120" y="1050"/>
                    </a:lnTo>
                    <a:lnTo>
                      <a:pt x="114" y="1068"/>
                    </a:lnTo>
                    <a:close/>
                    <a:moveTo>
                      <a:pt x="192" y="1008"/>
                    </a:moveTo>
                    <a:lnTo>
                      <a:pt x="186" y="1008"/>
                    </a:lnTo>
                    <a:lnTo>
                      <a:pt x="180" y="1020"/>
                    </a:lnTo>
                    <a:lnTo>
                      <a:pt x="174" y="1026"/>
                    </a:lnTo>
                    <a:lnTo>
                      <a:pt x="168" y="1038"/>
                    </a:lnTo>
                    <a:lnTo>
                      <a:pt x="168" y="1044"/>
                    </a:lnTo>
                    <a:lnTo>
                      <a:pt x="174" y="1050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192" y="1008"/>
                    </a:lnTo>
                    <a:close/>
                    <a:moveTo>
                      <a:pt x="282" y="636"/>
                    </a:moveTo>
                    <a:lnTo>
                      <a:pt x="264" y="654"/>
                    </a:lnTo>
                    <a:lnTo>
                      <a:pt x="276" y="678"/>
                    </a:lnTo>
                    <a:lnTo>
                      <a:pt x="258" y="678"/>
                    </a:lnTo>
                    <a:lnTo>
                      <a:pt x="258" y="702"/>
                    </a:lnTo>
                    <a:lnTo>
                      <a:pt x="282" y="702"/>
                    </a:lnTo>
                    <a:lnTo>
                      <a:pt x="294" y="684"/>
                    </a:lnTo>
                    <a:lnTo>
                      <a:pt x="282" y="654"/>
                    </a:lnTo>
                    <a:lnTo>
                      <a:pt x="300" y="654"/>
                    </a:lnTo>
                    <a:lnTo>
                      <a:pt x="282" y="636"/>
                    </a:lnTo>
                    <a:close/>
                    <a:moveTo>
                      <a:pt x="276" y="768"/>
                    </a:moveTo>
                    <a:lnTo>
                      <a:pt x="294" y="750"/>
                    </a:lnTo>
                    <a:lnTo>
                      <a:pt x="270" y="732"/>
                    </a:lnTo>
                    <a:lnTo>
                      <a:pt x="276" y="768"/>
                    </a:lnTo>
                    <a:close/>
                    <a:moveTo>
                      <a:pt x="258" y="954"/>
                    </a:moveTo>
                    <a:lnTo>
                      <a:pt x="258" y="924"/>
                    </a:lnTo>
                    <a:lnTo>
                      <a:pt x="240" y="948"/>
                    </a:lnTo>
                    <a:lnTo>
                      <a:pt x="258" y="954"/>
                    </a:lnTo>
                    <a:close/>
                    <a:moveTo>
                      <a:pt x="252" y="858"/>
                    </a:moveTo>
                    <a:lnTo>
                      <a:pt x="270" y="858"/>
                    </a:lnTo>
                    <a:lnTo>
                      <a:pt x="252" y="840"/>
                    </a:lnTo>
                    <a:lnTo>
                      <a:pt x="252" y="858"/>
                    </a:lnTo>
                    <a:close/>
                    <a:moveTo>
                      <a:pt x="126" y="24"/>
                    </a:moveTo>
                    <a:lnTo>
                      <a:pt x="144" y="60"/>
                    </a:lnTo>
                    <a:lnTo>
                      <a:pt x="174" y="24"/>
                    </a:lnTo>
                    <a:lnTo>
                      <a:pt x="162" y="0"/>
                    </a:lnTo>
                    <a:lnTo>
                      <a:pt x="126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99" name="Rus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C5A25F6-89CA-8850-19AA-5F3B25852F5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82239" y="1126149"/>
                <a:ext cx="4068881" cy="1294978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700" name="Rom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4175018-F98C-2B4D-9320-EEA66DCF713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2171001"/>
                <a:ext cx="276698" cy="164977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701" name="Portug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12959AF-D11F-274E-7B38-87F41983C76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39729" y="2390969"/>
                <a:ext cx="102875" cy="184490"/>
              </a:xfrm>
              <a:custGeom>
                <a:avLst/>
                <a:gdLst>
                  <a:gd name="T0" fmla="*/ 2147483647 w 228"/>
                  <a:gd name="T1" fmla="*/ 2147483647 h 414"/>
                  <a:gd name="T2" fmla="*/ 2147483647 w 228"/>
                  <a:gd name="T3" fmla="*/ 2147483647 h 414"/>
                  <a:gd name="T4" fmla="*/ 2147483647 w 228"/>
                  <a:gd name="T5" fmla="*/ 2147483647 h 414"/>
                  <a:gd name="T6" fmla="*/ 2147483647 w 228"/>
                  <a:gd name="T7" fmla="*/ 2147483647 h 414"/>
                  <a:gd name="T8" fmla="*/ 2147483647 w 228"/>
                  <a:gd name="T9" fmla="*/ 2147483647 h 414"/>
                  <a:gd name="T10" fmla="*/ 2147483647 w 228"/>
                  <a:gd name="T11" fmla="*/ 2147483647 h 414"/>
                  <a:gd name="T12" fmla="*/ 2147483647 w 228"/>
                  <a:gd name="T13" fmla="*/ 0 h 414"/>
                  <a:gd name="T14" fmla="*/ 2147483647 w 228"/>
                  <a:gd name="T15" fmla="*/ 2147483647 h 414"/>
                  <a:gd name="T16" fmla="*/ 2147483647 w 228"/>
                  <a:gd name="T17" fmla="*/ 2147483647 h 414"/>
                  <a:gd name="T18" fmla="*/ 2147483647 w 228"/>
                  <a:gd name="T19" fmla="*/ 2147483647 h 414"/>
                  <a:gd name="T20" fmla="*/ 2147483647 w 228"/>
                  <a:gd name="T21" fmla="*/ 2147483647 h 414"/>
                  <a:gd name="T22" fmla="*/ 2147483647 w 228"/>
                  <a:gd name="T23" fmla="*/ 2147483647 h 414"/>
                  <a:gd name="T24" fmla="*/ 2147483647 w 228"/>
                  <a:gd name="T25" fmla="*/ 2147483647 h 414"/>
                  <a:gd name="T26" fmla="*/ 0 w 228"/>
                  <a:gd name="T27" fmla="*/ 2147483647 h 414"/>
                  <a:gd name="T28" fmla="*/ 2147483647 w 228"/>
                  <a:gd name="T29" fmla="*/ 2147483647 h 414"/>
                  <a:gd name="T30" fmla="*/ 2147483647 w 228"/>
                  <a:gd name="T31" fmla="*/ 2147483647 h 414"/>
                  <a:gd name="T32" fmla="*/ 2147483647 w 228"/>
                  <a:gd name="T33" fmla="*/ 2147483647 h 414"/>
                  <a:gd name="T34" fmla="*/ 2147483647 w 228"/>
                  <a:gd name="T35" fmla="*/ 2147483647 h 414"/>
                  <a:gd name="T36" fmla="*/ 2147483647 w 228"/>
                  <a:gd name="T37" fmla="*/ 2147483647 h 414"/>
                  <a:gd name="T38" fmla="*/ 2147483647 w 228"/>
                  <a:gd name="T39" fmla="*/ 2147483647 h 414"/>
                  <a:gd name="T40" fmla="*/ 2147483647 w 228"/>
                  <a:gd name="T41" fmla="*/ 2147483647 h 414"/>
                  <a:gd name="T42" fmla="*/ 2147483647 w 228"/>
                  <a:gd name="T43" fmla="*/ 2147483647 h 414"/>
                  <a:gd name="T44" fmla="*/ 2147483647 w 228"/>
                  <a:gd name="T45" fmla="*/ 2147483647 h 414"/>
                  <a:gd name="T46" fmla="*/ 2147483647 w 228"/>
                  <a:gd name="T47" fmla="*/ 2147483647 h 414"/>
                  <a:gd name="T48" fmla="*/ 2147483647 w 228"/>
                  <a:gd name="T49" fmla="*/ 2147483647 h 414"/>
                  <a:gd name="T50" fmla="*/ 2147483647 w 228"/>
                  <a:gd name="T51" fmla="*/ 2147483647 h 414"/>
                  <a:gd name="T52" fmla="*/ 2147483647 w 228"/>
                  <a:gd name="T53" fmla="*/ 2147483647 h 414"/>
                  <a:gd name="T54" fmla="*/ 2147483647 w 228"/>
                  <a:gd name="T55" fmla="*/ 2147483647 h 414"/>
                  <a:gd name="T56" fmla="*/ 2147483647 w 228"/>
                  <a:gd name="T57" fmla="*/ 2147483647 h 414"/>
                  <a:gd name="T58" fmla="*/ 2147483647 w 228"/>
                  <a:gd name="T59" fmla="*/ 2147483647 h 414"/>
                  <a:gd name="T60" fmla="*/ 2147483647 w 228"/>
                  <a:gd name="T61" fmla="*/ 2147483647 h 414"/>
                  <a:gd name="T62" fmla="*/ 2147483647 w 228"/>
                  <a:gd name="T63" fmla="*/ 2147483647 h 414"/>
                  <a:gd name="T64" fmla="*/ 2147483647 w 228"/>
                  <a:gd name="T65" fmla="*/ 2147483647 h 414"/>
                  <a:gd name="T66" fmla="*/ 2147483647 w 228"/>
                  <a:gd name="T67" fmla="*/ 2147483647 h 414"/>
                  <a:gd name="T68" fmla="*/ 2147483647 w 228"/>
                  <a:gd name="T69" fmla="*/ 2147483647 h 414"/>
                  <a:gd name="T70" fmla="*/ 2147483647 w 228"/>
                  <a:gd name="T71" fmla="*/ 2147483647 h 414"/>
                  <a:gd name="T72" fmla="*/ 2147483647 w 228"/>
                  <a:gd name="T73" fmla="*/ 2147483647 h 414"/>
                  <a:gd name="T74" fmla="*/ 2147483647 w 228"/>
                  <a:gd name="T75" fmla="*/ 2147483647 h 414"/>
                  <a:gd name="T76" fmla="*/ 2147483647 w 228"/>
                  <a:gd name="T77" fmla="*/ 2147483647 h 414"/>
                  <a:gd name="T78" fmla="*/ 2147483647 w 228"/>
                  <a:gd name="T79" fmla="*/ 2147483647 h 414"/>
                  <a:gd name="T80" fmla="*/ 2147483647 w 228"/>
                  <a:gd name="T81" fmla="*/ 2147483647 h 414"/>
                  <a:gd name="T82" fmla="*/ 2147483647 w 228"/>
                  <a:gd name="T83" fmla="*/ 2147483647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28"/>
                  <a:gd name="T127" fmla="*/ 0 h 414"/>
                  <a:gd name="T128" fmla="*/ 228 w 228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28" h="414">
                    <a:moveTo>
                      <a:pt x="210" y="30"/>
                    </a:moveTo>
                    <a:lnTo>
                      <a:pt x="21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24"/>
                    </a:lnTo>
                    <a:lnTo>
                      <a:pt x="138" y="24"/>
                    </a:lnTo>
                    <a:lnTo>
                      <a:pt x="132" y="18"/>
                    </a:lnTo>
                    <a:lnTo>
                      <a:pt x="114" y="18"/>
                    </a:lnTo>
                    <a:lnTo>
                      <a:pt x="108" y="24"/>
                    </a:lnTo>
                    <a:lnTo>
                      <a:pt x="96" y="24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14" y="6"/>
                    </a:lnTo>
                    <a:lnTo>
                      <a:pt x="114" y="0"/>
                    </a:lnTo>
                    <a:lnTo>
                      <a:pt x="90" y="0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66" y="60"/>
                    </a:lnTo>
                    <a:lnTo>
                      <a:pt x="66" y="78"/>
                    </a:lnTo>
                    <a:lnTo>
                      <a:pt x="60" y="108"/>
                    </a:lnTo>
                    <a:lnTo>
                      <a:pt x="48" y="138"/>
                    </a:lnTo>
                    <a:lnTo>
                      <a:pt x="30" y="174"/>
                    </a:lnTo>
                    <a:lnTo>
                      <a:pt x="12" y="222"/>
                    </a:lnTo>
                    <a:lnTo>
                      <a:pt x="6" y="234"/>
                    </a:lnTo>
                    <a:lnTo>
                      <a:pt x="6" y="240"/>
                    </a:lnTo>
                    <a:lnTo>
                      <a:pt x="0" y="252"/>
                    </a:lnTo>
                    <a:lnTo>
                      <a:pt x="0" y="264"/>
                    </a:lnTo>
                    <a:lnTo>
                      <a:pt x="18" y="282"/>
                    </a:lnTo>
                    <a:lnTo>
                      <a:pt x="30" y="288"/>
                    </a:lnTo>
                    <a:lnTo>
                      <a:pt x="42" y="342"/>
                    </a:lnTo>
                    <a:lnTo>
                      <a:pt x="42" y="348"/>
                    </a:lnTo>
                    <a:lnTo>
                      <a:pt x="36" y="354"/>
                    </a:lnTo>
                    <a:lnTo>
                      <a:pt x="36" y="366"/>
                    </a:lnTo>
                    <a:lnTo>
                      <a:pt x="30" y="384"/>
                    </a:lnTo>
                    <a:lnTo>
                      <a:pt x="24" y="396"/>
                    </a:lnTo>
                    <a:lnTo>
                      <a:pt x="24" y="408"/>
                    </a:lnTo>
                    <a:lnTo>
                      <a:pt x="48" y="408"/>
                    </a:lnTo>
                    <a:lnTo>
                      <a:pt x="60" y="402"/>
                    </a:lnTo>
                    <a:lnTo>
                      <a:pt x="72" y="402"/>
                    </a:lnTo>
                    <a:lnTo>
                      <a:pt x="84" y="414"/>
                    </a:lnTo>
                    <a:lnTo>
                      <a:pt x="96" y="414"/>
                    </a:lnTo>
                    <a:lnTo>
                      <a:pt x="108" y="408"/>
                    </a:lnTo>
                    <a:lnTo>
                      <a:pt x="114" y="402"/>
                    </a:lnTo>
                    <a:lnTo>
                      <a:pt x="120" y="402"/>
                    </a:lnTo>
                    <a:lnTo>
                      <a:pt x="126" y="396"/>
                    </a:lnTo>
                    <a:lnTo>
                      <a:pt x="126" y="348"/>
                    </a:lnTo>
                    <a:lnTo>
                      <a:pt x="132" y="342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62" y="318"/>
                    </a:lnTo>
                    <a:lnTo>
                      <a:pt x="162" y="312"/>
                    </a:lnTo>
                    <a:lnTo>
                      <a:pt x="150" y="312"/>
                    </a:lnTo>
                    <a:lnTo>
                      <a:pt x="144" y="306"/>
                    </a:lnTo>
                    <a:lnTo>
                      <a:pt x="138" y="294"/>
                    </a:lnTo>
                    <a:lnTo>
                      <a:pt x="138" y="288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44" y="264"/>
                    </a:lnTo>
                    <a:lnTo>
                      <a:pt x="156" y="258"/>
                    </a:lnTo>
                    <a:lnTo>
                      <a:pt x="168" y="246"/>
                    </a:lnTo>
                    <a:lnTo>
                      <a:pt x="168" y="240"/>
                    </a:lnTo>
                    <a:lnTo>
                      <a:pt x="156" y="234"/>
                    </a:lnTo>
                    <a:lnTo>
                      <a:pt x="150" y="228"/>
                    </a:lnTo>
                    <a:lnTo>
                      <a:pt x="150" y="216"/>
                    </a:lnTo>
                    <a:lnTo>
                      <a:pt x="126" y="192"/>
                    </a:lnTo>
                    <a:lnTo>
                      <a:pt x="162" y="192"/>
                    </a:lnTo>
                    <a:lnTo>
                      <a:pt x="174" y="180"/>
                    </a:lnTo>
                    <a:lnTo>
                      <a:pt x="174" y="168"/>
                    </a:lnTo>
                    <a:lnTo>
                      <a:pt x="168" y="162"/>
                    </a:lnTo>
                    <a:lnTo>
                      <a:pt x="168" y="150"/>
                    </a:lnTo>
                    <a:lnTo>
                      <a:pt x="174" y="144"/>
                    </a:lnTo>
                    <a:lnTo>
                      <a:pt x="180" y="144"/>
                    </a:lnTo>
                    <a:lnTo>
                      <a:pt x="180" y="126"/>
                    </a:lnTo>
                    <a:lnTo>
                      <a:pt x="186" y="108"/>
                    </a:lnTo>
                    <a:lnTo>
                      <a:pt x="186" y="96"/>
                    </a:lnTo>
                    <a:lnTo>
                      <a:pt x="180" y="90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78"/>
                    </a:lnTo>
                    <a:lnTo>
                      <a:pt x="204" y="66"/>
                    </a:lnTo>
                    <a:lnTo>
                      <a:pt x="228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10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702" name="Norw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6B013E3-6276-9EF7-D878-1AC98612437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3797" y="1159853"/>
                <a:ext cx="611928" cy="672324"/>
              </a:xfrm>
              <a:custGeom>
                <a:avLst/>
                <a:gdLst>
                  <a:gd name="T0" fmla="*/ 2147483647 w 1362"/>
                  <a:gd name="T1" fmla="*/ 2147483647 h 1500"/>
                  <a:gd name="T2" fmla="*/ 2147483647 w 1362"/>
                  <a:gd name="T3" fmla="*/ 2147483647 h 1500"/>
                  <a:gd name="T4" fmla="*/ 2147483647 w 1362"/>
                  <a:gd name="T5" fmla="*/ 2147483647 h 1500"/>
                  <a:gd name="T6" fmla="*/ 2147483647 w 1362"/>
                  <a:gd name="T7" fmla="*/ 2147483647 h 1500"/>
                  <a:gd name="T8" fmla="*/ 2147483647 w 1362"/>
                  <a:gd name="T9" fmla="*/ 0 h 1500"/>
                  <a:gd name="T10" fmla="*/ 2147483647 w 1362"/>
                  <a:gd name="T11" fmla="*/ 2147483647 h 1500"/>
                  <a:gd name="T12" fmla="*/ 2147483647 w 1362"/>
                  <a:gd name="T13" fmla="*/ 2147483647 h 1500"/>
                  <a:gd name="T14" fmla="*/ 2147483647 w 1362"/>
                  <a:gd name="T15" fmla="*/ 2147483647 h 1500"/>
                  <a:gd name="T16" fmla="*/ 2147483647 w 1362"/>
                  <a:gd name="T17" fmla="*/ 2147483647 h 1500"/>
                  <a:gd name="T18" fmla="*/ 2147483647 w 1362"/>
                  <a:gd name="T19" fmla="*/ 2147483647 h 1500"/>
                  <a:gd name="T20" fmla="*/ 2147483647 w 1362"/>
                  <a:gd name="T21" fmla="*/ 2147483647 h 1500"/>
                  <a:gd name="T22" fmla="*/ 2147483647 w 1362"/>
                  <a:gd name="T23" fmla="*/ 2147483647 h 1500"/>
                  <a:gd name="T24" fmla="*/ 2147483647 w 1362"/>
                  <a:gd name="T25" fmla="*/ 2147483647 h 1500"/>
                  <a:gd name="T26" fmla="*/ 2147483647 w 1362"/>
                  <a:gd name="T27" fmla="*/ 2147483647 h 1500"/>
                  <a:gd name="T28" fmla="*/ 2147483647 w 1362"/>
                  <a:gd name="T29" fmla="*/ 2147483647 h 1500"/>
                  <a:gd name="T30" fmla="*/ 2147483647 w 1362"/>
                  <a:gd name="T31" fmla="*/ 2147483647 h 1500"/>
                  <a:gd name="T32" fmla="*/ 2147483647 w 1362"/>
                  <a:gd name="T33" fmla="*/ 2147483647 h 1500"/>
                  <a:gd name="T34" fmla="*/ 2147483647 w 1362"/>
                  <a:gd name="T35" fmla="*/ 2147483647 h 1500"/>
                  <a:gd name="T36" fmla="*/ 2147483647 w 1362"/>
                  <a:gd name="T37" fmla="*/ 2147483647 h 1500"/>
                  <a:gd name="T38" fmla="*/ 2147483647 w 1362"/>
                  <a:gd name="T39" fmla="*/ 2147483647 h 1500"/>
                  <a:gd name="T40" fmla="*/ 2147483647 w 1362"/>
                  <a:gd name="T41" fmla="*/ 2147483647 h 1500"/>
                  <a:gd name="T42" fmla="*/ 2147483647 w 1362"/>
                  <a:gd name="T43" fmla="*/ 2147483647 h 1500"/>
                  <a:gd name="T44" fmla="*/ 2147483647 w 1362"/>
                  <a:gd name="T45" fmla="*/ 2147483647 h 1500"/>
                  <a:gd name="T46" fmla="*/ 2147483647 w 1362"/>
                  <a:gd name="T47" fmla="*/ 2147483647 h 1500"/>
                  <a:gd name="T48" fmla="*/ 2147483647 w 1362"/>
                  <a:gd name="T49" fmla="*/ 2147483647 h 1500"/>
                  <a:gd name="T50" fmla="*/ 2147483647 w 1362"/>
                  <a:gd name="T51" fmla="*/ 2147483647 h 1500"/>
                  <a:gd name="T52" fmla="*/ 2147483647 w 1362"/>
                  <a:gd name="T53" fmla="*/ 2147483647 h 1500"/>
                  <a:gd name="T54" fmla="*/ 2147483647 w 1362"/>
                  <a:gd name="T55" fmla="*/ 2147483647 h 1500"/>
                  <a:gd name="T56" fmla="*/ 2147483647 w 1362"/>
                  <a:gd name="T57" fmla="*/ 2147483647 h 1500"/>
                  <a:gd name="T58" fmla="*/ 2147483647 w 1362"/>
                  <a:gd name="T59" fmla="*/ 2147483647 h 1500"/>
                  <a:gd name="T60" fmla="*/ 2147483647 w 1362"/>
                  <a:gd name="T61" fmla="*/ 2147483647 h 1500"/>
                  <a:gd name="T62" fmla="*/ 2147483647 w 1362"/>
                  <a:gd name="T63" fmla="*/ 2147483647 h 1500"/>
                  <a:gd name="T64" fmla="*/ 2147483647 w 1362"/>
                  <a:gd name="T65" fmla="*/ 2147483647 h 1500"/>
                  <a:gd name="T66" fmla="*/ 2147483647 w 1362"/>
                  <a:gd name="T67" fmla="*/ 2147483647 h 1500"/>
                  <a:gd name="T68" fmla="*/ 2147483647 w 1362"/>
                  <a:gd name="T69" fmla="*/ 2147483647 h 1500"/>
                  <a:gd name="T70" fmla="*/ 2147483647 w 1362"/>
                  <a:gd name="T71" fmla="*/ 2147483647 h 1500"/>
                  <a:gd name="T72" fmla="*/ 2147483647 w 1362"/>
                  <a:gd name="T73" fmla="*/ 2147483647 h 1500"/>
                  <a:gd name="T74" fmla="*/ 2147483647 w 1362"/>
                  <a:gd name="T75" fmla="*/ 2147483647 h 1500"/>
                  <a:gd name="T76" fmla="*/ 2147483647 w 1362"/>
                  <a:gd name="T77" fmla="*/ 2147483647 h 1500"/>
                  <a:gd name="T78" fmla="*/ 2147483647 w 1362"/>
                  <a:gd name="T79" fmla="*/ 2147483647 h 1500"/>
                  <a:gd name="T80" fmla="*/ 2147483647 w 1362"/>
                  <a:gd name="T81" fmla="*/ 2147483647 h 1500"/>
                  <a:gd name="T82" fmla="*/ 2147483647 w 1362"/>
                  <a:gd name="T83" fmla="*/ 2147483647 h 1500"/>
                  <a:gd name="T84" fmla="*/ 2147483647 w 1362"/>
                  <a:gd name="T85" fmla="*/ 2147483647 h 1500"/>
                  <a:gd name="T86" fmla="*/ 2147483647 w 1362"/>
                  <a:gd name="T87" fmla="*/ 2147483647 h 1500"/>
                  <a:gd name="T88" fmla="*/ 2147483647 w 1362"/>
                  <a:gd name="T89" fmla="*/ 2147483647 h 1500"/>
                  <a:gd name="T90" fmla="*/ 2147483647 w 1362"/>
                  <a:gd name="T91" fmla="*/ 2147483647 h 1500"/>
                  <a:gd name="T92" fmla="*/ 2147483647 w 1362"/>
                  <a:gd name="T93" fmla="*/ 2147483647 h 1500"/>
                  <a:gd name="T94" fmla="*/ 2147483647 w 1362"/>
                  <a:gd name="T95" fmla="*/ 2147483647 h 1500"/>
                  <a:gd name="T96" fmla="*/ 2147483647 w 1362"/>
                  <a:gd name="T97" fmla="*/ 2147483647 h 1500"/>
                  <a:gd name="T98" fmla="*/ 2147483647 w 1362"/>
                  <a:gd name="T99" fmla="*/ 2147483647 h 1500"/>
                  <a:gd name="T100" fmla="*/ 2147483647 w 1362"/>
                  <a:gd name="T101" fmla="*/ 2147483647 h 1500"/>
                  <a:gd name="T102" fmla="*/ 2147483647 w 1362"/>
                  <a:gd name="T103" fmla="*/ 2147483647 h 1500"/>
                  <a:gd name="T104" fmla="*/ 2147483647 w 1362"/>
                  <a:gd name="T105" fmla="*/ 2147483647 h 1500"/>
                  <a:gd name="T106" fmla="*/ 2147483647 w 1362"/>
                  <a:gd name="T107" fmla="*/ 2147483647 h 1500"/>
                  <a:gd name="T108" fmla="*/ 2147483647 w 1362"/>
                  <a:gd name="T109" fmla="*/ 2147483647 h 1500"/>
                  <a:gd name="T110" fmla="*/ 2147483647 w 1362"/>
                  <a:gd name="T111" fmla="*/ 2147483647 h 1500"/>
                  <a:gd name="T112" fmla="*/ 2147483647 w 1362"/>
                  <a:gd name="T113" fmla="*/ 2147483647 h 1500"/>
                  <a:gd name="T114" fmla="*/ 2147483647 w 1362"/>
                  <a:gd name="T115" fmla="*/ 2147483647 h 15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62"/>
                  <a:gd name="T175" fmla="*/ 0 h 1500"/>
                  <a:gd name="T176" fmla="*/ 1362 w 1362"/>
                  <a:gd name="T177" fmla="*/ 1500 h 15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62" h="1500">
                    <a:moveTo>
                      <a:pt x="324" y="120"/>
                    </a:moveTo>
                    <a:lnTo>
                      <a:pt x="336" y="126"/>
                    </a:lnTo>
                    <a:lnTo>
                      <a:pt x="354" y="132"/>
                    </a:lnTo>
                    <a:lnTo>
                      <a:pt x="378" y="132"/>
                    </a:lnTo>
                    <a:lnTo>
                      <a:pt x="294" y="90"/>
                    </a:lnTo>
                    <a:lnTo>
                      <a:pt x="294" y="102"/>
                    </a:lnTo>
                    <a:lnTo>
                      <a:pt x="306" y="108"/>
                    </a:lnTo>
                    <a:lnTo>
                      <a:pt x="312" y="114"/>
                    </a:lnTo>
                    <a:lnTo>
                      <a:pt x="324" y="120"/>
                    </a:lnTo>
                    <a:close/>
                    <a:moveTo>
                      <a:pt x="684" y="48"/>
                    </a:moveTo>
                    <a:lnTo>
                      <a:pt x="732" y="48"/>
                    </a:lnTo>
                    <a:lnTo>
                      <a:pt x="738" y="54"/>
                    </a:lnTo>
                    <a:lnTo>
                      <a:pt x="750" y="54"/>
                    </a:lnTo>
                    <a:lnTo>
                      <a:pt x="774" y="66"/>
                    </a:lnTo>
                    <a:lnTo>
                      <a:pt x="786" y="66"/>
                    </a:lnTo>
                    <a:lnTo>
                      <a:pt x="798" y="60"/>
                    </a:lnTo>
                    <a:lnTo>
                      <a:pt x="804" y="60"/>
                    </a:lnTo>
                    <a:lnTo>
                      <a:pt x="816" y="54"/>
                    </a:lnTo>
                    <a:lnTo>
                      <a:pt x="828" y="54"/>
                    </a:lnTo>
                    <a:lnTo>
                      <a:pt x="840" y="60"/>
                    </a:lnTo>
                    <a:lnTo>
                      <a:pt x="876" y="72"/>
                    </a:lnTo>
                    <a:lnTo>
                      <a:pt x="888" y="78"/>
                    </a:lnTo>
                    <a:lnTo>
                      <a:pt x="894" y="84"/>
                    </a:lnTo>
                    <a:lnTo>
                      <a:pt x="900" y="84"/>
                    </a:lnTo>
                    <a:lnTo>
                      <a:pt x="924" y="60"/>
                    </a:lnTo>
                    <a:lnTo>
                      <a:pt x="984" y="66"/>
                    </a:lnTo>
                    <a:lnTo>
                      <a:pt x="984" y="42"/>
                    </a:lnTo>
                    <a:lnTo>
                      <a:pt x="1014" y="42"/>
                    </a:lnTo>
                    <a:lnTo>
                      <a:pt x="1026" y="36"/>
                    </a:lnTo>
                    <a:lnTo>
                      <a:pt x="1032" y="24"/>
                    </a:lnTo>
                    <a:lnTo>
                      <a:pt x="1038" y="18"/>
                    </a:lnTo>
                    <a:lnTo>
                      <a:pt x="1032" y="12"/>
                    </a:lnTo>
                    <a:lnTo>
                      <a:pt x="1002" y="12"/>
                    </a:lnTo>
                    <a:lnTo>
                      <a:pt x="990" y="18"/>
                    </a:lnTo>
                    <a:lnTo>
                      <a:pt x="984" y="18"/>
                    </a:lnTo>
                    <a:lnTo>
                      <a:pt x="972" y="6"/>
                    </a:lnTo>
                    <a:lnTo>
                      <a:pt x="960" y="0"/>
                    </a:lnTo>
                    <a:lnTo>
                      <a:pt x="918" y="0"/>
                    </a:lnTo>
                    <a:lnTo>
                      <a:pt x="900" y="6"/>
                    </a:lnTo>
                    <a:lnTo>
                      <a:pt x="882" y="18"/>
                    </a:lnTo>
                    <a:lnTo>
                      <a:pt x="870" y="18"/>
                    </a:lnTo>
                    <a:lnTo>
                      <a:pt x="864" y="12"/>
                    </a:lnTo>
                    <a:lnTo>
                      <a:pt x="864" y="6"/>
                    </a:lnTo>
                    <a:lnTo>
                      <a:pt x="858" y="6"/>
                    </a:lnTo>
                    <a:lnTo>
                      <a:pt x="852" y="0"/>
                    </a:lnTo>
                    <a:lnTo>
                      <a:pt x="822" y="0"/>
                    </a:lnTo>
                    <a:lnTo>
                      <a:pt x="804" y="18"/>
                    </a:lnTo>
                    <a:lnTo>
                      <a:pt x="738" y="0"/>
                    </a:lnTo>
                    <a:lnTo>
                      <a:pt x="726" y="0"/>
                    </a:lnTo>
                    <a:lnTo>
                      <a:pt x="708" y="6"/>
                    </a:lnTo>
                    <a:lnTo>
                      <a:pt x="690" y="6"/>
                    </a:lnTo>
                    <a:lnTo>
                      <a:pt x="672" y="12"/>
                    </a:lnTo>
                    <a:lnTo>
                      <a:pt x="660" y="12"/>
                    </a:lnTo>
                    <a:lnTo>
                      <a:pt x="660" y="6"/>
                    </a:lnTo>
                    <a:lnTo>
                      <a:pt x="666" y="0"/>
                    </a:lnTo>
                    <a:lnTo>
                      <a:pt x="630" y="12"/>
                    </a:lnTo>
                    <a:lnTo>
                      <a:pt x="648" y="36"/>
                    </a:lnTo>
                    <a:lnTo>
                      <a:pt x="684" y="48"/>
                    </a:lnTo>
                    <a:close/>
                    <a:moveTo>
                      <a:pt x="324" y="66"/>
                    </a:moveTo>
                    <a:lnTo>
                      <a:pt x="342" y="66"/>
                    </a:lnTo>
                    <a:lnTo>
                      <a:pt x="348" y="72"/>
                    </a:lnTo>
                    <a:lnTo>
                      <a:pt x="360" y="72"/>
                    </a:lnTo>
                    <a:lnTo>
                      <a:pt x="360" y="78"/>
                    </a:lnTo>
                    <a:lnTo>
                      <a:pt x="342" y="96"/>
                    </a:lnTo>
                    <a:lnTo>
                      <a:pt x="336" y="96"/>
                    </a:lnTo>
                    <a:lnTo>
                      <a:pt x="378" y="114"/>
                    </a:lnTo>
                    <a:lnTo>
                      <a:pt x="390" y="120"/>
                    </a:lnTo>
                    <a:lnTo>
                      <a:pt x="396" y="126"/>
                    </a:lnTo>
                    <a:lnTo>
                      <a:pt x="414" y="126"/>
                    </a:lnTo>
                    <a:lnTo>
                      <a:pt x="426" y="132"/>
                    </a:lnTo>
                    <a:lnTo>
                      <a:pt x="438" y="132"/>
                    </a:lnTo>
                    <a:lnTo>
                      <a:pt x="462" y="108"/>
                    </a:lnTo>
                    <a:lnTo>
                      <a:pt x="504" y="96"/>
                    </a:lnTo>
                    <a:lnTo>
                      <a:pt x="534" y="120"/>
                    </a:lnTo>
                    <a:lnTo>
                      <a:pt x="528" y="120"/>
                    </a:lnTo>
                    <a:lnTo>
                      <a:pt x="516" y="126"/>
                    </a:lnTo>
                    <a:lnTo>
                      <a:pt x="504" y="126"/>
                    </a:lnTo>
                    <a:lnTo>
                      <a:pt x="480" y="132"/>
                    </a:lnTo>
                    <a:lnTo>
                      <a:pt x="468" y="138"/>
                    </a:lnTo>
                    <a:lnTo>
                      <a:pt x="456" y="150"/>
                    </a:lnTo>
                    <a:lnTo>
                      <a:pt x="486" y="150"/>
                    </a:lnTo>
                    <a:lnTo>
                      <a:pt x="498" y="156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86" y="168"/>
                    </a:lnTo>
                    <a:lnTo>
                      <a:pt x="474" y="174"/>
                    </a:lnTo>
                    <a:lnTo>
                      <a:pt x="468" y="180"/>
                    </a:lnTo>
                    <a:lnTo>
                      <a:pt x="462" y="180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8" y="204"/>
                    </a:lnTo>
                    <a:lnTo>
                      <a:pt x="540" y="210"/>
                    </a:lnTo>
                    <a:lnTo>
                      <a:pt x="558" y="210"/>
                    </a:lnTo>
                    <a:lnTo>
                      <a:pt x="576" y="216"/>
                    </a:lnTo>
                    <a:lnTo>
                      <a:pt x="594" y="210"/>
                    </a:lnTo>
                    <a:lnTo>
                      <a:pt x="606" y="204"/>
                    </a:lnTo>
                    <a:lnTo>
                      <a:pt x="612" y="204"/>
                    </a:lnTo>
                    <a:lnTo>
                      <a:pt x="618" y="198"/>
                    </a:lnTo>
                    <a:lnTo>
                      <a:pt x="612" y="192"/>
                    </a:lnTo>
                    <a:lnTo>
                      <a:pt x="612" y="186"/>
                    </a:lnTo>
                    <a:lnTo>
                      <a:pt x="606" y="180"/>
                    </a:lnTo>
                    <a:lnTo>
                      <a:pt x="606" y="174"/>
                    </a:lnTo>
                    <a:lnTo>
                      <a:pt x="612" y="168"/>
                    </a:lnTo>
                    <a:lnTo>
                      <a:pt x="618" y="168"/>
                    </a:lnTo>
                    <a:lnTo>
                      <a:pt x="630" y="162"/>
                    </a:lnTo>
                    <a:lnTo>
                      <a:pt x="648" y="162"/>
                    </a:lnTo>
                    <a:lnTo>
                      <a:pt x="648" y="144"/>
                    </a:lnTo>
                    <a:lnTo>
                      <a:pt x="678" y="132"/>
                    </a:lnTo>
                    <a:lnTo>
                      <a:pt x="690" y="102"/>
                    </a:lnTo>
                    <a:lnTo>
                      <a:pt x="714" y="114"/>
                    </a:lnTo>
                    <a:lnTo>
                      <a:pt x="738" y="102"/>
                    </a:lnTo>
                    <a:lnTo>
                      <a:pt x="750" y="114"/>
                    </a:lnTo>
                    <a:lnTo>
                      <a:pt x="762" y="120"/>
                    </a:lnTo>
                    <a:lnTo>
                      <a:pt x="780" y="126"/>
                    </a:lnTo>
                    <a:lnTo>
                      <a:pt x="792" y="138"/>
                    </a:lnTo>
                    <a:lnTo>
                      <a:pt x="792" y="144"/>
                    </a:lnTo>
                    <a:lnTo>
                      <a:pt x="786" y="150"/>
                    </a:lnTo>
                    <a:lnTo>
                      <a:pt x="786" y="162"/>
                    </a:lnTo>
                    <a:lnTo>
                      <a:pt x="774" y="174"/>
                    </a:lnTo>
                    <a:lnTo>
                      <a:pt x="828" y="174"/>
                    </a:lnTo>
                    <a:lnTo>
                      <a:pt x="834" y="180"/>
                    </a:lnTo>
                    <a:lnTo>
                      <a:pt x="846" y="186"/>
                    </a:lnTo>
                    <a:lnTo>
                      <a:pt x="852" y="192"/>
                    </a:lnTo>
                    <a:lnTo>
                      <a:pt x="858" y="192"/>
                    </a:lnTo>
                    <a:lnTo>
                      <a:pt x="864" y="186"/>
                    </a:lnTo>
                    <a:lnTo>
                      <a:pt x="876" y="186"/>
                    </a:lnTo>
                    <a:lnTo>
                      <a:pt x="894" y="174"/>
                    </a:lnTo>
                    <a:lnTo>
                      <a:pt x="906" y="168"/>
                    </a:lnTo>
                    <a:lnTo>
                      <a:pt x="924" y="162"/>
                    </a:lnTo>
                    <a:lnTo>
                      <a:pt x="936" y="156"/>
                    </a:lnTo>
                    <a:lnTo>
                      <a:pt x="942" y="150"/>
                    </a:lnTo>
                    <a:lnTo>
                      <a:pt x="942" y="144"/>
                    </a:lnTo>
                    <a:lnTo>
                      <a:pt x="936" y="144"/>
                    </a:lnTo>
                    <a:lnTo>
                      <a:pt x="924" y="138"/>
                    </a:lnTo>
                    <a:lnTo>
                      <a:pt x="888" y="138"/>
                    </a:lnTo>
                    <a:lnTo>
                      <a:pt x="882" y="120"/>
                    </a:lnTo>
                    <a:lnTo>
                      <a:pt x="828" y="114"/>
                    </a:lnTo>
                    <a:lnTo>
                      <a:pt x="828" y="96"/>
                    </a:lnTo>
                    <a:lnTo>
                      <a:pt x="798" y="102"/>
                    </a:lnTo>
                    <a:lnTo>
                      <a:pt x="798" y="84"/>
                    </a:lnTo>
                    <a:lnTo>
                      <a:pt x="726" y="84"/>
                    </a:lnTo>
                    <a:lnTo>
                      <a:pt x="720" y="72"/>
                    </a:lnTo>
                    <a:lnTo>
                      <a:pt x="684" y="72"/>
                    </a:lnTo>
                    <a:lnTo>
                      <a:pt x="678" y="60"/>
                    </a:lnTo>
                    <a:lnTo>
                      <a:pt x="654" y="48"/>
                    </a:lnTo>
                    <a:lnTo>
                      <a:pt x="624" y="48"/>
                    </a:lnTo>
                    <a:lnTo>
                      <a:pt x="624" y="30"/>
                    </a:lnTo>
                    <a:lnTo>
                      <a:pt x="618" y="30"/>
                    </a:lnTo>
                    <a:lnTo>
                      <a:pt x="612" y="24"/>
                    </a:lnTo>
                    <a:lnTo>
                      <a:pt x="540" y="24"/>
                    </a:lnTo>
                    <a:lnTo>
                      <a:pt x="534" y="30"/>
                    </a:lnTo>
                    <a:lnTo>
                      <a:pt x="534" y="36"/>
                    </a:lnTo>
                    <a:lnTo>
                      <a:pt x="540" y="42"/>
                    </a:lnTo>
                    <a:lnTo>
                      <a:pt x="546" y="54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6" y="60"/>
                    </a:lnTo>
                    <a:lnTo>
                      <a:pt x="528" y="48"/>
                    </a:lnTo>
                    <a:lnTo>
                      <a:pt x="492" y="30"/>
                    </a:lnTo>
                    <a:lnTo>
                      <a:pt x="480" y="30"/>
                    </a:lnTo>
                    <a:lnTo>
                      <a:pt x="474" y="36"/>
                    </a:lnTo>
                    <a:lnTo>
                      <a:pt x="468" y="48"/>
                    </a:lnTo>
                    <a:lnTo>
                      <a:pt x="462" y="54"/>
                    </a:lnTo>
                    <a:lnTo>
                      <a:pt x="450" y="54"/>
                    </a:lnTo>
                    <a:lnTo>
                      <a:pt x="438" y="48"/>
                    </a:lnTo>
                    <a:lnTo>
                      <a:pt x="420" y="48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8" y="30"/>
                    </a:lnTo>
                    <a:lnTo>
                      <a:pt x="384" y="30"/>
                    </a:lnTo>
                    <a:lnTo>
                      <a:pt x="372" y="42"/>
                    </a:lnTo>
                    <a:lnTo>
                      <a:pt x="366" y="30"/>
                    </a:lnTo>
                    <a:lnTo>
                      <a:pt x="354" y="30"/>
                    </a:lnTo>
                    <a:lnTo>
                      <a:pt x="318" y="48"/>
                    </a:lnTo>
                    <a:lnTo>
                      <a:pt x="318" y="60"/>
                    </a:lnTo>
                    <a:lnTo>
                      <a:pt x="324" y="66"/>
                    </a:lnTo>
                    <a:close/>
                    <a:moveTo>
                      <a:pt x="642" y="708"/>
                    </a:moveTo>
                    <a:lnTo>
                      <a:pt x="666" y="696"/>
                    </a:lnTo>
                    <a:lnTo>
                      <a:pt x="666" y="690"/>
                    </a:lnTo>
                    <a:lnTo>
                      <a:pt x="678" y="690"/>
                    </a:lnTo>
                    <a:lnTo>
                      <a:pt x="678" y="678"/>
                    </a:lnTo>
                    <a:lnTo>
                      <a:pt x="672" y="672"/>
                    </a:lnTo>
                    <a:lnTo>
                      <a:pt x="630" y="690"/>
                    </a:lnTo>
                    <a:lnTo>
                      <a:pt x="642" y="708"/>
                    </a:lnTo>
                    <a:close/>
                    <a:moveTo>
                      <a:pt x="774" y="648"/>
                    </a:moveTo>
                    <a:lnTo>
                      <a:pt x="780" y="642"/>
                    </a:lnTo>
                    <a:lnTo>
                      <a:pt x="786" y="642"/>
                    </a:lnTo>
                    <a:lnTo>
                      <a:pt x="792" y="636"/>
                    </a:lnTo>
                    <a:lnTo>
                      <a:pt x="792" y="630"/>
                    </a:lnTo>
                    <a:lnTo>
                      <a:pt x="786" y="624"/>
                    </a:lnTo>
                    <a:lnTo>
                      <a:pt x="774" y="624"/>
                    </a:lnTo>
                    <a:lnTo>
                      <a:pt x="768" y="630"/>
                    </a:lnTo>
                    <a:lnTo>
                      <a:pt x="768" y="642"/>
                    </a:lnTo>
                    <a:lnTo>
                      <a:pt x="774" y="648"/>
                    </a:lnTo>
                    <a:close/>
                    <a:moveTo>
                      <a:pt x="594" y="696"/>
                    </a:moveTo>
                    <a:lnTo>
                      <a:pt x="576" y="696"/>
                    </a:lnTo>
                    <a:lnTo>
                      <a:pt x="552" y="708"/>
                    </a:lnTo>
                    <a:lnTo>
                      <a:pt x="546" y="714"/>
                    </a:lnTo>
                    <a:lnTo>
                      <a:pt x="570" y="720"/>
                    </a:lnTo>
                    <a:lnTo>
                      <a:pt x="576" y="714"/>
                    </a:lnTo>
                    <a:lnTo>
                      <a:pt x="588" y="714"/>
                    </a:lnTo>
                    <a:lnTo>
                      <a:pt x="600" y="702"/>
                    </a:lnTo>
                    <a:lnTo>
                      <a:pt x="594" y="696"/>
                    </a:lnTo>
                    <a:close/>
                    <a:moveTo>
                      <a:pt x="918" y="612"/>
                    </a:moveTo>
                    <a:lnTo>
                      <a:pt x="936" y="618"/>
                    </a:lnTo>
                    <a:lnTo>
                      <a:pt x="942" y="606"/>
                    </a:lnTo>
                    <a:lnTo>
                      <a:pt x="948" y="600"/>
                    </a:lnTo>
                    <a:lnTo>
                      <a:pt x="948" y="594"/>
                    </a:lnTo>
                    <a:lnTo>
                      <a:pt x="918" y="594"/>
                    </a:lnTo>
                    <a:lnTo>
                      <a:pt x="918" y="612"/>
                    </a:lnTo>
                    <a:close/>
                    <a:moveTo>
                      <a:pt x="486" y="756"/>
                    </a:moveTo>
                    <a:lnTo>
                      <a:pt x="474" y="756"/>
                    </a:lnTo>
                    <a:lnTo>
                      <a:pt x="438" y="774"/>
                    </a:lnTo>
                    <a:lnTo>
                      <a:pt x="432" y="780"/>
                    </a:lnTo>
                    <a:lnTo>
                      <a:pt x="432" y="786"/>
                    </a:lnTo>
                    <a:lnTo>
                      <a:pt x="444" y="786"/>
                    </a:lnTo>
                    <a:lnTo>
                      <a:pt x="456" y="780"/>
                    </a:lnTo>
                    <a:lnTo>
                      <a:pt x="462" y="774"/>
                    </a:lnTo>
                    <a:lnTo>
                      <a:pt x="474" y="768"/>
                    </a:lnTo>
                    <a:lnTo>
                      <a:pt x="510" y="768"/>
                    </a:lnTo>
                    <a:lnTo>
                      <a:pt x="510" y="762"/>
                    </a:lnTo>
                    <a:lnTo>
                      <a:pt x="504" y="762"/>
                    </a:lnTo>
                    <a:lnTo>
                      <a:pt x="504" y="756"/>
                    </a:lnTo>
                    <a:lnTo>
                      <a:pt x="486" y="756"/>
                    </a:lnTo>
                    <a:close/>
                    <a:moveTo>
                      <a:pt x="1356" y="660"/>
                    </a:moveTo>
                    <a:lnTo>
                      <a:pt x="1326" y="666"/>
                    </a:lnTo>
                    <a:lnTo>
                      <a:pt x="1290" y="654"/>
                    </a:lnTo>
                    <a:lnTo>
                      <a:pt x="1260" y="642"/>
                    </a:lnTo>
                    <a:lnTo>
                      <a:pt x="1302" y="642"/>
                    </a:lnTo>
                    <a:lnTo>
                      <a:pt x="1326" y="630"/>
                    </a:lnTo>
                    <a:lnTo>
                      <a:pt x="1344" y="630"/>
                    </a:lnTo>
                    <a:lnTo>
                      <a:pt x="1350" y="624"/>
                    </a:lnTo>
                    <a:lnTo>
                      <a:pt x="1356" y="624"/>
                    </a:lnTo>
                    <a:lnTo>
                      <a:pt x="1344" y="618"/>
                    </a:lnTo>
                    <a:lnTo>
                      <a:pt x="1338" y="612"/>
                    </a:lnTo>
                    <a:lnTo>
                      <a:pt x="1320" y="606"/>
                    </a:lnTo>
                    <a:lnTo>
                      <a:pt x="1308" y="600"/>
                    </a:lnTo>
                    <a:lnTo>
                      <a:pt x="1284" y="600"/>
                    </a:lnTo>
                    <a:lnTo>
                      <a:pt x="1260" y="588"/>
                    </a:lnTo>
                    <a:lnTo>
                      <a:pt x="1254" y="588"/>
                    </a:lnTo>
                    <a:lnTo>
                      <a:pt x="1242" y="582"/>
                    </a:lnTo>
                    <a:lnTo>
                      <a:pt x="1242" y="588"/>
                    </a:lnTo>
                    <a:lnTo>
                      <a:pt x="1236" y="594"/>
                    </a:lnTo>
                    <a:lnTo>
                      <a:pt x="1236" y="600"/>
                    </a:lnTo>
                    <a:lnTo>
                      <a:pt x="1218" y="618"/>
                    </a:lnTo>
                    <a:lnTo>
                      <a:pt x="1206" y="618"/>
                    </a:lnTo>
                    <a:lnTo>
                      <a:pt x="1200" y="612"/>
                    </a:lnTo>
                    <a:lnTo>
                      <a:pt x="1224" y="588"/>
                    </a:lnTo>
                    <a:lnTo>
                      <a:pt x="1158" y="564"/>
                    </a:lnTo>
                    <a:lnTo>
                      <a:pt x="1158" y="576"/>
                    </a:lnTo>
                    <a:lnTo>
                      <a:pt x="1152" y="594"/>
                    </a:lnTo>
                    <a:lnTo>
                      <a:pt x="1134" y="630"/>
                    </a:lnTo>
                    <a:lnTo>
                      <a:pt x="1128" y="630"/>
                    </a:lnTo>
                    <a:lnTo>
                      <a:pt x="1122" y="624"/>
                    </a:lnTo>
                    <a:lnTo>
                      <a:pt x="1116" y="612"/>
                    </a:lnTo>
                    <a:lnTo>
                      <a:pt x="1116" y="594"/>
                    </a:lnTo>
                    <a:lnTo>
                      <a:pt x="1122" y="582"/>
                    </a:lnTo>
                    <a:lnTo>
                      <a:pt x="1116" y="594"/>
                    </a:lnTo>
                    <a:lnTo>
                      <a:pt x="1104" y="600"/>
                    </a:lnTo>
                    <a:lnTo>
                      <a:pt x="1080" y="624"/>
                    </a:lnTo>
                    <a:lnTo>
                      <a:pt x="1056" y="636"/>
                    </a:lnTo>
                    <a:lnTo>
                      <a:pt x="1050" y="636"/>
                    </a:lnTo>
                    <a:lnTo>
                      <a:pt x="1050" y="630"/>
                    </a:lnTo>
                    <a:lnTo>
                      <a:pt x="1056" y="618"/>
                    </a:lnTo>
                    <a:lnTo>
                      <a:pt x="1086" y="588"/>
                    </a:lnTo>
                    <a:lnTo>
                      <a:pt x="1092" y="576"/>
                    </a:lnTo>
                    <a:lnTo>
                      <a:pt x="1104" y="570"/>
                    </a:lnTo>
                    <a:lnTo>
                      <a:pt x="1068" y="570"/>
                    </a:lnTo>
                    <a:lnTo>
                      <a:pt x="1050" y="582"/>
                    </a:lnTo>
                    <a:lnTo>
                      <a:pt x="1026" y="582"/>
                    </a:lnTo>
                    <a:lnTo>
                      <a:pt x="984" y="606"/>
                    </a:lnTo>
                    <a:lnTo>
                      <a:pt x="960" y="606"/>
                    </a:lnTo>
                    <a:lnTo>
                      <a:pt x="954" y="636"/>
                    </a:lnTo>
                    <a:lnTo>
                      <a:pt x="918" y="624"/>
                    </a:lnTo>
                    <a:lnTo>
                      <a:pt x="882" y="630"/>
                    </a:lnTo>
                    <a:lnTo>
                      <a:pt x="894" y="660"/>
                    </a:lnTo>
                    <a:lnTo>
                      <a:pt x="846" y="648"/>
                    </a:lnTo>
                    <a:lnTo>
                      <a:pt x="828" y="654"/>
                    </a:lnTo>
                    <a:lnTo>
                      <a:pt x="834" y="678"/>
                    </a:lnTo>
                    <a:lnTo>
                      <a:pt x="792" y="690"/>
                    </a:lnTo>
                    <a:lnTo>
                      <a:pt x="792" y="654"/>
                    </a:lnTo>
                    <a:lnTo>
                      <a:pt x="762" y="654"/>
                    </a:lnTo>
                    <a:lnTo>
                      <a:pt x="774" y="678"/>
                    </a:lnTo>
                    <a:lnTo>
                      <a:pt x="750" y="660"/>
                    </a:lnTo>
                    <a:lnTo>
                      <a:pt x="750" y="690"/>
                    </a:lnTo>
                    <a:lnTo>
                      <a:pt x="726" y="690"/>
                    </a:lnTo>
                    <a:lnTo>
                      <a:pt x="726" y="660"/>
                    </a:lnTo>
                    <a:lnTo>
                      <a:pt x="738" y="654"/>
                    </a:lnTo>
                    <a:lnTo>
                      <a:pt x="744" y="648"/>
                    </a:lnTo>
                    <a:lnTo>
                      <a:pt x="708" y="642"/>
                    </a:lnTo>
                    <a:lnTo>
                      <a:pt x="708" y="684"/>
                    </a:lnTo>
                    <a:lnTo>
                      <a:pt x="678" y="696"/>
                    </a:lnTo>
                    <a:lnTo>
                      <a:pt x="696" y="708"/>
                    </a:lnTo>
                    <a:lnTo>
                      <a:pt x="660" y="714"/>
                    </a:lnTo>
                    <a:lnTo>
                      <a:pt x="672" y="726"/>
                    </a:lnTo>
                    <a:lnTo>
                      <a:pt x="630" y="726"/>
                    </a:lnTo>
                    <a:lnTo>
                      <a:pt x="630" y="738"/>
                    </a:lnTo>
                    <a:lnTo>
                      <a:pt x="660" y="750"/>
                    </a:lnTo>
                    <a:lnTo>
                      <a:pt x="654" y="762"/>
                    </a:lnTo>
                    <a:lnTo>
                      <a:pt x="618" y="744"/>
                    </a:lnTo>
                    <a:lnTo>
                      <a:pt x="600" y="750"/>
                    </a:lnTo>
                    <a:lnTo>
                      <a:pt x="624" y="762"/>
                    </a:lnTo>
                    <a:lnTo>
                      <a:pt x="606" y="780"/>
                    </a:lnTo>
                    <a:lnTo>
                      <a:pt x="594" y="762"/>
                    </a:lnTo>
                    <a:lnTo>
                      <a:pt x="576" y="768"/>
                    </a:lnTo>
                    <a:lnTo>
                      <a:pt x="576" y="780"/>
                    </a:lnTo>
                    <a:lnTo>
                      <a:pt x="546" y="780"/>
                    </a:lnTo>
                    <a:lnTo>
                      <a:pt x="540" y="792"/>
                    </a:lnTo>
                    <a:lnTo>
                      <a:pt x="564" y="804"/>
                    </a:lnTo>
                    <a:lnTo>
                      <a:pt x="564" y="822"/>
                    </a:lnTo>
                    <a:lnTo>
                      <a:pt x="528" y="810"/>
                    </a:lnTo>
                    <a:lnTo>
                      <a:pt x="522" y="822"/>
                    </a:lnTo>
                    <a:lnTo>
                      <a:pt x="552" y="834"/>
                    </a:lnTo>
                    <a:lnTo>
                      <a:pt x="504" y="834"/>
                    </a:lnTo>
                    <a:lnTo>
                      <a:pt x="504" y="852"/>
                    </a:lnTo>
                    <a:lnTo>
                      <a:pt x="492" y="846"/>
                    </a:lnTo>
                    <a:lnTo>
                      <a:pt x="486" y="846"/>
                    </a:lnTo>
                    <a:lnTo>
                      <a:pt x="474" y="852"/>
                    </a:lnTo>
                    <a:lnTo>
                      <a:pt x="468" y="858"/>
                    </a:lnTo>
                    <a:lnTo>
                      <a:pt x="456" y="858"/>
                    </a:lnTo>
                    <a:lnTo>
                      <a:pt x="456" y="870"/>
                    </a:lnTo>
                    <a:lnTo>
                      <a:pt x="462" y="876"/>
                    </a:lnTo>
                    <a:lnTo>
                      <a:pt x="456" y="876"/>
                    </a:lnTo>
                    <a:lnTo>
                      <a:pt x="450" y="882"/>
                    </a:lnTo>
                    <a:lnTo>
                      <a:pt x="444" y="882"/>
                    </a:lnTo>
                    <a:lnTo>
                      <a:pt x="444" y="900"/>
                    </a:lnTo>
                    <a:lnTo>
                      <a:pt x="480" y="900"/>
                    </a:lnTo>
                    <a:lnTo>
                      <a:pt x="468" y="912"/>
                    </a:lnTo>
                    <a:lnTo>
                      <a:pt x="432" y="906"/>
                    </a:lnTo>
                    <a:lnTo>
                      <a:pt x="420" y="912"/>
                    </a:lnTo>
                    <a:lnTo>
                      <a:pt x="414" y="918"/>
                    </a:lnTo>
                    <a:lnTo>
                      <a:pt x="414" y="930"/>
                    </a:lnTo>
                    <a:lnTo>
                      <a:pt x="420" y="936"/>
                    </a:lnTo>
                    <a:lnTo>
                      <a:pt x="420" y="948"/>
                    </a:lnTo>
                    <a:lnTo>
                      <a:pt x="408" y="954"/>
                    </a:lnTo>
                    <a:lnTo>
                      <a:pt x="390" y="954"/>
                    </a:lnTo>
                    <a:lnTo>
                      <a:pt x="390" y="972"/>
                    </a:lnTo>
                    <a:lnTo>
                      <a:pt x="408" y="990"/>
                    </a:lnTo>
                    <a:lnTo>
                      <a:pt x="408" y="996"/>
                    </a:lnTo>
                    <a:lnTo>
                      <a:pt x="402" y="1002"/>
                    </a:lnTo>
                    <a:lnTo>
                      <a:pt x="366" y="1002"/>
                    </a:lnTo>
                    <a:lnTo>
                      <a:pt x="360" y="1008"/>
                    </a:lnTo>
                    <a:lnTo>
                      <a:pt x="360" y="1026"/>
                    </a:lnTo>
                    <a:lnTo>
                      <a:pt x="354" y="1032"/>
                    </a:lnTo>
                    <a:lnTo>
                      <a:pt x="342" y="1032"/>
                    </a:lnTo>
                    <a:lnTo>
                      <a:pt x="336" y="1026"/>
                    </a:lnTo>
                    <a:lnTo>
                      <a:pt x="318" y="1026"/>
                    </a:lnTo>
                    <a:lnTo>
                      <a:pt x="294" y="1050"/>
                    </a:lnTo>
                    <a:lnTo>
                      <a:pt x="282" y="1050"/>
                    </a:lnTo>
                    <a:lnTo>
                      <a:pt x="270" y="1062"/>
                    </a:lnTo>
                    <a:lnTo>
                      <a:pt x="270" y="1068"/>
                    </a:lnTo>
                    <a:lnTo>
                      <a:pt x="276" y="1074"/>
                    </a:lnTo>
                    <a:lnTo>
                      <a:pt x="276" y="1080"/>
                    </a:lnTo>
                    <a:lnTo>
                      <a:pt x="264" y="1092"/>
                    </a:lnTo>
                    <a:lnTo>
                      <a:pt x="252" y="1092"/>
                    </a:lnTo>
                    <a:lnTo>
                      <a:pt x="246" y="1086"/>
                    </a:lnTo>
                    <a:lnTo>
                      <a:pt x="234" y="1080"/>
                    </a:lnTo>
                    <a:lnTo>
                      <a:pt x="234" y="1074"/>
                    </a:lnTo>
                    <a:lnTo>
                      <a:pt x="228" y="1074"/>
                    </a:lnTo>
                    <a:lnTo>
                      <a:pt x="204" y="1086"/>
                    </a:lnTo>
                    <a:lnTo>
                      <a:pt x="198" y="1092"/>
                    </a:lnTo>
                    <a:lnTo>
                      <a:pt x="180" y="1092"/>
                    </a:lnTo>
                    <a:lnTo>
                      <a:pt x="180" y="1110"/>
                    </a:lnTo>
                    <a:lnTo>
                      <a:pt x="186" y="1116"/>
                    </a:lnTo>
                    <a:lnTo>
                      <a:pt x="192" y="1116"/>
                    </a:lnTo>
                    <a:lnTo>
                      <a:pt x="192" y="1128"/>
                    </a:lnTo>
                    <a:lnTo>
                      <a:pt x="186" y="1128"/>
                    </a:lnTo>
                    <a:lnTo>
                      <a:pt x="174" y="1116"/>
                    </a:lnTo>
                    <a:lnTo>
                      <a:pt x="162" y="1116"/>
                    </a:lnTo>
                    <a:lnTo>
                      <a:pt x="156" y="1122"/>
                    </a:lnTo>
                    <a:lnTo>
                      <a:pt x="156" y="1134"/>
                    </a:lnTo>
                    <a:lnTo>
                      <a:pt x="168" y="1134"/>
                    </a:lnTo>
                    <a:lnTo>
                      <a:pt x="174" y="1140"/>
                    </a:lnTo>
                    <a:lnTo>
                      <a:pt x="180" y="1140"/>
                    </a:lnTo>
                    <a:lnTo>
                      <a:pt x="180" y="1152"/>
                    </a:lnTo>
                    <a:lnTo>
                      <a:pt x="138" y="1152"/>
                    </a:lnTo>
                    <a:lnTo>
                      <a:pt x="138" y="1146"/>
                    </a:lnTo>
                    <a:lnTo>
                      <a:pt x="132" y="1146"/>
                    </a:lnTo>
                    <a:lnTo>
                      <a:pt x="126" y="1158"/>
                    </a:lnTo>
                    <a:lnTo>
                      <a:pt x="126" y="1170"/>
                    </a:lnTo>
                    <a:lnTo>
                      <a:pt x="120" y="1164"/>
                    </a:lnTo>
                    <a:lnTo>
                      <a:pt x="102" y="1164"/>
                    </a:lnTo>
                    <a:lnTo>
                      <a:pt x="96" y="1158"/>
                    </a:lnTo>
                    <a:lnTo>
                      <a:pt x="90" y="1158"/>
                    </a:lnTo>
                    <a:lnTo>
                      <a:pt x="90" y="1164"/>
                    </a:lnTo>
                    <a:lnTo>
                      <a:pt x="96" y="1170"/>
                    </a:lnTo>
                    <a:lnTo>
                      <a:pt x="120" y="1182"/>
                    </a:lnTo>
                    <a:lnTo>
                      <a:pt x="132" y="1182"/>
                    </a:lnTo>
                    <a:lnTo>
                      <a:pt x="108" y="1200"/>
                    </a:lnTo>
                    <a:lnTo>
                      <a:pt x="108" y="1188"/>
                    </a:lnTo>
                    <a:lnTo>
                      <a:pt x="90" y="1188"/>
                    </a:lnTo>
                    <a:lnTo>
                      <a:pt x="84" y="1194"/>
                    </a:lnTo>
                    <a:lnTo>
                      <a:pt x="60" y="1182"/>
                    </a:lnTo>
                    <a:lnTo>
                      <a:pt x="54" y="1194"/>
                    </a:lnTo>
                    <a:lnTo>
                      <a:pt x="66" y="1200"/>
                    </a:lnTo>
                    <a:lnTo>
                      <a:pt x="30" y="1194"/>
                    </a:lnTo>
                    <a:lnTo>
                      <a:pt x="30" y="1212"/>
                    </a:lnTo>
                    <a:lnTo>
                      <a:pt x="78" y="1212"/>
                    </a:lnTo>
                    <a:lnTo>
                      <a:pt x="54" y="1218"/>
                    </a:lnTo>
                    <a:lnTo>
                      <a:pt x="18" y="1212"/>
                    </a:lnTo>
                    <a:lnTo>
                      <a:pt x="6" y="1224"/>
                    </a:lnTo>
                    <a:lnTo>
                      <a:pt x="6" y="1230"/>
                    </a:lnTo>
                    <a:lnTo>
                      <a:pt x="18" y="1242"/>
                    </a:lnTo>
                    <a:lnTo>
                      <a:pt x="36" y="1242"/>
                    </a:lnTo>
                    <a:lnTo>
                      <a:pt x="18" y="1248"/>
                    </a:lnTo>
                    <a:lnTo>
                      <a:pt x="12" y="1254"/>
                    </a:lnTo>
                    <a:lnTo>
                      <a:pt x="12" y="1260"/>
                    </a:lnTo>
                    <a:lnTo>
                      <a:pt x="66" y="1260"/>
                    </a:lnTo>
                    <a:lnTo>
                      <a:pt x="78" y="1272"/>
                    </a:lnTo>
                    <a:lnTo>
                      <a:pt x="96" y="1260"/>
                    </a:lnTo>
                    <a:lnTo>
                      <a:pt x="108" y="1272"/>
                    </a:lnTo>
                    <a:lnTo>
                      <a:pt x="138" y="1260"/>
                    </a:lnTo>
                    <a:lnTo>
                      <a:pt x="132" y="1266"/>
                    </a:lnTo>
                    <a:lnTo>
                      <a:pt x="126" y="1278"/>
                    </a:lnTo>
                    <a:lnTo>
                      <a:pt x="60" y="1278"/>
                    </a:lnTo>
                    <a:lnTo>
                      <a:pt x="54" y="1272"/>
                    </a:lnTo>
                    <a:lnTo>
                      <a:pt x="24" y="1272"/>
                    </a:lnTo>
                    <a:lnTo>
                      <a:pt x="12" y="1278"/>
                    </a:lnTo>
                    <a:lnTo>
                      <a:pt x="0" y="1278"/>
                    </a:lnTo>
                    <a:lnTo>
                      <a:pt x="6" y="1284"/>
                    </a:lnTo>
                    <a:lnTo>
                      <a:pt x="6" y="1296"/>
                    </a:lnTo>
                    <a:lnTo>
                      <a:pt x="12" y="1296"/>
                    </a:lnTo>
                    <a:lnTo>
                      <a:pt x="18" y="1302"/>
                    </a:lnTo>
                    <a:lnTo>
                      <a:pt x="30" y="1302"/>
                    </a:lnTo>
                    <a:lnTo>
                      <a:pt x="24" y="1308"/>
                    </a:lnTo>
                    <a:lnTo>
                      <a:pt x="18" y="1320"/>
                    </a:lnTo>
                    <a:lnTo>
                      <a:pt x="36" y="1338"/>
                    </a:lnTo>
                    <a:lnTo>
                      <a:pt x="48" y="1338"/>
                    </a:lnTo>
                    <a:lnTo>
                      <a:pt x="72" y="1320"/>
                    </a:lnTo>
                    <a:lnTo>
                      <a:pt x="102" y="1314"/>
                    </a:lnTo>
                    <a:lnTo>
                      <a:pt x="90" y="1338"/>
                    </a:lnTo>
                    <a:lnTo>
                      <a:pt x="78" y="1332"/>
                    </a:lnTo>
                    <a:lnTo>
                      <a:pt x="66" y="1350"/>
                    </a:lnTo>
                    <a:lnTo>
                      <a:pt x="30" y="1350"/>
                    </a:lnTo>
                    <a:lnTo>
                      <a:pt x="48" y="1368"/>
                    </a:lnTo>
                    <a:lnTo>
                      <a:pt x="24" y="1380"/>
                    </a:lnTo>
                    <a:lnTo>
                      <a:pt x="6" y="1380"/>
                    </a:lnTo>
                    <a:lnTo>
                      <a:pt x="6" y="1398"/>
                    </a:lnTo>
                    <a:lnTo>
                      <a:pt x="66" y="1398"/>
                    </a:lnTo>
                    <a:lnTo>
                      <a:pt x="54" y="1422"/>
                    </a:lnTo>
                    <a:lnTo>
                      <a:pt x="66" y="1422"/>
                    </a:lnTo>
                    <a:lnTo>
                      <a:pt x="54" y="1440"/>
                    </a:lnTo>
                    <a:lnTo>
                      <a:pt x="42" y="1434"/>
                    </a:lnTo>
                    <a:lnTo>
                      <a:pt x="36" y="1434"/>
                    </a:lnTo>
                    <a:lnTo>
                      <a:pt x="30" y="1428"/>
                    </a:lnTo>
                    <a:lnTo>
                      <a:pt x="18" y="1428"/>
                    </a:lnTo>
                    <a:lnTo>
                      <a:pt x="18" y="1440"/>
                    </a:lnTo>
                    <a:lnTo>
                      <a:pt x="24" y="1452"/>
                    </a:lnTo>
                    <a:lnTo>
                      <a:pt x="36" y="1464"/>
                    </a:lnTo>
                    <a:lnTo>
                      <a:pt x="84" y="1482"/>
                    </a:lnTo>
                    <a:lnTo>
                      <a:pt x="78" y="1488"/>
                    </a:lnTo>
                    <a:lnTo>
                      <a:pt x="84" y="1494"/>
                    </a:lnTo>
                    <a:lnTo>
                      <a:pt x="126" y="1494"/>
                    </a:lnTo>
                    <a:lnTo>
                      <a:pt x="132" y="1500"/>
                    </a:lnTo>
                    <a:lnTo>
                      <a:pt x="144" y="1500"/>
                    </a:lnTo>
                    <a:lnTo>
                      <a:pt x="192" y="1476"/>
                    </a:lnTo>
                    <a:lnTo>
                      <a:pt x="204" y="1464"/>
                    </a:lnTo>
                    <a:lnTo>
                      <a:pt x="216" y="1458"/>
                    </a:lnTo>
                    <a:lnTo>
                      <a:pt x="222" y="1452"/>
                    </a:lnTo>
                    <a:lnTo>
                      <a:pt x="258" y="1422"/>
                    </a:lnTo>
                    <a:lnTo>
                      <a:pt x="282" y="1422"/>
                    </a:lnTo>
                    <a:lnTo>
                      <a:pt x="294" y="1416"/>
                    </a:lnTo>
                    <a:lnTo>
                      <a:pt x="300" y="1410"/>
                    </a:lnTo>
                    <a:lnTo>
                      <a:pt x="300" y="1386"/>
                    </a:lnTo>
                    <a:lnTo>
                      <a:pt x="294" y="1380"/>
                    </a:lnTo>
                    <a:lnTo>
                      <a:pt x="294" y="1374"/>
                    </a:lnTo>
                    <a:lnTo>
                      <a:pt x="312" y="1368"/>
                    </a:lnTo>
                    <a:lnTo>
                      <a:pt x="306" y="1374"/>
                    </a:lnTo>
                    <a:lnTo>
                      <a:pt x="306" y="1380"/>
                    </a:lnTo>
                    <a:lnTo>
                      <a:pt x="300" y="1386"/>
                    </a:lnTo>
                    <a:lnTo>
                      <a:pt x="300" y="1392"/>
                    </a:lnTo>
                    <a:lnTo>
                      <a:pt x="312" y="1404"/>
                    </a:lnTo>
                    <a:lnTo>
                      <a:pt x="330" y="1410"/>
                    </a:lnTo>
                    <a:lnTo>
                      <a:pt x="342" y="1410"/>
                    </a:lnTo>
                    <a:lnTo>
                      <a:pt x="348" y="1416"/>
                    </a:lnTo>
                    <a:lnTo>
                      <a:pt x="354" y="1416"/>
                    </a:lnTo>
                    <a:lnTo>
                      <a:pt x="372" y="1434"/>
                    </a:lnTo>
                    <a:lnTo>
                      <a:pt x="378" y="1422"/>
                    </a:lnTo>
                    <a:lnTo>
                      <a:pt x="384" y="1416"/>
                    </a:lnTo>
                    <a:lnTo>
                      <a:pt x="384" y="1398"/>
                    </a:lnTo>
                    <a:lnTo>
                      <a:pt x="372" y="1386"/>
                    </a:lnTo>
                    <a:lnTo>
                      <a:pt x="372" y="1380"/>
                    </a:lnTo>
                    <a:lnTo>
                      <a:pt x="378" y="1374"/>
                    </a:lnTo>
                    <a:lnTo>
                      <a:pt x="384" y="1374"/>
                    </a:lnTo>
                    <a:lnTo>
                      <a:pt x="384" y="1368"/>
                    </a:lnTo>
                    <a:lnTo>
                      <a:pt x="378" y="1356"/>
                    </a:lnTo>
                    <a:lnTo>
                      <a:pt x="414" y="1356"/>
                    </a:lnTo>
                    <a:lnTo>
                      <a:pt x="420" y="1350"/>
                    </a:lnTo>
                    <a:lnTo>
                      <a:pt x="420" y="1326"/>
                    </a:lnTo>
                    <a:lnTo>
                      <a:pt x="426" y="1326"/>
                    </a:lnTo>
                    <a:lnTo>
                      <a:pt x="420" y="1314"/>
                    </a:lnTo>
                    <a:lnTo>
                      <a:pt x="420" y="1308"/>
                    </a:lnTo>
                    <a:lnTo>
                      <a:pt x="414" y="1302"/>
                    </a:lnTo>
                    <a:lnTo>
                      <a:pt x="414" y="1296"/>
                    </a:lnTo>
                    <a:lnTo>
                      <a:pt x="408" y="1284"/>
                    </a:lnTo>
                    <a:lnTo>
                      <a:pt x="402" y="1278"/>
                    </a:lnTo>
                    <a:lnTo>
                      <a:pt x="426" y="1272"/>
                    </a:lnTo>
                    <a:lnTo>
                      <a:pt x="438" y="1260"/>
                    </a:lnTo>
                    <a:lnTo>
                      <a:pt x="438" y="1248"/>
                    </a:lnTo>
                    <a:lnTo>
                      <a:pt x="420" y="1230"/>
                    </a:lnTo>
                    <a:lnTo>
                      <a:pt x="414" y="1230"/>
                    </a:lnTo>
                    <a:lnTo>
                      <a:pt x="402" y="1218"/>
                    </a:lnTo>
                    <a:lnTo>
                      <a:pt x="402" y="1200"/>
                    </a:lnTo>
                    <a:lnTo>
                      <a:pt x="408" y="1188"/>
                    </a:lnTo>
                    <a:lnTo>
                      <a:pt x="408" y="1176"/>
                    </a:lnTo>
                    <a:lnTo>
                      <a:pt x="384" y="1152"/>
                    </a:lnTo>
                    <a:lnTo>
                      <a:pt x="384" y="1140"/>
                    </a:lnTo>
                    <a:lnTo>
                      <a:pt x="390" y="1134"/>
                    </a:lnTo>
                    <a:lnTo>
                      <a:pt x="396" y="1134"/>
                    </a:lnTo>
                    <a:lnTo>
                      <a:pt x="402" y="1128"/>
                    </a:lnTo>
                    <a:lnTo>
                      <a:pt x="402" y="1122"/>
                    </a:lnTo>
                    <a:lnTo>
                      <a:pt x="396" y="1116"/>
                    </a:lnTo>
                    <a:lnTo>
                      <a:pt x="390" y="1116"/>
                    </a:lnTo>
                    <a:lnTo>
                      <a:pt x="384" y="1110"/>
                    </a:lnTo>
                    <a:lnTo>
                      <a:pt x="426" y="1068"/>
                    </a:lnTo>
                    <a:lnTo>
                      <a:pt x="438" y="1062"/>
                    </a:lnTo>
                    <a:lnTo>
                      <a:pt x="444" y="1056"/>
                    </a:lnTo>
                    <a:lnTo>
                      <a:pt x="456" y="1050"/>
                    </a:lnTo>
                    <a:lnTo>
                      <a:pt x="498" y="1050"/>
                    </a:lnTo>
                    <a:lnTo>
                      <a:pt x="504" y="1044"/>
                    </a:lnTo>
                    <a:lnTo>
                      <a:pt x="504" y="1038"/>
                    </a:lnTo>
                    <a:lnTo>
                      <a:pt x="486" y="1020"/>
                    </a:lnTo>
                    <a:lnTo>
                      <a:pt x="474" y="1014"/>
                    </a:lnTo>
                    <a:lnTo>
                      <a:pt x="486" y="1008"/>
                    </a:lnTo>
                    <a:lnTo>
                      <a:pt x="492" y="1008"/>
                    </a:lnTo>
                    <a:lnTo>
                      <a:pt x="522" y="978"/>
                    </a:lnTo>
                    <a:lnTo>
                      <a:pt x="528" y="936"/>
                    </a:lnTo>
                    <a:lnTo>
                      <a:pt x="528" y="900"/>
                    </a:lnTo>
                    <a:lnTo>
                      <a:pt x="546" y="912"/>
                    </a:lnTo>
                    <a:lnTo>
                      <a:pt x="558" y="906"/>
                    </a:lnTo>
                    <a:lnTo>
                      <a:pt x="564" y="906"/>
                    </a:lnTo>
                    <a:lnTo>
                      <a:pt x="570" y="900"/>
                    </a:lnTo>
                    <a:lnTo>
                      <a:pt x="576" y="900"/>
                    </a:lnTo>
                    <a:lnTo>
                      <a:pt x="576" y="894"/>
                    </a:lnTo>
                    <a:lnTo>
                      <a:pt x="570" y="888"/>
                    </a:lnTo>
                    <a:lnTo>
                      <a:pt x="570" y="882"/>
                    </a:lnTo>
                    <a:lnTo>
                      <a:pt x="564" y="876"/>
                    </a:lnTo>
                    <a:lnTo>
                      <a:pt x="582" y="876"/>
                    </a:lnTo>
                    <a:lnTo>
                      <a:pt x="588" y="870"/>
                    </a:lnTo>
                    <a:lnTo>
                      <a:pt x="588" y="864"/>
                    </a:lnTo>
                    <a:lnTo>
                      <a:pt x="594" y="858"/>
                    </a:lnTo>
                    <a:lnTo>
                      <a:pt x="606" y="852"/>
                    </a:lnTo>
                    <a:lnTo>
                      <a:pt x="612" y="852"/>
                    </a:lnTo>
                    <a:lnTo>
                      <a:pt x="618" y="834"/>
                    </a:lnTo>
                    <a:lnTo>
                      <a:pt x="612" y="828"/>
                    </a:lnTo>
                    <a:lnTo>
                      <a:pt x="600" y="822"/>
                    </a:lnTo>
                    <a:lnTo>
                      <a:pt x="600" y="810"/>
                    </a:lnTo>
                    <a:lnTo>
                      <a:pt x="606" y="810"/>
                    </a:lnTo>
                    <a:lnTo>
                      <a:pt x="618" y="804"/>
                    </a:lnTo>
                    <a:lnTo>
                      <a:pt x="636" y="786"/>
                    </a:lnTo>
                    <a:lnTo>
                      <a:pt x="678" y="780"/>
                    </a:lnTo>
                    <a:lnTo>
                      <a:pt x="696" y="780"/>
                    </a:lnTo>
                    <a:lnTo>
                      <a:pt x="702" y="774"/>
                    </a:lnTo>
                    <a:lnTo>
                      <a:pt x="702" y="744"/>
                    </a:lnTo>
                    <a:lnTo>
                      <a:pt x="714" y="732"/>
                    </a:lnTo>
                    <a:lnTo>
                      <a:pt x="720" y="738"/>
                    </a:lnTo>
                    <a:lnTo>
                      <a:pt x="720" y="750"/>
                    </a:lnTo>
                    <a:lnTo>
                      <a:pt x="744" y="744"/>
                    </a:lnTo>
                    <a:lnTo>
                      <a:pt x="768" y="750"/>
                    </a:lnTo>
                    <a:lnTo>
                      <a:pt x="792" y="750"/>
                    </a:lnTo>
                    <a:lnTo>
                      <a:pt x="798" y="756"/>
                    </a:lnTo>
                    <a:lnTo>
                      <a:pt x="810" y="756"/>
                    </a:lnTo>
                    <a:lnTo>
                      <a:pt x="816" y="750"/>
                    </a:lnTo>
                    <a:lnTo>
                      <a:pt x="810" y="750"/>
                    </a:lnTo>
                    <a:lnTo>
                      <a:pt x="798" y="738"/>
                    </a:lnTo>
                    <a:lnTo>
                      <a:pt x="798" y="732"/>
                    </a:lnTo>
                    <a:lnTo>
                      <a:pt x="810" y="732"/>
                    </a:lnTo>
                    <a:lnTo>
                      <a:pt x="810" y="708"/>
                    </a:lnTo>
                    <a:lnTo>
                      <a:pt x="840" y="714"/>
                    </a:lnTo>
                    <a:lnTo>
                      <a:pt x="834" y="708"/>
                    </a:lnTo>
                    <a:lnTo>
                      <a:pt x="840" y="702"/>
                    </a:lnTo>
                    <a:lnTo>
                      <a:pt x="858" y="708"/>
                    </a:lnTo>
                    <a:lnTo>
                      <a:pt x="858" y="696"/>
                    </a:lnTo>
                    <a:lnTo>
                      <a:pt x="864" y="690"/>
                    </a:lnTo>
                    <a:lnTo>
                      <a:pt x="882" y="690"/>
                    </a:lnTo>
                    <a:lnTo>
                      <a:pt x="888" y="696"/>
                    </a:lnTo>
                    <a:lnTo>
                      <a:pt x="894" y="708"/>
                    </a:lnTo>
                    <a:lnTo>
                      <a:pt x="906" y="714"/>
                    </a:lnTo>
                    <a:lnTo>
                      <a:pt x="918" y="726"/>
                    </a:lnTo>
                    <a:lnTo>
                      <a:pt x="930" y="726"/>
                    </a:lnTo>
                    <a:lnTo>
                      <a:pt x="942" y="732"/>
                    </a:lnTo>
                    <a:lnTo>
                      <a:pt x="960" y="732"/>
                    </a:lnTo>
                    <a:lnTo>
                      <a:pt x="966" y="738"/>
                    </a:lnTo>
                    <a:lnTo>
                      <a:pt x="978" y="738"/>
                    </a:lnTo>
                    <a:lnTo>
                      <a:pt x="990" y="732"/>
                    </a:lnTo>
                    <a:lnTo>
                      <a:pt x="996" y="726"/>
                    </a:lnTo>
                    <a:lnTo>
                      <a:pt x="1026" y="726"/>
                    </a:lnTo>
                    <a:lnTo>
                      <a:pt x="1038" y="732"/>
                    </a:lnTo>
                    <a:lnTo>
                      <a:pt x="1044" y="738"/>
                    </a:lnTo>
                    <a:lnTo>
                      <a:pt x="1062" y="738"/>
                    </a:lnTo>
                    <a:lnTo>
                      <a:pt x="1062" y="726"/>
                    </a:lnTo>
                    <a:lnTo>
                      <a:pt x="1068" y="720"/>
                    </a:lnTo>
                    <a:lnTo>
                      <a:pt x="1068" y="714"/>
                    </a:lnTo>
                    <a:lnTo>
                      <a:pt x="1092" y="714"/>
                    </a:lnTo>
                    <a:lnTo>
                      <a:pt x="1092" y="678"/>
                    </a:lnTo>
                    <a:lnTo>
                      <a:pt x="1098" y="672"/>
                    </a:lnTo>
                    <a:lnTo>
                      <a:pt x="1098" y="660"/>
                    </a:lnTo>
                    <a:lnTo>
                      <a:pt x="1110" y="654"/>
                    </a:lnTo>
                    <a:lnTo>
                      <a:pt x="1116" y="654"/>
                    </a:lnTo>
                    <a:lnTo>
                      <a:pt x="1128" y="648"/>
                    </a:lnTo>
                    <a:lnTo>
                      <a:pt x="1158" y="648"/>
                    </a:lnTo>
                    <a:lnTo>
                      <a:pt x="1170" y="642"/>
                    </a:lnTo>
                    <a:lnTo>
                      <a:pt x="1206" y="642"/>
                    </a:lnTo>
                    <a:lnTo>
                      <a:pt x="1206" y="654"/>
                    </a:lnTo>
                    <a:lnTo>
                      <a:pt x="1242" y="660"/>
                    </a:lnTo>
                    <a:lnTo>
                      <a:pt x="1248" y="660"/>
                    </a:lnTo>
                    <a:lnTo>
                      <a:pt x="1260" y="672"/>
                    </a:lnTo>
                    <a:lnTo>
                      <a:pt x="1266" y="684"/>
                    </a:lnTo>
                    <a:lnTo>
                      <a:pt x="1266" y="702"/>
                    </a:lnTo>
                    <a:lnTo>
                      <a:pt x="1260" y="702"/>
                    </a:lnTo>
                    <a:lnTo>
                      <a:pt x="1260" y="696"/>
                    </a:lnTo>
                    <a:lnTo>
                      <a:pt x="1254" y="696"/>
                    </a:lnTo>
                    <a:lnTo>
                      <a:pt x="1254" y="708"/>
                    </a:lnTo>
                    <a:lnTo>
                      <a:pt x="1278" y="708"/>
                    </a:lnTo>
                    <a:lnTo>
                      <a:pt x="1284" y="696"/>
                    </a:lnTo>
                    <a:lnTo>
                      <a:pt x="1284" y="690"/>
                    </a:lnTo>
                    <a:lnTo>
                      <a:pt x="1308" y="684"/>
                    </a:lnTo>
                    <a:lnTo>
                      <a:pt x="1314" y="672"/>
                    </a:lnTo>
                    <a:lnTo>
                      <a:pt x="1350" y="672"/>
                    </a:lnTo>
                    <a:lnTo>
                      <a:pt x="1362" y="660"/>
                    </a:lnTo>
                    <a:lnTo>
                      <a:pt x="1356" y="660"/>
                    </a:lnTo>
                    <a:close/>
                    <a:moveTo>
                      <a:pt x="564" y="726"/>
                    </a:moveTo>
                    <a:lnTo>
                      <a:pt x="540" y="738"/>
                    </a:lnTo>
                    <a:lnTo>
                      <a:pt x="546" y="756"/>
                    </a:lnTo>
                    <a:lnTo>
                      <a:pt x="576" y="756"/>
                    </a:lnTo>
                    <a:lnTo>
                      <a:pt x="570" y="738"/>
                    </a:lnTo>
                    <a:lnTo>
                      <a:pt x="564" y="726"/>
                    </a:lnTo>
                    <a:close/>
                    <a:moveTo>
                      <a:pt x="522" y="714"/>
                    </a:moveTo>
                    <a:lnTo>
                      <a:pt x="516" y="720"/>
                    </a:lnTo>
                    <a:lnTo>
                      <a:pt x="510" y="732"/>
                    </a:lnTo>
                    <a:lnTo>
                      <a:pt x="510" y="750"/>
                    </a:lnTo>
                    <a:lnTo>
                      <a:pt x="528" y="768"/>
                    </a:lnTo>
                    <a:lnTo>
                      <a:pt x="528" y="756"/>
                    </a:lnTo>
                    <a:lnTo>
                      <a:pt x="534" y="744"/>
                    </a:lnTo>
                    <a:lnTo>
                      <a:pt x="534" y="720"/>
                    </a:lnTo>
                    <a:lnTo>
                      <a:pt x="528" y="714"/>
                    </a:lnTo>
                    <a:lnTo>
                      <a:pt x="522" y="714"/>
                    </a:lnTo>
                    <a:close/>
                    <a:moveTo>
                      <a:pt x="606" y="738"/>
                    </a:moveTo>
                    <a:lnTo>
                      <a:pt x="618" y="732"/>
                    </a:lnTo>
                    <a:lnTo>
                      <a:pt x="624" y="732"/>
                    </a:lnTo>
                    <a:lnTo>
                      <a:pt x="630" y="726"/>
                    </a:lnTo>
                    <a:lnTo>
                      <a:pt x="618" y="720"/>
                    </a:lnTo>
                    <a:lnTo>
                      <a:pt x="588" y="720"/>
                    </a:lnTo>
                    <a:lnTo>
                      <a:pt x="576" y="732"/>
                    </a:lnTo>
                    <a:lnTo>
                      <a:pt x="582" y="744"/>
                    </a:lnTo>
                    <a:lnTo>
                      <a:pt x="606" y="7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703" name="Nether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3E6B2CD-1997-0822-E2A6-6CEBD4B6F8C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22850" y="1990058"/>
                <a:ext cx="122385" cy="94019"/>
              </a:xfrm>
              <a:custGeom>
                <a:avLst/>
                <a:gdLst>
                  <a:gd name="T0" fmla="*/ 0 w 270"/>
                  <a:gd name="T1" fmla="*/ 2147483647 h 210"/>
                  <a:gd name="T2" fmla="*/ 2147483647 w 270"/>
                  <a:gd name="T3" fmla="*/ 2147483647 h 210"/>
                  <a:gd name="T4" fmla="*/ 2147483647 w 270"/>
                  <a:gd name="T5" fmla="*/ 2147483647 h 210"/>
                  <a:gd name="T6" fmla="*/ 2147483647 w 270"/>
                  <a:gd name="T7" fmla="*/ 2147483647 h 210"/>
                  <a:gd name="T8" fmla="*/ 2147483647 w 270"/>
                  <a:gd name="T9" fmla="*/ 2147483647 h 210"/>
                  <a:gd name="T10" fmla="*/ 2147483647 w 270"/>
                  <a:gd name="T11" fmla="*/ 2147483647 h 210"/>
                  <a:gd name="T12" fmla="*/ 2147483647 w 270"/>
                  <a:gd name="T13" fmla="*/ 2147483647 h 210"/>
                  <a:gd name="T14" fmla="*/ 2147483647 w 270"/>
                  <a:gd name="T15" fmla="*/ 2147483647 h 210"/>
                  <a:gd name="T16" fmla="*/ 2147483647 w 270"/>
                  <a:gd name="T17" fmla="*/ 2147483647 h 210"/>
                  <a:gd name="T18" fmla="*/ 2147483647 w 270"/>
                  <a:gd name="T19" fmla="*/ 2147483647 h 210"/>
                  <a:gd name="T20" fmla="*/ 2147483647 w 270"/>
                  <a:gd name="T21" fmla="*/ 2147483647 h 210"/>
                  <a:gd name="T22" fmla="*/ 2147483647 w 270"/>
                  <a:gd name="T23" fmla="*/ 2147483647 h 210"/>
                  <a:gd name="T24" fmla="*/ 2147483647 w 270"/>
                  <a:gd name="T25" fmla="*/ 2147483647 h 210"/>
                  <a:gd name="T26" fmla="*/ 2147483647 w 270"/>
                  <a:gd name="T27" fmla="*/ 2147483647 h 210"/>
                  <a:gd name="T28" fmla="*/ 2147483647 w 270"/>
                  <a:gd name="T29" fmla="*/ 2147483647 h 210"/>
                  <a:gd name="T30" fmla="*/ 2147483647 w 270"/>
                  <a:gd name="T31" fmla="*/ 2147483647 h 210"/>
                  <a:gd name="T32" fmla="*/ 2147483647 w 270"/>
                  <a:gd name="T33" fmla="*/ 2147483647 h 210"/>
                  <a:gd name="T34" fmla="*/ 2147483647 w 270"/>
                  <a:gd name="T35" fmla="*/ 2147483647 h 210"/>
                  <a:gd name="T36" fmla="*/ 2147483647 w 270"/>
                  <a:gd name="T37" fmla="*/ 2147483647 h 210"/>
                  <a:gd name="T38" fmla="*/ 2147483647 w 270"/>
                  <a:gd name="T39" fmla="*/ 2147483647 h 210"/>
                  <a:gd name="T40" fmla="*/ 2147483647 w 270"/>
                  <a:gd name="T41" fmla="*/ 2147483647 h 210"/>
                  <a:gd name="T42" fmla="*/ 2147483647 w 270"/>
                  <a:gd name="T43" fmla="*/ 2147483647 h 210"/>
                  <a:gd name="T44" fmla="*/ 2147483647 w 270"/>
                  <a:gd name="T45" fmla="*/ 2147483647 h 210"/>
                  <a:gd name="T46" fmla="*/ 2147483647 w 270"/>
                  <a:gd name="T47" fmla="*/ 2147483647 h 210"/>
                  <a:gd name="T48" fmla="*/ 2147483647 w 270"/>
                  <a:gd name="T49" fmla="*/ 2147483647 h 210"/>
                  <a:gd name="T50" fmla="*/ 2147483647 w 270"/>
                  <a:gd name="T51" fmla="*/ 2147483647 h 210"/>
                  <a:gd name="T52" fmla="*/ 2147483647 w 270"/>
                  <a:gd name="T53" fmla="*/ 2147483647 h 210"/>
                  <a:gd name="T54" fmla="*/ 2147483647 w 270"/>
                  <a:gd name="T55" fmla="*/ 2147483647 h 210"/>
                  <a:gd name="T56" fmla="*/ 2147483647 w 270"/>
                  <a:gd name="T57" fmla="*/ 2147483647 h 210"/>
                  <a:gd name="T58" fmla="*/ 2147483647 w 270"/>
                  <a:gd name="T59" fmla="*/ 0 h 210"/>
                  <a:gd name="T60" fmla="*/ 2147483647 w 270"/>
                  <a:gd name="T61" fmla="*/ 2147483647 h 210"/>
                  <a:gd name="T62" fmla="*/ 2147483647 w 270"/>
                  <a:gd name="T63" fmla="*/ 2147483647 h 210"/>
                  <a:gd name="T64" fmla="*/ 2147483647 w 270"/>
                  <a:gd name="T65" fmla="*/ 2147483647 h 210"/>
                  <a:gd name="T66" fmla="*/ 2147483647 w 270"/>
                  <a:gd name="T67" fmla="*/ 2147483647 h 210"/>
                  <a:gd name="T68" fmla="*/ 2147483647 w 270"/>
                  <a:gd name="T69" fmla="*/ 2147483647 h 210"/>
                  <a:gd name="T70" fmla="*/ 2147483647 w 270"/>
                  <a:gd name="T71" fmla="*/ 2147483647 h 210"/>
                  <a:gd name="T72" fmla="*/ 2147483647 w 270"/>
                  <a:gd name="T73" fmla="*/ 2147483647 h 210"/>
                  <a:gd name="T74" fmla="*/ 2147483647 w 270"/>
                  <a:gd name="T75" fmla="*/ 2147483647 h 210"/>
                  <a:gd name="T76" fmla="*/ 2147483647 w 270"/>
                  <a:gd name="T77" fmla="*/ 2147483647 h 210"/>
                  <a:gd name="T78" fmla="*/ 2147483647 w 270"/>
                  <a:gd name="T79" fmla="*/ 2147483647 h 210"/>
                  <a:gd name="T80" fmla="*/ 2147483647 w 270"/>
                  <a:gd name="T81" fmla="*/ 2147483647 h 210"/>
                  <a:gd name="T82" fmla="*/ 2147483647 w 270"/>
                  <a:gd name="T83" fmla="*/ 2147483647 h 210"/>
                  <a:gd name="T84" fmla="*/ 2147483647 w 270"/>
                  <a:gd name="T85" fmla="*/ 2147483647 h 210"/>
                  <a:gd name="T86" fmla="*/ 2147483647 w 270"/>
                  <a:gd name="T87" fmla="*/ 2147483647 h 210"/>
                  <a:gd name="T88" fmla="*/ 2147483647 w 270"/>
                  <a:gd name="T89" fmla="*/ 2147483647 h 21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70"/>
                  <a:gd name="T136" fmla="*/ 0 h 210"/>
                  <a:gd name="T137" fmla="*/ 270 w 270"/>
                  <a:gd name="T138" fmla="*/ 210 h 21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70" h="210">
                    <a:moveTo>
                      <a:pt x="18" y="156"/>
                    </a:moveTo>
                    <a:lnTo>
                      <a:pt x="0" y="174"/>
                    </a:lnTo>
                    <a:lnTo>
                      <a:pt x="12" y="162"/>
                    </a:lnTo>
                    <a:lnTo>
                      <a:pt x="24" y="162"/>
                    </a:lnTo>
                    <a:lnTo>
                      <a:pt x="30" y="168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62"/>
                    </a:lnTo>
                    <a:lnTo>
                      <a:pt x="84" y="168"/>
                    </a:lnTo>
                    <a:lnTo>
                      <a:pt x="84" y="156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8" y="174"/>
                    </a:lnTo>
                    <a:lnTo>
                      <a:pt x="150" y="174"/>
                    </a:lnTo>
                    <a:lnTo>
                      <a:pt x="162" y="168"/>
                    </a:lnTo>
                    <a:lnTo>
                      <a:pt x="168" y="168"/>
                    </a:lnTo>
                    <a:lnTo>
                      <a:pt x="174" y="174"/>
                    </a:lnTo>
                    <a:lnTo>
                      <a:pt x="174" y="192"/>
                    </a:lnTo>
                    <a:lnTo>
                      <a:pt x="168" y="198"/>
                    </a:lnTo>
                    <a:lnTo>
                      <a:pt x="168" y="210"/>
                    </a:lnTo>
                    <a:lnTo>
                      <a:pt x="180" y="210"/>
                    </a:lnTo>
                    <a:lnTo>
                      <a:pt x="180" y="198"/>
                    </a:lnTo>
                    <a:lnTo>
                      <a:pt x="186" y="192"/>
                    </a:lnTo>
                    <a:lnTo>
                      <a:pt x="186" y="180"/>
                    </a:lnTo>
                    <a:lnTo>
                      <a:pt x="180" y="174"/>
                    </a:lnTo>
                    <a:lnTo>
                      <a:pt x="186" y="168"/>
                    </a:lnTo>
                    <a:lnTo>
                      <a:pt x="198" y="162"/>
                    </a:lnTo>
                    <a:lnTo>
                      <a:pt x="198" y="156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22" y="126"/>
                    </a:lnTo>
                    <a:lnTo>
                      <a:pt x="222" y="120"/>
                    </a:lnTo>
                    <a:lnTo>
                      <a:pt x="228" y="114"/>
                    </a:lnTo>
                    <a:lnTo>
                      <a:pt x="234" y="114"/>
                    </a:lnTo>
                    <a:lnTo>
                      <a:pt x="240" y="102"/>
                    </a:lnTo>
                    <a:lnTo>
                      <a:pt x="246" y="96"/>
                    </a:lnTo>
                    <a:lnTo>
                      <a:pt x="252" y="96"/>
                    </a:lnTo>
                    <a:lnTo>
                      <a:pt x="252" y="90"/>
                    </a:lnTo>
                    <a:lnTo>
                      <a:pt x="240" y="78"/>
                    </a:lnTo>
                    <a:lnTo>
                      <a:pt x="234" y="78"/>
                    </a:lnTo>
                    <a:lnTo>
                      <a:pt x="228" y="72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46" y="60"/>
                    </a:lnTo>
                    <a:lnTo>
                      <a:pt x="258" y="60"/>
                    </a:lnTo>
                    <a:lnTo>
                      <a:pt x="252" y="54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70" y="30"/>
                    </a:lnTo>
                    <a:lnTo>
                      <a:pt x="264" y="18"/>
                    </a:lnTo>
                    <a:lnTo>
                      <a:pt x="270" y="12"/>
                    </a:lnTo>
                    <a:lnTo>
                      <a:pt x="264" y="12"/>
                    </a:lnTo>
                    <a:lnTo>
                      <a:pt x="252" y="6"/>
                    </a:lnTo>
                    <a:lnTo>
                      <a:pt x="246" y="6"/>
                    </a:lnTo>
                    <a:lnTo>
                      <a:pt x="234" y="0"/>
                    </a:lnTo>
                    <a:lnTo>
                      <a:pt x="180" y="0"/>
                    </a:lnTo>
                    <a:lnTo>
                      <a:pt x="168" y="12"/>
                    </a:lnTo>
                    <a:lnTo>
                      <a:pt x="156" y="18"/>
                    </a:lnTo>
                    <a:lnTo>
                      <a:pt x="156" y="30"/>
                    </a:lnTo>
                    <a:lnTo>
                      <a:pt x="162" y="36"/>
                    </a:lnTo>
                    <a:lnTo>
                      <a:pt x="162" y="54"/>
                    </a:lnTo>
                    <a:lnTo>
                      <a:pt x="168" y="60"/>
                    </a:lnTo>
                    <a:lnTo>
                      <a:pt x="174" y="60"/>
                    </a:lnTo>
                    <a:lnTo>
                      <a:pt x="180" y="66"/>
                    </a:lnTo>
                    <a:lnTo>
                      <a:pt x="180" y="78"/>
                    </a:lnTo>
                    <a:lnTo>
                      <a:pt x="168" y="84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84"/>
                    </a:lnTo>
                    <a:lnTo>
                      <a:pt x="138" y="66"/>
                    </a:lnTo>
                    <a:lnTo>
                      <a:pt x="150" y="54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36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90" y="90"/>
                    </a:lnTo>
                    <a:lnTo>
                      <a:pt x="90" y="102"/>
                    </a:lnTo>
                    <a:lnTo>
                      <a:pt x="60" y="132"/>
                    </a:lnTo>
                    <a:lnTo>
                      <a:pt x="72" y="144"/>
                    </a:lnTo>
                    <a:lnTo>
                      <a:pt x="42" y="144"/>
                    </a:lnTo>
                    <a:lnTo>
                      <a:pt x="18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7" name="Montenegr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342C622-AB62-251E-36BC-F78599D483B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0953" y="2335976"/>
                <a:ext cx="51437" cy="60314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2147483647 w 114"/>
                  <a:gd name="T7" fmla="*/ 2147483647 h 138"/>
                  <a:gd name="T8" fmla="*/ 2147483647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0 h 138"/>
                  <a:gd name="T14" fmla="*/ 2147483647 w 114"/>
                  <a:gd name="T15" fmla="*/ 0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0 w 114"/>
                  <a:gd name="T29" fmla="*/ 2147483647 h 138"/>
                  <a:gd name="T30" fmla="*/ 0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2147483647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2147483647 w 114"/>
                  <a:gd name="T61" fmla="*/ 2147483647 h 138"/>
                  <a:gd name="T62" fmla="*/ 2147483647 w 114"/>
                  <a:gd name="T63" fmla="*/ 2147483647 h 138"/>
                  <a:gd name="T64" fmla="*/ 2147483647 w 114"/>
                  <a:gd name="T65" fmla="*/ 2147483647 h 138"/>
                  <a:gd name="T66" fmla="*/ 2147483647 w 114"/>
                  <a:gd name="T67" fmla="*/ 2147483647 h 138"/>
                  <a:gd name="T68" fmla="*/ 2147483647 w 114"/>
                  <a:gd name="T69" fmla="*/ 2147483647 h 138"/>
                  <a:gd name="T70" fmla="*/ 2147483647 w 114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"/>
                  <a:gd name="T109" fmla="*/ 0 h 138"/>
                  <a:gd name="T110" fmla="*/ 114 w 114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" h="138">
                    <a:moveTo>
                      <a:pt x="114" y="42"/>
                    </a:moveTo>
                    <a:lnTo>
                      <a:pt x="108" y="48"/>
                    </a:lnTo>
                    <a:lnTo>
                      <a:pt x="96" y="30"/>
                    </a:lnTo>
                    <a:lnTo>
                      <a:pt x="84" y="1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6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6" y="96"/>
                    </a:lnTo>
                    <a:lnTo>
                      <a:pt x="36" y="114"/>
                    </a:lnTo>
                    <a:lnTo>
                      <a:pt x="60" y="138"/>
                    </a:lnTo>
                    <a:lnTo>
                      <a:pt x="72" y="126"/>
                    </a:lnTo>
                    <a:lnTo>
                      <a:pt x="66" y="108"/>
                    </a:lnTo>
                    <a:lnTo>
                      <a:pt x="60" y="114"/>
                    </a:lnTo>
                    <a:lnTo>
                      <a:pt x="42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78"/>
                    </a:lnTo>
                    <a:lnTo>
                      <a:pt x="108" y="90"/>
                    </a:lnTo>
                    <a:lnTo>
                      <a:pt x="114" y="84"/>
                    </a:lnTo>
                    <a:lnTo>
                      <a:pt x="114" y="90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2" name="Moldov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0510FAB-54AD-5209-48F6-01DEA458ACE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87988" y="2163905"/>
                <a:ext cx="97553" cy="106437"/>
              </a:xfrm>
              <a:custGeom>
                <a:avLst/>
                <a:gdLst>
                  <a:gd name="T0" fmla="*/ 2147483647 w 216"/>
                  <a:gd name="T1" fmla="*/ 2147483647 h 240"/>
                  <a:gd name="T2" fmla="*/ 2147483647 w 216"/>
                  <a:gd name="T3" fmla="*/ 2147483647 h 240"/>
                  <a:gd name="T4" fmla="*/ 2147483647 w 216"/>
                  <a:gd name="T5" fmla="*/ 2147483647 h 240"/>
                  <a:gd name="T6" fmla="*/ 2147483647 w 216"/>
                  <a:gd name="T7" fmla="*/ 2147483647 h 240"/>
                  <a:gd name="T8" fmla="*/ 2147483647 w 216"/>
                  <a:gd name="T9" fmla="*/ 2147483647 h 240"/>
                  <a:gd name="T10" fmla="*/ 2147483647 w 216"/>
                  <a:gd name="T11" fmla="*/ 2147483647 h 240"/>
                  <a:gd name="T12" fmla="*/ 2147483647 w 216"/>
                  <a:gd name="T13" fmla="*/ 2147483647 h 240"/>
                  <a:gd name="T14" fmla="*/ 2147483647 w 216"/>
                  <a:gd name="T15" fmla="*/ 2147483647 h 240"/>
                  <a:gd name="T16" fmla="*/ 2147483647 w 216"/>
                  <a:gd name="T17" fmla="*/ 2147483647 h 240"/>
                  <a:gd name="T18" fmla="*/ 2147483647 w 216"/>
                  <a:gd name="T19" fmla="*/ 2147483647 h 240"/>
                  <a:gd name="T20" fmla="*/ 2147483647 w 216"/>
                  <a:gd name="T21" fmla="*/ 2147483647 h 240"/>
                  <a:gd name="T22" fmla="*/ 2147483647 w 216"/>
                  <a:gd name="T23" fmla="*/ 2147483647 h 240"/>
                  <a:gd name="T24" fmla="*/ 2147483647 w 216"/>
                  <a:gd name="T25" fmla="*/ 2147483647 h 240"/>
                  <a:gd name="T26" fmla="*/ 2147483647 w 216"/>
                  <a:gd name="T27" fmla="*/ 2147483647 h 240"/>
                  <a:gd name="T28" fmla="*/ 2147483647 w 216"/>
                  <a:gd name="T29" fmla="*/ 2147483647 h 240"/>
                  <a:gd name="T30" fmla="*/ 2147483647 w 216"/>
                  <a:gd name="T31" fmla="*/ 2147483647 h 240"/>
                  <a:gd name="T32" fmla="*/ 2147483647 w 216"/>
                  <a:gd name="T33" fmla="*/ 2147483647 h 240"/>
                  <a:gd name="T34" fmla="*/ 2147483647 w 216"/>
                  <a:gd name="T35" fmla="*/ 2147483647 h 240"/>
                  <a:gd name="T36" fmla="*/ 2147483647 w 216"/>
                  <a:gd name="T37" fmla="*/ 2147483647 h 240"/>
                  <a:gd name="T38" fmla="*/ 2147483647 w 216"/>
                  <a:gd name="T39" fmla="*/ 2147483647 h 240"/>
                  <a:gd name="T40" fmla="*/ 2147483647 w 216"/>
                  <a:gd name="T41" fmla="*/ 2147483647 h 240"/>
                  <a:gd name="T42" fmla="*/ 2147483647 w 216"/>
                  <a:gd name="T43" fmla="*/ 2147483647 h 240"/>
                  <a:gd name="T44" fmla="*/ 2147483647 w 216"/>
                  <a:gd name="T45" fmla="*/ 2147483647 h 240"/>
                  <a:gd name="T46" fmla="*/ 2147483647 w 216"/>
                  <a:gd name="T47" fmla="*/ 2147483647 h 240"/>
                  <a:gd name="T48" fmla="*/ 2147483647 w 216"/>
                  <a:gd name="T49" fmla="*/ 2147483647 h 240"/>
                  <a:gd name="T50" fmla="*/ 2147483647 w 216"/>
                  <a:gd name="T51" fmla="*/ 2147483647 h 240"/>
                  <a:gd name="T52" fmla="*/ 2147483647 w 216"/>
                  <a:gd name="T53" fmla="*/ 2147483647 h 240"/>
                  <a:gd name="T54" fmla="*/ 2147483647 w 216"/>
                  <a:gd name="T55" fmla="*/ 2147483647 h 240"/>
                  <a:gd name="T56" fmla="*/ 2147483647 w 216"/>
                  <a:gd name="T57" fmla="*/ 2147483647 h 240"/>
                  <a:gd name="T58" fmla="*/ 2147483647 w 216"/>
                  <a:gd name="T59" fmla="*/ 2147483647 h 240"/>
                  <a:gd name="T60" fmla="*/ 2147483647 w 216"/>
                  <a:gd name="T61" fmla="*/ 0 h 240"/>
                  <a:gd name="T62" fmla="*/ 2147483647 w 216"/>
                  <a:gd name="T63" fmla="*/ 2147483647 h 240"/>
                  <a:gd name="T64" fmla="*/ 2147483647 w 216"/>
                  <a:gd name="T65" fmla="*/ 2147483647 h 240"/>
                  <a:gd name="T66" fmla="*/ 2147483647 w 216"/>
                  <a:gd name="T67" fmla="*/ 2147483647 h 2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240"/>
                  <a:gd name="T104" fmla="*/ 216 w 216"/>
                  <a:gd name="T105" fmla="*/ 240 h 2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240">
                    <a:moveTo>
                      <a:pt x="0" y="18"/>
                    </a:moveTo>
                    <a:lnTo>
                      <a:pt x="18" y="24"/>
                    </a:lnTo>
                    <a:lnTo>
                      <a:pt x="24" y="30"/>
                    </a:lnTo>
                    <a:lnTo>
                      <a:pt x="30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60" y="72"/>
                    </a:lnTo>
                    <a:lnTo>
                      <a:pt x="66" y="96"/>
                    </a:lnTo>
                    <a:lnTo>
                      <a:pt x="78" y="96"/>
                    </a:lnTo>
                    <a:lnTo>
                      <a:pt x="84" y="114"/>
                    </a:lnTo>
                    <a:lnTo>
                      <a:pt x="102" y="114"/>
                    </a:lnTo>
                    <a:lnTo>
                      <a:pt x="108" y="120"/>
                    </a:lnTo>
                    <a:lnTo>
                      <a:pt x="108" y="162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102" y="198"/>
                    </a:lnTo>
                    <a:lnTo>
                      <a:pt x="108" y="210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38" y="234"/>
                    </a:lnTo>
                    <a:lnTo>
                      <a:pt x="138" y="222"/>
                    </a:lnTo>
                    <a:lnTo>
                      <a:pt x="132" y="216"/>
                    </a:lnTo>
                    <a:lnTo>
                      <a:pt x="132" y="204"/>
                    </a:lnTo>
                    <a:lnTo>
                      <a:pt x="138" y="204"/>
                    </a:lnTo>
                    <a:lnTo>
                      <a:pt x="150" y="198"/>
                    </a:lnTo>
                    <a:lnTo>
                      <a:pt x="156" y="192"/>
                    </a:lnTo>
                    <a:lnTo>
                      <a:pt x="174" y="180"/>
                    </a:lnTo>
                    <a:lnTo>
                      <a:pt x="168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62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98" y="162"/>
                    </a:lnTo>
                    <a:lnTo>
                      <a:pt x="210" y="156"/>
                    </a:lnTo>
                    <a:lnTo>
                      <a:pt x="216" y="156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20"/>
                    </a:lnTo>
                    <a:lnTo>
                      <a:pt x="192" y="114"/>
                    </a:lnTo>
                    <a:lnTo>
                      <a:pt x="180" y="114"/>
                    </a:lnTo>
                    <a:lnTo>
                      <a:pt x="180" y="96"/>
                    </a:lnTo>
                    <a:lnTo>
                      <a:pt x="186" y="90"/>
                    </a:lnTo>
                    <a:lnTo>
                      <a:pt x="180" y="84"/>
                    </a:lnTo>
                    <a:lnTo>
                      <a:pt x="174" y="84"/>
                    </a:lnTo>
                    <a:lnTo>
                      <a:pt x="162" y="90"/>
                    </a:lnTo>
                    <a:lnTo>
                      <a:pt x="162" y="66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44" y="36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78" y="18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2" name="Maced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1989A4D-8ECF-1989-D384-F28F320F7B9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2378551"/>
                <a:ext cx="74496" cy="56766"/>
              </a:xfrm>
              <a:custGeom>
                <a:avLst/>
                <a:gdLst>
                  <a:gd name="T0" fmla="*/ 2147483647 w 162"/>
                  <a:gd name="T1" fmla="*/ 2147483647 h 126"/>
                  <a:gd name="T2" fmla="*/ 2147483647 w 162"/>
                  <a:gd name="T3" fmla="*/ 2147483647 h 126"/>
                  <a:gd name="T4" fmla="*/ 2147483647 w 162"/>
                  <a:gd name="T5" fmla="*/ 2147483647 h 126"/>
                  <a:gd name="T6" fmla="*/ 2147483647 w 162"/>
                  <a:gd name="T7" fmla="*/ 2147483647 h 126"/>
                  <a:gd name="T8" fmla="*/ 2147483647 w 162"/>
                  <a:gd name="T9" fmla="*/ 0 h 126"/>
                  <a:gd name="T10" fmla="*/ 2147483647 w 162"/>
                  <a:gd name="T11" fmla="*/ 2147483647 h 126"/>
                  <a:gd name="T12" fmla="*/ 2147483647 w 162"/>
                  <a:gd name="T13" fmla="*/ 2147483647 h 126"/>
                  <a:gd name="T14" fmla="*/ 2147483647 w 162"/>
                  <a:gd name="T15" fmla="*/ 2147483647 h 126"/>
                  <a:gd name="T16" fmla="*/ 2147483647 w 162"/>
                  <a:gd name="T17" fmla="*/ 2147483647 h 126"/>
                  <a:gd name="T18" fmla="*/ 2147483647 w 162"/>
                  <a:gd name="T19" fmla="*/ 2147483647 h 126"/>
                  <a:gd name="T20" fmla="*/ 2147483647 w 162"/>
                  <a:gd name="T21" fmla="*/ 2147483647 h 126"/>
                  <a:gd name="T22" fmla="*/ 0 w 162"/>
                  <a:gd name="T23" fmla="*/ 2147483647 h 126"/>
                  <a:gd name="T24" fmla="*/ 0 w 162"/>
                  <a:gd name="T25" fmla="*/ 2147483647 h 126"/>
                  <a:gd name="T26" fmla="*/ 2147483647 w 162"/>
                  <a:gd name="T27" fmla="*/ 2147483647 h 126"/>
                  <a:gd name="T28" fmla="*/ 2147483647 w 162"/>
                  <a:gd name="T29" fmla="*/ 2147483647 h 126"/>
                  <a:gd name="T30" fmla="*/ 2147483647 w 162"/>
                  <a:gd name="T31" fmla="*/ 2147483647 h 126"/>
                  <a:gd name="T32" fmla="*/ 2147483647 w 162"/>
                  <a:gd name="T33" fmla="*/ 2147483647 h 126"/>
                  <a:gd name="T34" fmla="*/ 2147483647 w 162"/>
                  <a:gd name="T35" fmla="*/ 2147483647 h 126"/>
                  <a:gd name="T36" fmla="*/ 2147483647 w 162"/>
                  <a:gd name="T37" fmla="*/ 2147483647 h 126"/>
                  <a:gd name="T38" fmla="*/ 2147483647 w 162"/>
                  <a:gd name="T39" fmla="*/ 2147483647 h 126"/>
                  <a:gd name="T40" fmla="*/ 2147483647 w 162"/>
                  <a:gd name="T41" fmla="*/ 2147483647 h 126"/>
                  <a:gd name="T42" fmla="*/ 2147483647 w 162"/>
                  <a:gd name="T43" fmla="*/ 2147483647 h 126"/>
                  <a:gd name="T44" fmla="*/ 2147483647 w 162"/>
                  <a:gd name="T45" fmla="*/ 2147483647 h 126"/>
                  <a:gd name="T46" fmla="*/ 2147483647 w 162"/>
                  <a:gd name="T47" fmla="*/ 2147483647 h 126"/>
                  <a:gd name="T48" fmla="*/ 2147483647 w 162"/>
                  <a:gd name="T49" fmla="*/ 2147483647 h 126"/>
                  <a:gd name="T50" fmla="*/ 2147483647 w 162"/>
                  <a:gd name="T51" fmla="*/ 2147483647 h 126"/>
                  <a:gd name="T52" fmla="*/ 2147483647 w 162"/>
                  <a:gd name="T53" fmla="*/ 2147483647 h 126"/>
                  <a:gd name="T54" fmla="*/ 2147483647 w 162"/>
                  <a:gd name="T55" fmla="*/ 2147483647 h 126"/>
                  <a:gd name="T56" fmla="*/ 2147483647 w 162"/>
                  <a:gd name="T57" fmla="*/ 2147483647 h 126"/>
                  <a:gd name="T58" fmla="*/ 2147483647 w 162"/>
                  <a:gd name="T59" fmla="*/ 2147483647 h 126"/>
                  <a:gd name="T60" fmla="*/ 2147483647 w 162"/>
                  <a:gd name="T61" fmla="*/ 2147483647 h 126"/>
                  <a:gd name="T62" fmla="*/ 2147483647 w 162"/>
                  <a:gd name="T63" fmla="*/ 2147483647 h 126"/>
                  <a:gd name="T64" fmla="*/ 2147483647 w 162"/>
                  <a:gd name="T65" fmla="*/ 2147483647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2"/>
                  <a:gd name="T100" fmla="*/ 0 h 126"/>
                  <a:gd name="T101" fmla="*/ 162 w 162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2" h="126">
                    <a:moveTo>
                      <a:pt x="150" y="42"/>
                    </a:moveTo>
                    <a:lnTo>
                      <a:pt x="132" y="30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1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18" y="36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78"/>
                    </a:lnTo>
                    <a:lnTo>
                      <a:pt x="6" y="102"/>
                    </a:lnTo>
                    <a:lnTo>
                      <a:pt x="12" y="108"/>
                    </a:lnTo>
                    <a:lnTo>
                      <a:pt x="18" y="108"/>
                    </a:lnTo>
                    <a:lnTo>
                      <a:pt x="18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90" y="126"/>
                    </a:lnTo>
                    <a:lnTo>
                      <a:pt x="96" y="114"/>
                    </a:lnTo>
                    <a:lnTo>
                      <a:pt x="96" y="108"/>
                    </a:lnTo>
                    <a:lnTo>
                      <a:pt x="120" y="108"/>
                    </a:lnTo>
                    <a:lnTo>
                      <a:pt x="132" y="102"/>
                    </a:lnTo>
                    <a:lnTo>
                      <a:pt x="156" y="78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48"/>
                    </a:lnTo>
                    <a:lnTo>
                      <a:pt x="15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4" name="Luxembourg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F7C066F-386B-730C-DF9E-342F4F78A7B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7344" y="2105365"/>
                <a:ext cx="23058" cy="19514"/>
              </a:xfrm>
              <a:custGeom>
                <a:avLst/>
                <a:gdLst>
                  <a:gd name="T0" fmla="*/ 2147483647 w 54"/>
                  <a:gd name="T1" fmla="*/ 2147483647 h 42"/>
                  <a:gd name="T2" fmla="*/ 2147483647 w 54"/>
                  <a:gd name="T3" fmla="*/ 2147483647 h 42"/>
                  <a:gd name="T4" fmla="*/ 2147483647 w 54"/>
                  <a:gd name="T5" fmla="*/ 2147483647 h 42"/>
                  <a:gd name="T6" fmla="*/ 2147483647 w 54"/>
                  <a:gd name="T7" fmla="*/ 2147483647 h 42"/>
                  <a:gd name="T8" fmla="*/ 2147483647 w 54"/>
                  <a:gd name="T9" fmla="*/ 2147483647 h 42"/>
                  <a:gd name="T10" fmla="*/ 2147483647 w 54"/>
                  <a:gd name="T11" fmla="*/ 2147483647 h 42"/>
                  <a:gd name="T12" fmla="*/ 2147483647 w 54"/>
                  <a:gd name="T13" fmla="*/ 2147483647 h 42"/>
                  <a:gd name="T14" fmla="*/ 2147483647 w 54"/>
                  <a:gd name="T15" fmla="*/ 2147483647 h 42"/>
                  <a:gd name="T16" fmla="*/ 2147483647 w 54"/>
                  <a:gd name="T17" fmla="*/ 0 h 42"/>
                  <a:gd name="T18" fmla="*/ 2147483647 w 54"/>
                  <a:gd name="T19" fmla="*/ 0 h 42"/>
                  <a:gd name="T20" fmla="*/ 2147483647 w 54"/>
                  <a:gd name="T21" fmla="*/ 2147483647 h 42"/>
                  <a:gd name="T22" fmla="*/ 2147483647 w 54"/>
                  <a:gd name="T23" fmla="*/ 2147483647 h 42"/>
                  <a:gd name="T24" fmla="*/ 0 w 54"/>
                  <a:gd name="T25" fmla="*/ 2147483647 h 42"/>
                  <a:gd name="T26" fmla="*/ 0 w 54"/>
                  <a:gd name="T27" fmla="*/ 2147483647 h 42"/>
                  <a:gd name="T28" fmla="*/ 2147483647 w 54"/>
                  <a:gd name="T29" fmla="*/ 2147483647 h 42"/>
                  <a:gd name="T30" fmla="*/ 2147483647 w 54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4"/>
                  <a:gd name="T49" fmla="*/ 0 h 42"/>
                  <a:gd name="T50" fmla="*/ 54 w 54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4" h="42">
                    <a:moveTo>
                      <a:pt x="18" y="42"/>
                    </a:moveTo>
                    <a:lnTo>
                      <a:pt x="30" y="36"/>
                    </a:lnTo>
                    <a:lnTo>
                      <a:pt x="48" y="42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2" y="30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6" name="Lithu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CFF6DC4-E6C1-0AFD-BFB3-912A8DFCC03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12392" y="1885395"/>
                <a:ext cx="152538" cy="88697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7" name="Liechtenste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09A2B11-B773-5F47-A3EB-6768E8A77EA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98446" y="2202930"/>
                <a:ext cx="7095" cy="10644"/>
              </a:xfrm>
              <a:custGeom>
                <a:avLst/>
                <a:gdLst>
                  <a:gd name="T0" fmla="*/ 2147483647 w 18"/>
                  <a:gd name="T1" fmla="*/ 0 h 24"/>
                  <a:gd name="T2" fmla="*/ 2147483647 w 18"/>
                  <a:gd name="T3" fmla="*/ 2147483647 h 24"/>
                  <a:gd name="T4" fmla="*/ 0 w 18"/>
                  <a:gd name="T5" fmla="*/ 2147483647 h 24"/>
                  <a:gd name="T6" fmla="*/ 0 w 18"/>
                  <a:gd name="T7" fmla="*/ 2147483647 h 24"/>
                  <a:gd name="T8" fmla="*/ 2147483647 w 18"/>
                  <a:gd name="T9" fmla="*/ 2147483647 h 24"/>
                  <a:gd name="T10" fmla="*/ 2147483647 w 18"/>
                  <a:gd name="T11" fmla="*/ 0 h 24"/>
                  <a:gd name="T12" fmla="*/ 2147483647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12" y="0"/>
                    </a:moveTo>
                    <a:lnTo>
                      <a:pt x="6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8" name="Leban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C9D7E25-4F49-D17D-1554-9ABCB522842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73556" y="2658834"/>
                <a:ext cx="47890" cy="70957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9" name="Lat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A511F94-5540-E17D-8FB1-F7C56F25FCB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1830402"/>
                <a:ext cx="191560" cy="81601"/>
              </a:xfrm>
              <a:custGeom>
                <a:avLst/>
                <a:gdLst>
                  <a:gd name="T0" fmla="*/ 2147483647 w 426"/>
                  <a:gd name="T1" fmla="*/ 2147483647 h 180"/>
                  <a:gd name="T2" fmla="*/ 2147483647 w 426"/>
                  <a:gd name="T3" fmla="*/ 2147483647 h 180"/>
                  <a:gd name="T4" fmla="*/ 2147483647 w 426"/>
                  <a:gd name="T5" fmla="*/ 2147483647 h 180"/>
                  <a:gd name="T6" fmla="*/ 2147483647 w 426"/>
                  <a:gd name="T7" fmla="*/ 2147483647 h 180"/>
                  <a:gd name="T8" fmla="*/ 2147483647 w 426"/>
                  <a:gd name="T9" fmla="*/ 2147483647 h 180"/>
                  <a:gd name="T10" fmla="*/ 2147483647 w 426"/>
                  <a:gd name="T11" fmla="*/ 2147483647 h 180"/>
                  <a:gd name="T12" fmla="*/ 2147483647 w 426"/>
                  <a:gd name="T13" fmla="*/ 2147483647 h 180"/>
                  <a:gd name="T14" fmla="*/ 2147483647 w 426"/>
                  <a:gd name="T15" fmla="*/ 2147483647 h 180"/>
                  <a:gd name="T16" fmla="*/ 2147483647 w 426"/>
                  <a:gd name="T17" fmla="*/ 2147483647 h 180"/>
                  <a:gd name="T18" fmla="*/ 2147483647 w 426"/>
                  <a:gd name="T19" fmla="*/ 2147483647 h 180"/>
                  <a:gd name="T20" fmla="*/ 2147483647 w 426"/>
                  <a:gd name="T21" fmla="*/ 2147483647 h 180"/>
                  <a:gd name="T22" fmla="*/ 2147483647 w 426"/>
                  <a:gd name="T23" fmla="*/ 2147483647 h 180"/>
                  <a:gd name="T24" fmla="*/ 2147483647 w 426"/>
                  <a:gd name="T25" fmla="*/ 2147483647 h 180"/>
                  <a:gd name="T26" fmla="*/ 2147483647 w 426"/>
                  <a:gd name="T27" fmla="*/ 2147483647 h 180"/>
                  <a:gd name="T28" fmla="*/ 2147483647 w 426"/>
                  <a:gd name="T29" fmla="*/ 2147483647 h 180"/>
                  <a:gd name="T30" fmla="*/ 2147483647 w 426"/>
                  <a:gd name="T31" fmla="*/ 2147483647 h 180"/>
                  <a:gd name="T32" fmla="*/ 2147483647 w 426"/>
                  <a:gd name="T33" fmla="*/ 2147483647 h 180"/>
                  <a:gd name="T34" fmla="*/ 2147483647 w 426"/>
                  <a:gd name="T35" fmla="*/ 2147483647 h 180"/>
                  <a:gd name="T36" fmla="*/ 2147483647 w 426"/>
                  <a:gd name="T37" fmla="*/ 2147483647 h 180"/>
                  <a:gd name="T38" fmla="*/ 2147483647 w 426"/>
                  <a:gd name="T39" fmla="*/ 2147483647 h 180"/>
                  <a:gd name="T40" fmla="*/ 2147483647 w 426"/>
                  <a:gd name="T41" fmla="*/ 2147483647 h 180"/>
                  <a:gd name="T42" fmla="*/ 2147483647 w 426"/>
                  <a:gd name="T43" fmla="*/ 2147483647 h 180"/>
                  <a:gd name="T44" fmla="*/ 2147483647 w 426"/>
                  <a:gd name="T45" fmla="*/ 2147483647 h 180"/>
                  <a:gd name="T46" fmla="*/ 2147483647 w 426"/>
                  <a:gd name="T47" fmla="*/ 2147483647 h 180"/>
                  <a:gd name="T48" fmla="*/ 2147483647 w 426"/>
                  <a:gd name="T49" fmla="*/ 2147483647 h 180"/>
                  <a:gd name="T50" fmla="*/ 2147483647 w 426"/>
                  <a:gd name="T51" fmla="*/ 2147483647 h 180"/>
                  <a:gd name="T52" fmla="*/ 2147483647 w 426"/>
                  <a:gd name="T53" fmla="*/ 2147483647 h 180"/>
                  <a:gd name="T54" fmla="*/ 2147483647 w 426"/>
                  <a:gd name="T55" fmla="*/ 2147483647 h 180"/>
                  <a:gd name="T56" fmla="*/ 2147483647 w 426"/>
                  <a:gd name="T57" fmla="*/ 2147483647 h 180"/>
                  <a:gd name="T58" fmla="*/ 2147483647 w 426"/>
                  <a:gd name="T59" fmla="*/ 2147483647 h 180"/>
                  <a:gd name="T60" fmla="*/ 2147483647 w 426"/>
                  <a:gd name="T61" fmla="*/ 0 h 180"/>
                  <a:gd name="T62" fmla="*/ 2147483647 w 426"/>
                  <a:gd name="T63" fmla="*/ 2147483647 h 180"/>
                  <a:gd name="T64" fmla="*/ 2147483647 w 426"/>
                  <a:gd name="T65" fmla="*/ 2147483647 h 180"/>
                  <a:gd name="T66" fmla="*/ 2147483647 w 426"/>
                  <a:gd name="T67" fmla="*/ 2147483647 h 180"/>
                  <a:gd name="T68" fmla="*/ 2147483647 w 426"/>
                  <a:gd name="T69" fmla="*/ 2147483647 h 180"/>
                  <a:gd name="T70" fmla="*/ 2147483647 w 426"/>
                  <a:gd name="T71" fmla="*/ 2147483647 h 180"/>
                  <a:gd name="T72" fmla="*/ 2147483647 w 426"/>
                  <a:gd name="T73" fmla="*/ 2147483647 h 180"/>
                  <a:gd name="T74" fmla="*/ 2147483647 w 426"/>
                  <a:gd name="T75" fmla="*/ 2147483647 h 180"/>
                  <a:gd name="T76" fmla="*/ 2147483647 w 426"/>
                  <a:gd name="T77" fmla="*/ 2147483647 h 180"/>
                  <a:gd name="T78" fmla="*/ 2147483647 w 426"/>
                  <a:gd name="T79" fmla="*/ 2147483647 h 180"/>
                  <a:gd name="T80" fmla="*/ 2147483647 w 426"/>
                  <a:gd name="T81" fmla="*/ 2147483647 h 180"/>
                  <a:gd name="T82" fmla="*/ 2147483647 w 426"/>
                  <a:gd name="T83" fmla="*/ 2147483647 h 180"/>
                  <a:gd name="T84" fmla="*/ 0 w 426"/>
                  <a:gd name="T85" fmla="*/ 2147483647 h 180"/>
                  <a:gd name="T86" fmla="*/ 2147483647 w 426"/>
                  <a:gd name="T87" fmla="*/ 2147483647 h 1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6"/>
                  <a:gd name="T133" fmla="*/ 0 h 180"/>
                  <a:gd name="T134" fmla="*/ 426 w 426"/>
                  <a:gd name="T135" fmla="*/ 180 h 1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6" h="180">
                    <a:moveTo>
                      <a:pt x="6" y="144"/>
                    </a:moveTo>
                    <a:lnTo>
                      <a:pt x="6" y="138"/>
                    </a:lnTo>
                    <a:lnTo>
                      <a:pt x="12" y="138"/>
                    </a:lnTo>
                    <a:lnTo>
                      <a:pt x="24" y="132"/>
                    </a:lnTo>
                    <a:lnTo>
                      <a:pt x="66" y="132"/>
                    </a:lnTo>
                    <a:lnTo>
                      <a:pt x="78" y="120"/>
                    </a:lnTo>
                    <a:lnTo>
                      <a:pt x="96" y="120"/>
                    </a:lnTo>
                    <a:lnTo>
                      <a:pt x="102" y="126"/>
                    </a:lnTo>
                    <a:lnTo>
                      <a:pt x="108" y="126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2"/>
                    </a:lnTo>
                    <a:lnTo>
                      <a:pt x="180" y="132"/>
                    </a:lnTo>
                    <a:lnTo>
                      <a:pt x="186" y="138"/>
                    </a:lnTo>
                    <a:lnTo>
                      <a:pt x="204" y="138"/>
                    </a:lnTo>
                    <a:lnTo>
                      <a:pt x="216" y="126"/>
                    </a:lnTo>
                    <a:lnTo>
                      <a:pt x="228" y="126"/>
                    </a:lnTo>
                    <a:lnTo>
                      <a:pt x="234" y="132"/>
                    </a:lnTo>
                    <a:lnTo>
                      <a:pt x="240" y="144"/>
                    </a:lnTo>
                    <a:lnTo>
                      <a:pt x="270" y="144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300" y="162"/>
                    </a:lnTo>
                    <a:lnTo>
                      <a:pt x="318" y="174"/>
                    </a:lnTo>
                    <a:lnTo>
                      <a:pt x="336" y="180"/>
                    </a:lnTo>
                    <a:lnTo>
                      <a:pt x="360" y="168"/>
                    </a:lnTo>
                    <a:lnTo>
                      <a:pt x="378" y="168"/>
                    </a:lnTo>
                    <a:lnTo>
                      <a:pt x="384" y="174"/>
                    </a:lnTo>
                    <a:lnTo>
                      <a:pt x="390" y="168"/>
                    </a:lnTo>
                    <a:lnTo>
                      <a:pt x="396" y="168"/>
                    </a:lnTo>
                    <a:lnTo>
                      <a:pt x="402" y="162"/>
                    </a:lnTo>
                    <a:lnTo>
                      <a:pt x="408" y="150"/>
                    </a:lnTo>
                    <a:lnTo>
                      <a:pt x="414" y="144"/>
                    </a:lnTo>
                    <a:lnTo>
                      <a:pt x="420" y="150"/>
                    </a:lnTo>
                    <a:lnTo>
                      <a:pt x="426" y="150"/>
                    </a:lnTo>
                    <a:lnTo>
                      <a:pt x="426" y="126"/>
                    </a:lnTo>
                    <a:lnTo>
                      <a:pt x="414" y="114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78" y="90"/>
                    </a:lnTo>
                    <a:lnTo>
                      <a:pt x="384" y="72"/>
                    </a:lnTo>
                    <a:lnTo>
                      <a:pt x="402" y="72"/>
                    </a:lnTo>
                    <a:lnTo>
                      <a:pt x="402" y="66"/>
                    </a:lnTo>
                    <a:lnTo>
                      <a:pt x="396" y="60"/>
                    </a:lnTo>
                    <a:lnTo>
                      <a:pt x="384" y="54"/>
                    </a:lnTo>
                    <a:lnTo>
                      <a:pt x="372" y="42"/>
                    </a:lnTo>
                    <a:lnTo>
                      <a:pt x="354" y="42"/>
                    </a:lnTo>
                    <a:lnTo>
                      <a:pt x="348" y="36"/>
                    </a:lnTo>
                    <a:lnTo>
                      <a:pt x="330" y="36"/>
                    </a:lnTo>
                    <a:lnTo>
                      <a:pt x="324" y="42"/>
                    </a:lnTo>
                    <a:lnTo>
                      <a:pt x="306" y="42"/>
                    </a:lnTo>
                    <a:lnTo>
                      <a:pt x="288" y="24"/>
                    </a:lnTo>
                    <a:lnTo>
                      <a:pt x="276" y="18"/>
                    </a:lnTo>
                    <a:lnTo>
                      <a:pt x="270" y="12"/>
                    </a:lnTo>
                    <a:lnTo>
                      <a:pt x="246" y="0"/>
                    </a:lnTo>
                    <a:lnTo>
                      <a:pt x="216" y="0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6" y="42"/>
                    </a:lnTo>
                    <a:lnTo>
                      <a:pt x="186" y="60"/>
                    </a:lnTo>
                    <a:lnTo>
                      <a:pt x="192" y="66"/>
                    </a:lnTo>
                    <a:lnTo>
                      <a:pt x="186" y="78"/>
                    </a:lnTo>
                    <a:lnTo>
                      <a:pt x="156" y="78"/>
                    </a:lnTo>
                    <a:lnTo>
                      <a:pt x="138" y="72"/>
                    </a:lnTo>
                    <a:lnTo>
                      <a:pt x="126" y="72"/>
                    </a:lnTo>
                    <a:lnTo>
                      <a:pt x="114" y="54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0" y="30"/>
                    </a:lnTo>
                    <a:lnTo>
                      <a:pt x="48" y="30"/>
                    </a:lnTo>
                    <a:lnTo>
                      <a:pt x="36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18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6" y="150"/>
                    </a:lnTo>
                    <a:lnTo>
                      <a:pt x="6" y="14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0" name="Ital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C7A0EF8-261B-9844-F564-F1C0EAFE0AD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18630" y="2210026"/>
                <a:ext cx="349420" cy="374302"/>
              </a:xfrm>
              <a:custGeom>
                <a:avLst/>
                <a:gdLst>
                  <a:gd name="T0" fmla="*/ 2147483647 w 780"/>
                  <a:gd name="T1" fmla="*/ 2147483647 h 828"/>
                  <a:gd name="T2" fmla="*/ 2147483647 w 780"/>
                  <a:gd name="T3" fmla="*/ 2147483647 h 828"/>
                  <a:gd name="T4" fmla="*/ 2147483647 w 780"/>
                  <a:gd name="T5" fmla="*/ 2147483647 h 828"/>
                  <a:gd name="T6" fmla="*/ 2147483647 w 780"/>
                  <a:gd name="T7" fmla="*/ 2147483647 h 828"/>
                  <a:gd name="T8" fmla="*/ 2147483647 w 780"/>
                  <a:gd name="T9" fmla="*/ 2147483647 h 828"/>
                  <a:gd name="T10" fmla="*/ 2147483647 w 780"/>
                  <a:gd name="T11" fmla="*/ 2147483647 h 828"/>
                  <a:gd name="T12" fmla="*/ 2147483647 w 780"/>
                  <a:gd name="T13" fmla="*/ 2147483647 h 828"/>
                  <a:gd name="T14" fmla="*/ 2147483647 w 780"/>
                  <a:gd name="T15" fmla="*/ 2147483647 h 828"/>
                  <a:gd name="T16" fmla="*/ 2147483647 w 780"/>
                  <a:gd name="T17" fmla="*/ 2147483647 h 828"/>
                  <a:gd name="T18" fmla="*/ 2147483647 w 780"/>
                  <a:gd name="T19" fmla="*/ 2147483647 h 828"/>
                  <a:gd name="T20" fmla="*/ 2147483647 w 780"/>
                  <a:gd name="T21" fmla="*/ 2147483647 h 828"/>
                  <a:gd name="T22" fmla="*/ 2147483647 w 780"/>
                  <a:gd name="T23" fmla="*/ 2147483647 h 828"/>
                  <a:gd name="T24" fmla="*/ 2147483647 w 780"/>
                  <a:gd name="T25" fmla="*/ 2147483647 h 828"/>
                  <a:gd name="T26" fmla="*/ 2147483647 w 780"/>
                  <a:gd name="T27" fmla="*/ 2147483647 h 828"/>
                  <a:gd name="T28" fmla="*/ 2147483647 w 780"/>
                  <a:gd name="T29" fmla="*/ 2147483647 h 828"/>
                  <a:gd name="T30" fmla="*/ 2147483647 w 780"/>
                  <a:gd name="T31" fmla="*/ 2147483647 h 828"/>
                  <a:gd name="T32" fmla="*/ 2147483647 w 780"/>
                  <a:gd name="T33" fmla="*/ 2147483647 h 828"/>
                  <a:gd name="T34" fmla="*/ 2147483647 w 780"/>
                  <a:gd name="T35" fmla="*/ 2147483647 h 828"/>
                  <a:gd name="T36" fmla="*/ 2147483647 w 780"/>
                  <a:gd name="T37" fmla="*/ 2147483647 h 828"/>
                  <a:gd name="T38" fmla="*/ 2147483647 w 780"/>
                  <a:gd name="T39" fmla="*/ 2147483647 h 828"/>
                  <a:gd name="T40" fmla="*/ 2147483647 w 780"/>
                  <a:gd name="T41" fmla="*/ 2147483647 h 828"/>
                  <a:gd name="T42" fmla="*/ 2147483647 w 780"/>
                  <a:gd name="T43" fmla="*/ 2147483647 h 828"/>
                  <a:gd name="T44" fmla="*/ 2147483647 w 780"/>
                  <a:gd name="T45" fmla="*/ 2147483647 h 828"/>
                  <a:gd name="T46" fmla="*/ 2147483647 w 780"/>
                  <a:gd name="T47" fmla="*/ 2147483647 h 828"/>
                  <a:gd name="T48" fmla="*/ 2147483647 w 780"/>
                  <a:gd name="T49" fmla="*/ 2147483647 h 828"/>
                  <a:gd name="T50" fmla="*/ 2147483647 w 780"/>
                  <a:gd name="T51" fmla="*/ 2147483647 h 828"/>
                  <a:gd name="T52" fmla="*/ 2147483647 w 780"/>
                  <a:gd name="T53" fmla="*/ 2147483647 h 828"/>
                  <a:gd name="T54" fmla="*/ 2147483647 w 780"/>
                  <a:gd name="T55" fmla="*/ 2147483647 h 828"/>
                  <a:gd name="T56" fmla="*/ 2147483647 w 780"/>
                  <a:gd name="T57" fmla="*/ 2147483647 h 828"/>
                  <a:gd name="T58" fmla="*/ 2147483647 w 780"/>
                  <a:gd name="T59" fmla="*/ 2147483647 h 828"/>
                  <a:gd name="T60" fmla="*/ 2147483647 w 780"/>
                  <a:gd name="T61" fmla="*/ 2147483647 h 828"/>
                  <a:gd name="T62" fmla="*/ 2147483647 w 780"/>
                  <a:gd name="T63" fmla="*/ 2147483647 h 828"/>
                  <a:gd name="T64" fmla="*/ 2147483647 w 780"/>
                  <a:gd name="T65" fmla="*/ 2147483647 h 828"/>
                  <a:gd name="T66" fmla="*/ 2147483647 w 780"/>
                  <a:gd name="T67" fmla="*/ 2147483647 h 828"/>
                  <a:gd name="T68" fmla="*/ 2147483647 w 780"/>
                  <a:gd name="T69" fmla="*/ 2147483647 h 828"/>
                  <a:gd name="T70" fmla="*/ 2147483647 w 780"/>
                  <a:gd name="T71" fmla="*/ 2147483647 h 828"/>
                  <a:gd name="T72" fmla="*/ 2147483647 w 780"/>
                  <a:gd name="T73" fmla="*/ 2147483647 h 828"/>
                  <a:gd name="T74" fmla="*/ 2147483647 w 780"/>
                  <a:gd name="T75" fmla="*/ 2147483647 h 828"/>
                  <a:gd name="T76" fmla="*/ 2147483647 w 780"/>
                  <a:gd name="T77" fmla="*/ 2147483647 h 828"/>
                  <a:gd name="T78" fmla="*/ 2147483647 w 780"/>
                  <a:gd name="T79" fmla="*/ 2147483647 h 828"/>
                  <a:gd name="T80" fmla="*/ 2147483647 w 780"/>
                  <a:gd name="T81" fmla="*/ 2147483647 h 828"/>
                  <a:gd name="T82" fmla="*/ 2147483647 w 780"/>
                  <a:gd name="T83" fmla="*/ 2147483647 h 828"/>
                  <a:gd name="T84" fmla="*/ 2147483647 w 780"/>
                  <a:gd name="T85" fmla="*/ 2147483647 h 828"/>
                  <a:gd name="T86" fmla="*/ 2147483647 w 780"/>
                  <a:gd name="T87" fmla="*/ 2147483647 h 828"/>
                  <a:gd name="T88" fmla="*/ 2147483647 w 780"/>
                  <a:gd name="T89" fmla="*/ 2147483647 h 828"/>
                  <a:gd name="T90" fmla="*/ 2147483647 w 780"/>
                  <a:gd name="T91" fmla="*/ 2147483647 h 828"/>
                  <a:gd name="T92" fmla="*/ 2147483647 w 780"/>
                  <a:gd name="T93" fmla="*/ 2147483647 h 828"/>
                  <a:gd name="T94" fmla="*/ 2147483647 w 780"/>
                  <a:gd name="T95" fmla="*/ 2147483647 h 828"/>
                  <a:gd name="T96" fmla="*/ 2147483647 w 780"/>
                  <a:gd name="T97" fmla="*/ 2147483647 h 828"/>
                  <a:gd name="T98" fmla="*/ 2147483647 w 780"/>
                  <a:gd name="T99" fmla="*/ 2147483647 h 828"/>
                  <a:gd name="T100" fmla="*/ 2147483647 w 780"/>
                  <a:gd name="T101" fmla="*/ 2147483647 h 828"/>
                  <a:gd name="T102" fmla="*/ 2147483647 w 780"/>
                  <a:gd name="T103" fmla="*/ 2147483647 h 828"/>
                  <a:gd name="T104" fmla="*/ 2147483647 w 780"/>
                  <a:gd name="T105" fmla="*/ 2147483647 h 828"/>
                  <a:gd name="T106" fmla="*/ 2147483647 w 780"/>
                  <a:gd name="T107" fmla="*/ 2147483647 h 828"/>
                  <a:gd name="T108" fmla="*/ 2147483647 w 780"/>
                  <a:gd name="T109" fmla="*/ 2147483647 h 828"/>
                  <a:gd name="T110" fmla="*/ 2147483647 w 780"/>
                  <a:gd name="T111" fmla="*/ 2147483647 h 828"/>
                  <a:gd name="T112" fmla="*/ 2147483647 w 780"/>
                  <a:gd name="T113" fmla="*/ 2147483647 h 82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0"/>
                  <a:gd name="T172" fmla="*/ 0 h 828"/>
                  <a:gd name="T173" fmla="*/ 780 w 780"/>
                  <a:gd name="T174" fmla="*/ 828 h 82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0" h="828">
                    <a:moveTo>
                      <a:pt x="570" y="720"/>
                    </a:moveTo>
                    <a:lnTo>
                      <a:pt x="558" y="714"/>
                    </a:lnTo>
                    <a:lnTo>
                      <a:pt x="552" y="708"/>
                    </a:lnTo>
                    <a:lnTo>
                      <a:pt x="540" y="708"/>
                    </a:lnTo>
                    <a:lnTo>
                      <a:pt x="534" y="714"/>
                    </a:lnTo>
                    <a:lnTo>
                      <a:pt x="522" y="720"/>
                    </a:lnTo>
                    <a:lnTo>
                      <a:pt x="516" y="726"/>
                    </a:lnTo>
                    <a:lnTo>
                      <a:pt x="468" y="726"/>
                    </a:lnTo>
                    <a:lnTo>
                      <a:pt x="456" y="720"/>
                    </a:lnTo>
                    <a:lnTo>
                      <a:pt x="444" y="708"/>
                    </a:lnTo>
                    <a:lnTo>
                      <a:pt x="438" y="708"/>
                    </a:lnTo>
                    <a:lnTo>
                      <a:pt x="420" y="726"/>
                    </a:lnTo>
                    <a:lnTo>
                      <a:pt x="402" y="714"/>
                    </a:lnTo>
                    <a:lnTo>
                      <a:pt x="396" y="714"/>
                    </a:lnTo>
                    <a:lnTo>
                      <a:pt x="384" y="726"/>
                    </a:lnTo>
                    <a:lnTo>
                      <a:pt x="384" y="738"/>
                    </a:lnTo>
                    <a:lnTo>
                      <a:pt x="396" y="750"/>
                    </a:lnTo>
                    <a:lnTo>
                      <a:pt x="420" y="762"/>
                    </a:lnTo>
                    <a:lnTo>
                      <a:pt x="426" y="762"/>
                    </a:lnTo>
                    <a:lnTo>
                      <a:pt x="444" y="780"/>
                    </a:lnTo>
                    <a:lnTo>
                      <a:pt x="444" y="786"/>
                    </a:lnTo>
                    <a:lnTo>
                      <a:pt x="456" y="786"/>
                    </a:lnTo>
                    <a:lnTo>
                      <a:pt x="468" y="798"/>
                    </a:lnTo>
                    <a:lnTo>
                      <a:pt x="480" y="804"/>
                    </a:lnTo>
                    <a:lnTo>
                      <a:pt x="498" y="798"/>
                    </a:lnTo>
                    <a:lnTo>
                      <a:pt x="504" y="804"/>
                    </a:lnTo>
                    <a:lnTo>
                      <a:pt x="516" y="810"/>
                    </a:lnTo>
                    <a:lnTo>
                      <a:pt x="522" y="822"/>
                    </a:lnTo>
                    <a:lnTo>
                      <a:pt x="534" y="828"/>
                    </a:lnTo>
                    <a:lnTo>
                      <a:pt x="558" y="828"/>
                    </a:lnTo>
                    <a:lnTo>
                      <a:pt x="570" y="816"/>
                    </a:lnTo>
                    <a:lnTo>
                      <a:pt x="570" y="792"/>
                    </a:lnTo>
                    <a:lnTo>
                      <a:pt x="564" y="780"/>
                    </a:lnTo>
                    <a:lnTo>
                      <a:pt x="564" y="768"/>
                    </a:lnTo>
                    <a:lnTo>
                      <a:pt x="570" y="750"/>
                    </a:lnTo>
                    <a:lnTo>
                      <a:pt x="576" y="738"/>
                    </a:lnTo>
                    <a:lnTo>
                      <a:pt x="582" y="732"/>
                    </a:lnTo>
                    <a:lnTo>
                      <a:pt x="582" y="714"/>
                    </a:lnTo>
                    <a:lnTo>
                      <a:pt x="576" y="702"/>
                    </a:lnTo>
                    <a:lnTo>
                      <a:pt x="570" y="720"/>
                    </a:lnTo>
                    <a:close/>
                    <a:moveTo>
                      <a:pt x="180" y="468"/>
                    </a:moveTo>
                    <a:lnTo>
                      <a:pt x="156" y="480"/>
                    </a:lnTo>
                    <a:lnTo>
                      <a:pt x="150" y="486"/>
                    </a:lnTo>
                    <a:lnTo>
                      <a:pt x="138" y="492"/>
                    </a:lnTo>
                    <a:lnTo>
                      <a:pt x="132" y="498"/>
                    </a:lnTo>
                    <a:lnTo>
                      <a:pt x="126" y="498"/>
                    </a:lnTo>
                    <a:lnTo>
                      <a:pt x="114" y="492"/>
                    </a:lnTo>
                    <a:lnTo>
                      <a:pt x="102" y="480"/>
                    </a:lnTo>
                    <a:lnTo>
                      <a:pt x="96" y="498"/>
                    </a:lnTo>
                    <a:lnTo>
                      <a:pt x="102" y="504"/>
                    </a:lnTo>
                    <a:lnTo>
                      <a:pt x="114" y="510"/>
                    </a:lnTo>
                    <a:lnTo>
                      <a:pt x="120" y="522"/>
                    </a:lnTo>
                    <a:lnTo>
                      <a:pt x="120" y="540"/>
                    </a:lnTo>
                    <a:lnTo>
                      <a:pt x="114" y="558"/>
                    </a:lnTo>
                    <a:lnTo>
                      <a:pt x="114" y="570"/>
                    </a:lnTo>
                    <a:lnTo>
                      <a:pt x="126" y="582"/>
                    </a:lnTo>
                    <a:lnTo>
                      <a:pt x="114" y="588"/>
                    </a:lnTo>
                    <a:lnTo>
                      <a:pt x="120" y="636"/>
                    </a:lnTo>
                    <a:lnTo>
                      <a:pt x="108" y="636"/>
                    </a:lnTo>
                    <a:lnTo>
                      <a:pt x="126" y="654"/>
                    </a:lnTo>
                    <a:lnTo>
                      <a:pt x="138" y="654"/>
                    </a:lnTo>
                    <a:lnTo>
                      <a:pt x="144" y="642"/>
                    </a:lnTo>
                    <a:lnTo>
                      <a:pt x="156" y="630"/>
                    </a:lnTo>
                    <a:lnTo>
                      <a:pt x="156" y="618"/>
                    </a:lnTo>
                    <a:lnTo>
                      <a:pt x="168" y="630"/>
                    </a:lnTo>
                    <a:lnTo>
                      <a:pt x="180" y="636"/>
                    </a:lnTo>
                    <a:lnTo>
                      <a:pt x="186" y="636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198" y="594"/>
                    </a:lnTo>
                    <a:lnTo>
                      <a:pt x="204" y="582"/>
                    </a:lnTo>
                    <a:lnTo>
                      <a:pt x="204" y="558"/>
                    </a:lnTo>
                    <a:lnTo>
                      <a:pt x="198" y="552"/>
                    </a:lnTo>
                    <a:lnTo>
                      <a:pt x="192" y="552"/>
                    </a:lnTo>
                    <a:lnTo>
                      <a:pt x="192" y="546"/>
                    </a:lnTo>
                    <a:lnTo>
                      <a:pt x="198" y="540"/>
                    </a:lnTo>
                    <a:lnTo>
                      <a:pt x="204" y="540"/>
                    </a:lnTo>
                    <a:lnTo>
                      <a:pt x="210" y="534"/>
                    </a:lnTo>
                    <a:lnTo>
                      <a:pt x="210" y="522"/>
                    </a:lnTo>
                    <a:lnTo>
                      <a:pt x="204" y="510"/>
                    </a:lnTo>
                    <a:lnTo>
                      <a:pt x="204" y="492"/>
                    </a:lnTo>
                    <a:lnTo>
                      <a:pt x="198" y="480"/>
                    </a:lnTo>
                    <a:lnTo>
                      <a:pt x="186" y="474"/>
                    </a:lnTo>
                    <a:lnTo>
                      <a:pt x="180" y="468"/>
                    </a:lnTo>
                    <a:close/>
                    <a:moveTo>
                      <a:pt x="774" y="546"/>
                    </a:moveTo>
                    <a:lnTo>
                      <a:pt x="768" y="534"/>
                    </a:lnTo>
                    <a:lnTo>
                      <a:pt x="756" y="528"/>
                    </a:lnTo>
                    <a:lnTo>
                      <a:pt x="738" y="51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74"/>
                    </a:lnTo>
                    <a:lnTo>
                      <a:pt x="648" y="474"/>
                    </a:lnTo>
                    <a:lnTo>
                      <a:pt x="630" y="468"/>
                    </a:lnTo>
                    <a:lnTo>
                      <a:pt x="606" y="456"/>
                    </a:lnTo>
                    <a:lnTo>
                      <a:pt x="606" y="450"/>
                    </a:lnTo>
                    <a:lnTo>
                      <a:pt x="612" y="438"/>
                    </a:lnTo>
                    <a:lnTo>
                      <a:pt x="624" y="426"/>
                    </a:lnTo>
                    <a:lnTo>
                      <a:pt x="624" y="420"/>
                    </a:lnTo>
                    <a:lnTo>
                      <a:pt x="618" y="414"/>
                    </a:lnTo>
                    <a:lnTo>
                      <a:pt x="612" y="414"/>
                    </a:lnTo>
                    <a:lnTo>
                      <a:pt x="594" y="408"/>
                    </a:lnTo>
                    <a:lnTo>
                      <a:pt x="552" y="408"/>
                    </a:lnTo>
                    <a:lnTo>
                      <a:pt x="540" y="402"/>
                    </a:lnTo>
                    <a:lnTo>
                      <a:pt x="534" y="396"/>
                    </a:lnTo>
                    <a:lnTo>
                      <a:pt x="516" y="384"/>
                    </a:lnTo>
                    <a:lnTo>
                      <a:pt x="492" y="360"/>
                    </a:lnTo>
                    <a:lnTo>
                      <a:pt x="480" y="342"/>
                    </a:lnTo>
                    <a:lnTo>
                      <a:pt x="474" y="336"/>
                    </a:lnTo>
                    <a:lnTo>
                      <a:pt x="468" y="324"/>
                    </a:lnTo>
                    <a:lnTo>
                      <a:pt x="468" y="312"/>
                    </a:lnTo>
                    <a:lnTo>
                      <a:pt x="450" y="276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20" y="258"/>
                    </a:lnTo>
                    <a:lnTo>
                      <a:pt x="414" y="252"/>
                    </a:lnTo>
                    <a:lnTo>
                      <a:pt x="378" y="222"/>
                    </a:lnTo>
                    <a:lnTo>
                      <a:pt x="372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66" y="180"/>
                    </a:lnTo>
                    <a:lnTo>
                      <a:pt x="384" y="180"/>
                    </a:lnTo>
                    <a:lnTo>
                      <a:pt x="384" y="174"/>
                    </a:lnTo>
                    <a:lnTo>
                      <a:pt x="372" y="162"/>
                    </a:lnTo>
                    <a:lnTo>
                      <a:pt x="366" y="150"/>
                    </a:lnTo>
                    <a:lnTo>
                      <a:pt x="366" y="138"/>
                    </a:lnTo>
                    <a:lnTo>
                      <a:pt x="402" y="120"/>
                    </a:lnTo>
                    <a:lnTo>
                      <a:pt x="408" y="114"/>
                    </a:lnTo>
                    <a:lnTo>
                      <a:pt x="414" y="114"/>
                    </a:lnTo>
                    <a:lnTo>
                      <a:pt x="438" y="108"/>
                    </a:lnTo>
                    <a:lnTo>
                      <a:pt x="444" y="72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2"/>
                    </a:lnTo>
                    <a:lnTo>
                      <a:pt x="384" y="42"/>
                    </a:lnTo>
                    <a:lnTo>
                      <a:pt x="378" y="24"/>
                    </a:lnTo>
                    <a:lnTo>
                      <a:pt x="366" y="24"/>
                    </a:lnTo>
                    <a:lnTo>
                      <a:pt x="366" y="6"/>
                    </a:lnTo>
                    <a:lnTo>
                      <a:pt x="360" y="0"/>
                    </a:lnTo>
                    <a:lnTo>
                      <a:pt x="342" y="0"/>
                    </a:lnTo>
                    <a:lnTo>
                      <a:pt x="336" y="6"/>
                    </a:lnTo>
                    <a:lnTo>
                      <a:pt x="336" y="12"/>
                    </a:lnTo>
                    <a:lnTo>
                      <a:pt x="294" y="12"/>
                    </a:lnTo>
                    <a:lnTo>
                      <a:pt x="282" y="30"/>
                    </a:lnTo>
                    <a:lnTo>
                      <a:pt x="270" y="24"/>
                    </a:lnTo>
                    <a:lnTo>
                      <a:pt x="252" y="24"/>
                    </a:lnTo>
                    <a:lnTo>
                      <a:pt x="246" y="42"/>
                    </a:lnTo>
                    <a:lnTo>
                      <a:pt x="222" y="42"/>
                    </a:lnTo>
                    <a:lnTo>
                      <a:pt x="222" y="48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0" y="60"/>
                    </a:lnTo>
                    <a:lnTo>
                      <a:pt x="192" y="66"/>
                    </a:lnTo>
                    <a:lnTo>
                      <a:pt x="180" y="48"/>
                    </a:lnTo>
                    <a:lnTo>
                      <a:pt x="174" y="72"/>
                    </a:lnTo>
                    <a:lnTo>
                      <a:pt x="162" y="84"/>
                    </a:lnTo>
                    <a:lnTo>
                      <a:pt x="162" y="102"/>
                    </a:lnTo>
                    <a:lnTo>
                      <a:pt x="138" y="78"/>
                    </a:lnTo>
                    <a:lnTo>
                      <a:pt x="132" y="78"/>
                    </a:lnTo>
                    <a:lnTo>
                      <a:pt x="132" y="72"/>
                    </a:lnTo>
                    <a:lnTo>
                      <a:pt x="126" y="66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84" y="96"/>
                    </a:lnTo>
                    <a:lnTo>
                      <a:pt x="78" y="96"/>
                    </a:lnTo>
                    <a:lnTo>
                      <a:pt x="66" y="84"/>
                    </a:lnTo>
                    <a:lnTo>
                      <a:pt x="54" y="84"/>
                    </a:lnTo>
                    <a:lnTo>
                      <a:pt x="42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42" y="132"/>
                    </a:lnTo>
                    <a:lnTo>
                      <a:pt x="42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12" y="174"/>
                    </a:lnTo>
                    <a:lnTo>
                      <a:pt x="24" y="174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24" y="198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22"/>
                    </a:lnTo>
                    <a:lnTo>
                      <a:pt x="36" y="228"/>
                    </a:lnTo>
                    <a:lnTo>
                      <a:pt x="42" y="228"/>
                    </a:lnTo>
                    <a:lnTo>
                      <a:pt x="42" y="234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2" y="246"/>
                    </a:lnTo>
                    <a:lnTo>
                      <a:pt x="54" y="264"/>
                    </a:lnTo>
                    <a:lnTo>
                      <a:pt x="54" y="270"/>
                    </a:lnTo>
                    <a:lnTo>
                      <a:pt x="66" y="270"/>
                    </a:lnTo>
                    <a:lnTo>
                      <a:pt x="90" y="258"/>
                    </a:lnTo>
                    <a:lnTo>
                      <a:pt x="120" y="228"/>
                    </a:lnTo>
                    <a:lnTo>
                      <a:pt x="144" y="216"/>
                    </a:lnTo>
                    <a:lnTo>
                      <a:pt x="156" y="216"/>
                    </a:lnTo>
                    <a:lnTo>
                      <a:pt x="168" y="222"/>
                    </a:lnTo>
                    <a:lnTo>
                      <a:pt x="204" y="234"/>
                    </a:lnTo>
                    <a:lnTo>
                      <a:pt x="216" y="240"/>
                    </a:lnTo>
                    <a:lnTo>
                      <a:pt x="228" y="252"/>
                    </a:lnTo>
                    <a:lnTo>
                      <a:pt x="234" y="264"/>
                    </a:lnTo>
                    <a:lnTo>
                      <a:pt x="234" y="276"/>
                    </a:lnTo>
                    <a:lnTo>
                      <a:pt x="240" y="282"/>
                    </a:lnTo>
                    <a:lnTo>
                      <a:pt x="240" y="288"/>
                    </a:lnTo>
                    <a:lnTo>
                      <a:pt x="252" y="300"/>
                    </a:lnTo>
                    <a:lnTo>
                      <a:pt x="252" y="306"/>
                    </a:lnTo>
                    <a:lnTo>
                      <a:pt x="246" y="318"/>
                    </a:lnTo>
                    <a:lnTo>
                      <a:pt x="246" y="324"/>
                    </a:lnTo>
                    <a:lnTo>
                      <a:pt x="258" y="336"/>
                    </a:lnTo>
                    <a:lnTo>
                      <a:pt x="282" y="348"/>
                    </a:lnTo>
                    <a:lnTo>
                      <a:pt x="288" y="354"/>
                    </a:lnTo>
                    <a:lnTo>
                      <a:pt x="294" y="354"/>
                    </a:lnTo>
                    <a:lnTo>
                      <a:pt x="300" y="372"/>
                    </a:lnTo>
                    <a:lnTo>
                      <a:pt x="330" y="372"/>
                    </a:lnTo>
                    <a:lnTo>
                      <a:pt x="348" y="390"/>
                    </a:lnTo>
                    <a:lnTo>
                      <a:pt x="354" y="402"/>
                    </a:lnTo>
                    <a:lnTo>
                      <a:pt x="366" y="414"/>
                    </a:lnTo>
                    <a:lnTo>
                      <a:pt x="378" y="420"/>
                    </a:lnTo>
                    <a:lnTo>
                      <a:pt x="384" y="432"/>
                    </a:lnTo>
                    <a:lnTo>
                      <a:pt x="420" y="468"/>
                    </a:lnTo>
                    <a:lnTo>
                      <a:pt x="456" y="468"/>
                    </a:lnTo>
                    <a:lnTo>
                      <a:pt x="462" y="474"/>
                    </a:lnTo>
                    <a:lnTo>
                      <a:pt x="468" y="486"/>
                    </a:lnTo>
                    <a:lnTo>
                      <a:pt x="492" y="498"/>
                    </a:lnTo>
                    <a:lnTo>
                      <a:pt x="510" y="504"/>
                    </a:lnTo>
                    <a:lnTo>
                      <a:pt x="528" y="504"/>
                    </a:lnTo>
                    <a:lnTo>
                      <a:pt x="540" y="510"/>
                    </a:lnTo>
                    <a:lnTo>
                      <a:pt x="546" y="510"/>
                    </a:lnTo>
                    <a:lnTo>
                      <a:pt x="552" y="522"/>
                    </a:lnTo>
                    <a:lnTo>
                      <a:pt x="552" y="534"/>
                    </a:lnTo>
                    <a:lnTo>
                      <a:pt x="564" y="558"/>
                    </a:lnTo>
                    <a:lnTo>
                      <a:pt x="570" y="564"/>
                    </a:lnTo>
                    <a:lnTo>
                      <a:pt x="582" y="564"/>
                    </a:lnTo>
                    <a:lnTo>
                      <a:pt x="594" y="558"/>
                    </a:lnTo>
                    <a:lnTo>
                      <a:pt x="600" y="558"/>
                    </a:lnTo>
                    <a:lnTo>
                      <a:pt x="600" y="570"/>
                    </a:lnTo>
                    <a:lnTo>
                      <a:pt x="606" y="582"/>
                    </a:lnTo>
                    <a:lnTo>
                      <a:pt x="606" y="606"/>
                    </a:lnTo>
                    <a:lnTo>
                      <a:pt x="612" y="618"/>
                    </a:lnTo>
                    <a:lnTo>
                      <a:pt x="630" y="636"/>
                    </a:lnTo>
                    <a:lnTo>
                      <a:pt x="630" y="666"/>
                    </a:lnTo>
                    <a:lnTo>
                      <a:pt x="612" y="666"/>
                    </a:lnTo>
                    <a:lnTo>
                      <a:pt x="612" y="690"/>
                    </a:lnTo>
                    <a:lnTo>
                      <a:pt x="606" y="696"/>
                    </a:lnTo>
                    <a:lnTo>
                      <a:pt x="600" y="708"/>
                    </a:lnTo>
                    <a:lnTo>
                      <a:pt x="594" y="714"/>
                    </a:lnTo>
                    <a:lnTo>
                      <a:pt x="594" y="732"/>
                    </a:lnTo>
                    <a:lnTo>
                      <a:pt x="606" y="732"/>
                    </a:lnTo>
                    <a:lnTo>
                      <a:pt x="618" y="726"/>
                    </a:lnTo>
                    <a:lnTo>
                      <a:pt x="624" y="726"/>
                    </a:lnTo>
                    <a:lnTo>
                      <a:pt x="636" y="702"/>
                    </a:lnTo>
                    <a:lnTo>
                      <a:pt x="654" y="696"/>
                    </a:lnTo>
                    <a:lnTo>
                      <a:pt x="654" y="666"/>
                    </a:lnTo>
                    <a:lnTo>
                      <a:pt x="666" y="654"/>
                    </a:lnTo>
                    <a:lnTo>
                      <a:pt x="678" y="654"/>
                    </a:lnTo>
                    <a:lnTo>
                      <a:pt x="684" y="648"/>
                    </a:lnTo>
                    <a:lnTo>
                      <a:pt x="696" y="648"/>
                    </a:lnTo>
                    <a:lnTo>
                      <a:pt x="696" y="636"/>
                    </a:lnTo>
                    <a:lnTo>
                      <a:pt x="690" y="630"/>
                    </a:lnTo>
                    <a:lnTo>
                      <a:pt x="690" y="618"/>
                    </a:lnTo>
                    <a:lnTo>
                      <a:pt x="678" y="606"/>
                    </a:lnTo>
                    <a:lnTo>
                      <a:pt x="666" y="606"/>
                    </a:lnTo>
                    <a:lnTo>
                      <a:pt x="648" y="588"/>
                    </a:lnTo>
                    <a:lnTo>
                      <a:pt x="654" y="582"/>
                    </a:lnTo>
                    <a:lnTo>
                      <a:pt x="660" y="570"/>
                    </a:lnTo>
                    <a:lnTo>
                      <a:pt x="666" y="552"/>
                    </a:lnTo>
                    <a:lnTo>
                      <a:pt x="672" y="540"/>
                    </a:lnTo>
                    <a:lnTo>
                      <a:pt x="684" y="528"/>
                    </a:lnTo>
                    <a:lnTo>
                      <a:pt x="690" y="534"/>
                    </a:lnTo>
                    <a:lnTo>
                      <a:pt x="702" y="534"/>
                    </a:lnTo>
                    <a:lnTo>
                      <a:pt x="708" y="540"/>
                    </a:lnTo>
                    <a:lnTo>
                      <a:pt x="738" y="540"/>
                    </a:lnTo>
                    <a:lnTo>
                      <a:pt x="738" y="552"/>
                    </a:lnTo>
                    <a:lnTo>
                      <a:pt x="744" y="558"/>
                    </a:lnTo>
                    <a:lnTo>
                      <a:pt x="744" y="564"/>
                    </a:lnTo>
                    <a:lnTo>
                      <a:pt x="750" y="576"/>
                    </a:lnTo>
                    <a:lnTo>
                      <a:pt x="762" y="576"/>
                    </a:lnTo>
                    <a:lnTo>
                      <a:pt x="774" y="570"/>
                    </a:lnTo>
                    <a:lnTo>
                      <a:pt x="780" y="564"/>
                    </a:lnTo>
                    <a:lnTo>
                      <a:pt x="780" y="558"/>
                    </a:lnTo>
                    <a:lnTo>
                      <a:pt x="774" y="54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1" name="Ir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0A5F92A-4C75-6EE1-2637-B5A5788078E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9239" y="1926196"/>
                <a:ext cx="125933" cy="133046"/>
              </a:xfrm>
              <a:custGeom>
                <a:avLst/>
                <a:gdLst>
                  <a:gd name="T0" fmla="*/ 2147483647 w 282"/>
                  <a:gd name="T1" fmla="*/ 2147483647 h 300"/>
                  <a:gd name="T2" fmla="*/ 2147483647 w 282"/>
                  <a:gd name="T3" fmla="*/ 2147483647 h 300"/>
                  <a:gd name="T4" fmla="*/ 2147483647 w 282"/>
                  <a:gd name="T5" fmla="*/ 2147483647 h 300"/>
                  <a:gd name="T6" fmla="*/ 2147483647 w 282"/>
                  <a:gd name="T7" fmla="*/ 2147483647 h 300"/>
                  <a:gd name="T8" fmla="*/ 2147483647 w 282"/>
                  <a:gd name="T9" fmla="*/ 2147483647 h 300"/>
                  <a:gd name="T10" fmla="*/ 2147483647 w 282"/>
                  <a:gd name="T11" fmla="*/ 2147483647 h 300"/>
                  <a:gd name="T12" fmla="*/ 2147483647 w 282"/>
                  <a:gd name="T13" fmla="*/ 2147483647 h 300"/>
                  <a:gd name="T14" fmla="*/ 2147483647 w 282"/>
                  <a:gd name="T15" fmla="*/ 2147483647 h 300"/>
                  <a:gd name="T16" fmla="*/ 2147483647 w 282"/>
                  <a:gd name="T17" fmla="*/ 2147483647 h 300"/>
                  <a:gd name="T18" fmla="*/ 2147483647 w 282"/>
                  <a:gd name="T19" fmla="*/ 2147483647 h 300"/>
                  <a:gd name="T20" fmla="*/ 2147483647 w 282"/>
                  <a:gd name="T21" fmla="*/ 2147483647 h 300"/>
                  <a:gd name="T22" fmla="*/ 2147483647 w 282"/>
                  <a:gd name="T23" fmla="*/ 2147483647 h 300"/>
                  <a:gd name="T24" fmla="*/ 2147483647 w 282"/>
                  <a:gd name="T25" fmla="*/ 0 h 300"/>
                  <a:gd name="T26" fmla="*/ 2147483647 w 282"/>
                  <a:gd name="T27" fmla="*/ 2147483647 h 300"/>
                  <a:gd name="T28" fmla="*/ 2147483647 w 282"/>
                  <a:gd name="T29" fmla="*/ 2147483647 h 300"/>
                  <a:gd name="T30" fmla="*/ 2147483647 w 282"/>
                  <a:gd name="T31" fmla="*/ 2147483647 h 300"/>
                  <a:gd name="T32" fmla="*/ 2147483647 w 282"/>
                  <a:gd name="T33" fmla="*/ 2147483647 h 300"/>
                  <a:gd name="T34" fmla="*/ 2147483647 w 282"/>
                  <a:gd name="T35" fmla="*/ 2147483647 h 300"/>
                  <a:gd name="T36" fmla="*/ 2147483647 w 282"/>
                  <a:gd name="T37" fmla="*/ 2147483647 h 300"/>
                  <a:gd name="T38" fmla="*/ 2147483647 w 282"/>
                  <a:gd name="T39" fmla="*/ 2147483647 h 300"/>
                  <a:gd name="T40" fmla="*/ 2147483647 w 282"/>
                  <a:gd name="T41" fmla="*/ 2147483647 h 300"/>
                  <a:gd name="T42" fmla="*/ 2147483647 w 282"/>
                  <a:gd name="T43" fmla="*/ 2147483647 h 300"/>
                  <a:gd name="T44" fmla="*/ 2147483647 w 282"/>
                  <a:gd name="T45" fmla="*/ 2147483647 h 300"/>
                  <a:gd name="T46" fmla="*/ 2147483647 w 282"/>
                  <a:gd name="T47" fmla="*/ 2147483647 h 300"/>
                  <a:gd name="T48" fmla="*/ 2147483647 w 282"/>
                  <a:gd name="T49" fmla="*/ 2147483647 h 300"/>
                  <a:gd name="T50" fmla="*/ 2147483647 w 282"/>
                  <a:gd name="T51" fmla="*/ 2147483647 h 300"/>
                  <a:gd name="T52" fmla="*/ 2147483647 w 282"/>
                  <a:gd name="T53" fmla="*/ 2147483647 h 300"/>
                  <a:gd name="T54" fmla="*/ 2147483647 w 282"/>
                  <a:gd name="T55" fmla="*/ 2147483647 h 300"/>
                  <a:gd name="T56" fmla="*/ 2147483647 w 282"/>
                  <a:gd name="T57" fmla="*/ 2147483647 h 300"/>
                  <a:gd name="T58" fmla="*/ 2147483647 w 282"/>
                  <a:gd name="T59" fmla="*/ 2147483647 h 300"/>
                  <a:gd name="T60" fmla="*/ 2147483647 w 282"/>
                  <a:gd name="T61" fmla="*/ 2147483647 h 300"/>
                  <a:gd name="T62" fmla="*/ 2147483647 w 282"/>
                  <a:gd name="T63" fmla="*/ 2147483647 h 300"/>
                  <a:gd name="T64" fmla="*/ 2147483647 w 282"/>
                  <a:gd name="T65" fmla="*/ 2147483647 h 300"/>
                  <a:gd name="T66" fmla="*/ 2147483647 w 282"/>
                  <a:gd name="T67" fmla="*/ 2147483647 h 300"/>
                  <a:gd name="T68" fmla="*/ 2147483647 w 282"/>
                  <a:gd name="T69" fmla="*/ 2147483647 h 300"/>
                  <a:gd name="T70" fmla="*/ 2147483647 w 282"/>
                  <a:gd name="T71" fmla="*/ 2147483647 h 300"/>
                  <a:gd name="T72" fmla="*/ 2147483647 w 282"/>
                  <a:gd name="T73" fmla="*/ 2147483647 h 300"/>
                  <a:gd name="T74" fmla="*/ 2147483647 w 282"/>
                  <a:gd name="T75" fmla="*/ 2147483647 h 300"/>
                  <a:gd name="T76" fmla="*/ 2147483647 w 282"/>
                  <a:gd name="T77" fmla="*/ 2147483647 h 300"/>
                  <a:gd name="T78" fmla="*/ 2147483647 w 282"/>
                  <a:gd name="T79" fmla="*/ 2147483647 h 300"/>
                  <a:gd name="T80" fmla="*/ 0 w 282"/>
                  <a:gd name="T81" fmla="*/ 2147483647 h 300"/>
                  <a:gd name="T82" fmla="*/ 2147483647 w 282"/>
                  <a:gd name="T83" fmla="*/ 2147483647 h 300"/>
                  <a:gd name="T84" fmla="*/ 2147483647 w 282"/>
                  <a:gd name="T85" fmla="*/ 2147483647 h 300"/>
                  <a:gd name="T86" fmla="*/ 2147483647 w 282"/>
                  <a:gd name="T87" fmla="*/ 2147483647 h 300"/>
                  <a:gd name="T88" fmla="*/ 2147483647 w 282"/>
                  <a:gd name="T89" fmla="*/ 2147483647 h 300"/>
                  <a:gd name="T90" fmla="*/ 2147483647 w 282"/>
                  <a:gd name="T91" fmla="*/ 2147483647 h 300"/>
                  <a:gd name="T92" fmla="*/ 2147483647 w 282"/>
                  <a:gd name="T93" fmla="*/ 2147483647 h 300"/>
                  <a:gd name="T94" fmla="*/ 2147483647 w 282"/>
                  <a:gd name="T95" fmla="*/ 2147483647 h 300"/>
                  <a:gd name="T96" fmla="*/ 2147483647 w 282"/>
                  <a:gd name="T97" fmla="*/ 2147483647 h 300"/>
                  <a:gd name="T98" fmla="*/ 2147483647 w 282"/>
                  <a:gd name="T99" fmla="*/ 2147483647 h 300"/>
                  <a:gd name="T100" fmla="*/ 2147483647 w 282"/>
                  <a:gd name="T101" fmla="*/ 2147483647 h 300"/>
                  <a:gd name="T102" fmla="*/ 2147483647 w 282"/>
                  <a:gd name="T103" fmla="*/ 2147483647 h 300"/>
                  <a:gd name="T104" fmla="*/ 2147483647 w 282"/>
                  <a:gd name="T105" fmla="*/ 2147483647 h 300"/>
                  <a:gd name="T106" fmla="*/ 2147483647 w 282"/>
                  <a:gd name="T107" fmla="*/ 2147483647 h 300"/>
                  <a:gd name="T108" fmla="*/ 2147483647 w 282"/>
                  <a:gd name="T109" fmla="*/ 2147483647 h 300"/>
                  <a:gd name="T110" fmla="*/ 2147483647 w 282"/>
                  <a:gd name="T111" fmla="*/ 2147483647 h 3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2"/>
                  <a:gd name="T169" fmla="*/ 0 h 300"/>
                  <a:gd name="T170" fmla="*/ 282 w 282"/>
                  <a:gd name="T171" fmla="*/ 300 h 3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2" h="300">
                    <a:moveTo>
                      <a:pt x="276" y="156"/>
                    </a:moveTo>
                    <a:lnTo>
                      <a:pt x="276" y="144"/>
                    </a:lnTo>
                    <a:lnTo>
                      <a:pt x="270" y="132"/>
                    </a:lnTo>
                    <a:lnTo>
                      <a:pt x="264" y="126"/>
                    </a:lnTo>
                    <a:lnTo>
                      <a:pt x="264" y="114"/>
                    </a:lnTo>
                    <a:lnTo>
                      <a:pt x="258" y="108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46" y="90"/>
                    </a:lnTo>
                    <a:lnTo>
                      <a:pt x="228" y="66"/>
                    </a:lnTo>
                    <a:lnTo>
                      <a:pt x="204" y="90"/>
                    </a:lnTo>
                    <a:lnTo>
                      <a:pt x="192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74" y="60"/>
                    </a:lnTo>
                    <a:lnTo>
                      <a:pt x="180" y="60"/>
                    </a:lnTo>
                    <a:lnTo>
                      <a:pt x="186" y="54"/>
                    </a:lnTo>
                    <a:lnTo>
                      <a:pt x="192" y="54"/>
                    </a:lnTo>
                    <a:lnTo>
                      <a:pt x="192" y="42"/>
                    </a:lnTo>
                    <a:lnTo>
                      <a:pt x="234" y="18"/>
                    </a:lnTo>
                    <a:lnTo>
                      <a:pt x="240" y="12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28" y="0"/>
                    </a:lnTo>
                    <a:lnTo>
                      <a:pt x="222" y="0"/>
                    </a:lnTo>
                    <a:lnTo>
                      <a:pt x="210" y="6"/>
                    </a:lnTo>
                    <a:lnTo>
                      <a:pt x="204" y="18"/>
                    </a:lnTo>
                    <a:lnTo>
                      <a:pt x="198" y="6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26" y="42"/>
                    </a:lnTo>
                    <a:lnTo>
                      <a:pt x="120" y="48"/>
                    </a:lnTo>
                    <a:lnTo>
                      <a:pt x="120" y="54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44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26" y="84"/>
                    </a:lnTo>
                    <a:lnTo>
                      <a:pt x="102" y="84"/>
                    </a:lnTo>
                    <a:lnTo>
                      <a:pt x="102" y="90"/>
                    </a:lnTo>
                    <a:lnTo>
                      <a:pt x="90" y="78"/>
                    </a:lnTo>
                    <a:lnTo>
                      <a:pt x="42" y="78"/>
                    </a:lnTo>
                    <a:lnTo>
                      <a:pt x="42" y="102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0" y="132"/>
                    </a:lnTo>
                    <a:lnTo>
                      <a:pt x="30" y="138"/>
                    </a:lnTo>
                    <a:lnTo>
                      <a:pt x="42" y="150"/>
                    </a:lnTo>
                    <a:lnTo>
                      <a:pt x="54" y="156"/>
                    </a:lnTo>
                    <a:lnTo>
                      <a:pt x="60" y="162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96" y="156"/>
                    </a:lnTo>
                    <a:lnTo>
                      <a:pt x="96" y="168"/>
                    </a:lnTo>
                    <a:lnTo>
                      <a:pt x="90" y="174"/>
                    </a:lnTo>
                    <a:lnTo>
                      <a:pt x="72" y="174"/>
                    </a:lnTo>
                    <a:lnTo>
                      <a:pt x="72" y="192"/>
                    </a:lnTo>
                    <a:lnTo>
                      <a:pt x="54" y="192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2" y="234"/>
                    </a:lnTo>
                    <a:lnTo>
                      <a:pt x="18" y="234"/>
                    </a:lnTo>
                    <a:lnTo>
                      <a:pt x="12" y="240"/>
                    </a:lnTo>
                    <a:lnTo>
                      <a:pt x="6" y="240"/>
                    </a:lnTo>
                    <a:lnTo>
                      <a:pt x="6" y="246"/>
                    </a:lnTo>
                    <a:lnTo>
                      <a:pt x="12" y="246"/>
                    </a:lnTo>
                    <a:lnTo>
                      <a:pt x="18" y="252"/>
                    </a:lnTo>
                    <a:lnTo>
                      <a:pt x="6" y="252"/>
                    </a:lnTo>
                    <a:lnTo>
                      <a:pt x="0" y="258"/>
                    </a:lnTo>
                    <a:lnTo>
                      <a:pt x="0" y="270"/>
                    </a:lnTo>
                    <a:lnTo>
                      <a:pt x="42" y="270"/>
                    </a:lnTo>
                    <a:lnTo>
                      <a:pt x="24" y="288"/>
                    </a:lnTo>
                    <a:lnTo>
                      <a:pt x="30" y="282"/>
                    </a:lnTo>
                    <a:lnTo>
                      <a:pt x="48" y="282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36" y="294"/>
                    </a:lnTo>
                    <a:lnTo>
                      <a:pt x="30" y="294"/>
                    </a:lnTo>
                    <a:lnTo>
                      <a:pt x="36" y="300"/>
                    </a:lnTo>
                    <a:lnTo>
                      <a:pt x="60" y="300"/>
                    </a:lnTo>
                    <a:lnTo>
                      <a:pt x="96" y="288"/>
                    </a:lnTo>
                    <a:lnTo>
                      <a:pt x="108" y="282"/>
                    </a:lnTo>
                    <a:lnTo>
                      <a:pt x="120" y="270"/>
                    </a:lnTo>
                    <a:lnTo>
                      <a:pt x="120" y="264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50" y="264"/>
                    </a:lnTo>
                    <a:lnTo>
                      <a:pt x="162" y="252"/>
                    </a:lnTo>
                    <a:lnTo>
                      <a:pt x="180" y="246"/>
                    </a:lnTo>
                    <a:lnTo>
                      <a:pt x="204" y="246"/>
                    </a:lnTo>
                    <a:lnTo>
                      <a:pt x="210" y="240"/>
                    </a:lnTo>
                    <a:lnTo>
                      <a:pt x="252" y="240"/>
                    </a:lnTo>
                    <a:lnTo>
                      <a:pt x="246" y="222"/>
                    </a:lnTo>
                    <a:lnTo>
                      <a:pt x="264" y="222"/>
                    </a:lnTo>
                    <a:lnTo>
                      <a:pt x="264" y="198"/>
                    </a:lnTo>
                    <a:lnTo>
                      <a:pt x="270" y="192"/>
                    </a:lnTo>
                    <a:lnTo>
                      <a:pt x="270" y="180"/>
                    </a:lnTo>
                    <a:lnTo>
                      <a:pt x="276" y="168"/>
                    </a:lnTo>
                    <a:lnTo>
                      <a:pt x="276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3" name="Iraq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A91A92E-1C4D-5862-45D5-AE92239034B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92393" y="2563041"/>
                <a:ext cx="308625" cy="296249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5" name="Hungar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A10B51D-92CC-FA35-F8EA-3DF21DCC961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93552" y="2160356"/>
                <a:ext cx="191560" cy="99341"/>
              </a:xfrm>
              <a:custGeom>
                <a:avLst/>
                <a:gdLst>
                  <a:gd name="T0" fmla="*/ 2147483647 w 426"/>
                  <a:gd name="T1" fmla="*/ 2147483647 h 222"/>
                  <a:gd name="T2" fmla="*/ 2147483647 w 426"/>
                  <a:gd name="T3" fmla="*/ 2147483647 h 222"/>
                  <a:gd name="T4" fmla="*/ 2147483647 w 426"/>
                  <a:gd name="T5" fmla="*/ 2147483647 h 222"/>
                  <a:gd name="T6" fmla="*/ 0 w 426"/>
                  <a:gd name="T7" fmla="*/ 2147483647 h 222"/>
                  <a:gd name="T8" fmla="*/ 2147483647 w 426"/>
                  <a:gd name="T9" fmla="*/ 2147483647 h 222"/>
                  <a:gd name="T10" fmla="*/ 2147483647 w 426"/>
                  <a:gd name="T11" fmla="*/ 2147483647 h 222"/>
                  <a:gd name="T12" fmla="*/ 2147483647 w 426"/>
                  <a:gd name="T13" fmla="*/ 2147483647 h 222"/>
                  <a:gd name="T14" fmla="*/ 2147483647 w 426"/>
                  <a:gd name="T15" fmla="*/ 2147483647 h 222"/>
                  <a:gd name="T16" fmla="*/ 2147483647 w 426"/>
                  <a:gd name="T17" fmla="*/ 2147483647 h 222"/>
                  <a:gd name="T18" fmla="*/ 2147483647 w 426"/>
                  <a:gd name="T19" fmla="*/ 2147483647 h 222"/>
                  <a:gd name="T20" fmla="*/ 2147483647 w 426"/>
                  <a:gd name="T21" fmla="*/ 2147483647 h 222"/>
                  <a:gd name="T22" fmla="*/ 2147483647 w 426"/>
                  <a:gd name="T23" fmla="*/ 2147483647 h 222"/>
                  <a:gd name="T24" fmla="*/ 2147483647 w 426"/>
                  <a:gd name="T25" fmla="*/ 2147483647 h 222"/>
                  <a:gd name="T26" fmla="*/ 2147483647 w 426"/>
                  <a:gd name="T27" fmla="*/ 2147483647 h 222"/>
                  <a:gd name="T28" fmla="*/ 2147483647 w 426"/>
                  <a:gd name="T29" fmla="*/ 2147483647 h 222"/>
                  <a:gd name="T30" fmla="*/ 2147483647 w 426"/>
                  <a:gd name="T31" fmla="*/ 2147483647 h 222"/>
                  <a:gd name="T32" fmla="*/ 2147483647 w 426"/>
                  <a:gd name="T33" fmla="*/ 2147483647 h 222"/>
                  <a:gd name="T34" fmla="*/ 2147483647 w 426"/>
                  <a:gd name="T35" fmla="*/ 2147483647 h 222"/>
                  <a:gd name="T36" fmla="*/ 2147483647 w 426"/>
                  <a:gd name="T37" fmla="*/ 2147483647 h 222"/>
                  <a:gd name="T38" fmla="*/ 2147483647 w 426"/>
                  <a:gd name="T39" fmla="*/ 2147483647 h 222"/>
                  <a:gd name="T40" fmla="*/ 2147483647 w 426"/>
                  <a:gd name="T41" fmla="*/ 2147483647 h 222"/>
                  <a:gd name="T42" fmla="*/ 2147483647 w 426"/>
                  <a:gd name="T43" fmla="*/ 2147483647 h 222"/>
                  <a:gd name="T44" fmla="*/ 2147483647 w 426"/>
                  <a:gd name="T45" fmla="*/ 2147483647 h 222"/>
                  <a:gd name="T46" fmla="*/ 2147483647 w 426"/>
                  <a:gd name="T47" fmla="*/ 2147483647 h 222"/>
                  <a:gd name="T48" fmla="*/ 2147483647 w 426"/>
                  <a:gd name="T49" fmla="*/ 0 h 222"/>
                  <a:gd name="T50" fmla="*/ 2147483647 w 426"/>
                  <a:gd name="T51" fmla="*/ 2147483647 h 222"/>
                  <a:gd name="T52" fmla="*/ 2147483647 w 426"/>
                  <a:gd name="T53" fmla="*/ 0 h 222"/>
                  <a:gd name="T54" fmla="*/ 2147483647 w 426"/>
                  <a:gd name="T55" fmla="*/ 2147483647 h 222"/>
                  <a:gd name="T56" fmla="*/ 2147483647 w 426"/>
                  <a:gd name="T57" fmla="*/ 2147483647 h 222"/>
                  <a:gd name="T58" fmla="*/ 2147483647 w 426"/>
                  <a:gd name="T59" fmla="*/ 2147483647 h 222"/>
                  <a:gd name="T60" fmla="*/ 2147483647 w 426"/>
                  <a:gd name="T61" fmla="*/ 2147483647 h 222"/>
                  <a:gd name="T62" fmla="*/ 2147483647 w 426"/>
                  <a:gd name="T63" fmla="*/ 2147483647 h 222"/>
                  <a:gd name="T64" fmla="*/ 2147483647 w 426"/>
                  <a:gd name="T65" fmla="*/ 2147483647 h 222"/>
                  <a:gd name="T66" fmla="*/ 2147483647 w 426"/>
                  <a:gd name="T67" fmla="*/ 2147483647 h 222"/>
                  <a:gd name="T68" fmla="*/ 2147483647 w 426"/>
                  <a:gd name="T69" fmla="*/ 2147483647 h 222"/>
                  <a:gd name="T70" fmla="*/ 2147483647 w 426"/>
                  <a:gd name="T71" fmla="*/ 2147483647 h 2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26"/>
                  <a:gd name="T109" fmla="*/ 0 h 222"/>
                  <a:gd name="T110" fmla="*/ 426 w 426"/>
                  <a:gd name="T111" fmla="*/ 222 h 2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26" h="222">
                    <a:moveTo>
                      <a:pt x="42" y="66"/>
                    </a:moveTo>
                    <a:lnTo>
                      <a:pt x="24" y="66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18" y="96"/>
                    </a:lnTo>
                    <a:lnTo>
                      <a:pt x="18" y="120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50"/>
                    </a:lnTo>
                    <a:lnTo>
                      <a:pt x="30" y="162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60" y="192"/>
                    </a:lnTo>
                    <a:lnTo>
                      <a:pt x="72" y="198"/>
                    </a:lnTo>
                    <a:lnTo>
                      <a:pt x="78" y="204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14" y="222"/>
                    </a:lnTo>
                    <a:lnTo>
                      <a:pt x="156" y="216"/>
                    </a:lnTo>
                    <a:lnTo>
                      <a:pt x="168" y="210"/>
                    </a:lnTo>
                    <a:lnTo>
                      <a:pt x="174" y="204"/>
                    </a:lnTo>
                    <a:lnTo>
                      <a:pt x="198" y="204"/>
                    </a:lnTo>
                    <a:lnTo>
                      <a:pt x="216" y="186"/>
                    </a:lnTo>
                    <a:lnTo>
                      <a:pt x="240" y="186"/>
                    </a:lnTo>
                    <a:lnTo>
                      <a:pt x="258" y="198"/>
                    </a:lnTo>
                    <a:lnTo>
                      <a:pt x="288" y="192"/>
                    </a:lnTo>
                    <a:lnTo>
                      <a:pt x="288" y="174"/>
                    </a:lnTo>
                    <a:lnTo>
                      <a:pt x="306" y="180"/>
                    </a:lnTo>
                    <a:lnTo>
                      <a:pt x="312" y="174"/>
                    </a:lnTo>
                    <a:lnTo>
                      <a:pt x="324" y="168"/>
                    </a:lnTo>
                    <a:lnTo>
                      <a:pt x="330" y="162"/>
                    </a:lnTo>
                    <a:lnTo>
                      <a:pt x="330" y="144"/>
                    </a:lnTo>
                    <a:lnTo>
                      <a:pt x="336" y="138"/>
                    </a:lnTo>
                    <a:lnTo>
                      <a:pt x="348" y="132"/>
                    </a:lnTo>
                    <a:lnTo>
                      <a:pt x="366" y="114"/>
                    </a:lnTo>
                    <a:lnTo>
                      <a:pt x="366" y="72"/>
                    </a:lnTo>
                    <a:lnTo>
                      <a:pt x="378" y="60"/>
                    </a:lnTo>
                    <a:lnTo>
                      <a:pt x="408" y="60"/>
                    </a:lnTo>
                    <a:lnTo>
                      <a:pt x="426" y="42"/>
                    </a:lnTo>
                    <a:lnTo>
                      <a:pt x="420" y="36"/>
                    </a:lnTo>
                    <a:lnTo>
                      <a:pt x="408" y="36"/>
                    </a:lnTo>
                    <a:lnTo>
                      <a:pt x="402" y="30"/>
                    </a:lnTo>
                    <a:lnTo>
                      <a:pt x="396" y="30"/>
                    </a:lnTo>
                    <a:lnTo>
                      <a:pt x="372" y="6"/>
                    </a:lnTo>
                    <a:lnTo>
                      <a:pt x="348" y="6"/>
                    </a:lnTo>
                    <a:lnTo>
                      <a:pt x="336" y="12"/>
                    </a:lnTo>
                    <a:lnTo>
                      <a:pt x="324" y="12"/>
                    </a:lnTo>
                    <a:lnTo>
                      <a:pt x="324" y="0"/>
                    </a:lnTo>
                    <a:lnTo>
                      <a:pt x="312" y="0"/>
                    </a:lnTo>
                    <a:lnTo>
                      <a:pt x="312" y="18"/>
                    </a:lnTo>
                    <a:lnTo>
                      <a:pt x="294" y="12"/>
                    </a:lnTo>
                    <a:lnTo>
                      <a:pt x="294" y="0"/>
                    </a:lnTo>
                    <a:lnTo>
                      <a:pt x="270" y="0"/>
                    </a:lnTo>
                    <a:lnTo>
                      <a:pt x="264" y="12"/>
                    </a:lnTo>
                    <a:lnTo>
                      <a:pt x="252" y="24"/>
                    </a:lnTo>
                    <a:lnTo>
                      <a:pt x="246" y="24"/>
                    </a:lnTo>
                    <a:lnTo>
                      <a:pt x="234" y="30"/>
                    </a:lnTo>
                    <a:lnTo>
                      <a:pt x="210" y="30"/>
                    </a:lnTo>
                    <a:lnTo>
                      <a:pt x="204" y="42"/>
                    </a:lnTo>
                    <a:lnTo>
                      <a:pt x="168" y="36"/>
                    </a:lnTo>
                    <a:lnTo>
                      <a:pt x="156" y="60"/>
                    </a:lnTo>
                    <a:lnTo>
                      <a:pt x="144" y="60"/>
                    </a:lnTo>
                    <a:lnTo>
                      <a:pt x="126" y="66"/>
                    </a:lnTo>
                    <a:lnTo>
                      <a:pt x="84" y="66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42"/>
                    </a:lnTo>
                    <a:lnTo>
                      <a:pt x="54" y="60"/>
                    </a:lnTo>
                    <a:lnTo>
                      <a:pt x="42" y="54"/>
                    </a:lnTo>
                    <a:lnTo>
                      <a:pt x="42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6" name="Gree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A6D6E3F-2AAB-1B01-12D6-21C5EE06726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3035" y="2401612"/>
                <a:ext cx="239450" cy="248353"/>
              </a:xfrm>
              <a:custGeom>
                <a:avLst/>
                <a:gdLst>
                  <a:gd name="T0" fmla="*/ 0 w 534"/>
                  <a:gd name="T1" fmla="*/ 2147483647 h 552"/>
                  <a:gd name="T2" fmla="*/ 2147483647 w 534"/>
                  <a:gd name="T3" fmla="*/ 2147483647 h 552"/>
                  <a:gd name="T4" fmla="*/ 2147483647 w 534"/>
                  <a:gd name="T5" fmla="*/ 2147483647 h 552"/>
                  <a:gd name="T6" fmla="*/ 2147483647 w 534"/>
                  <a:gd name="T7" fmla="*/ 2147483647 h 552"/>
                  <a:gd name="T8" fmla="*/ 2147483647 w 534"/>
                  <a:gd name="T9" fmla="*/ 2147483647 h 552"/>
                  <a:gd name="T10" fmla="*/ 2147483647 w 534"/>
                  <a:gd name="T11" fmla="*/ 2147483647 h 552"/>
                  <a:gd name="T12" fmla="*/ 2147483647 w 534"/>
                  <a:gd name="T13" fmla="*/ 2147483647 h 552"/>
                  <a:gd name="T14" fmla="*/ 2147483647 w 534"/>
                  <a:gd name="T15" fmla="*/ 2147483647 h 552"/>
                  <a:gd name="T16" fmla="*/ 2147483647 w 534"/>
                  <a:gd name="T17" fmla="*/ 2147483647 h 552"/>
                  <a:gd name="T18" fmla="*/ 2147483647 w 534"/>
                  <a:gd name="T19" fmla="*/ 2147483647 h 552"/>
                  <a:gd name="T20" fmla="*/ 2147483647 w 534"/>
                  <a:gd name="T21" fmla="*/ 2147483647 h 552"/>
                  <a:gd name="T22" fmla="*/ 2147483647 w 534"/>
                  <a:gd name="T23" fmla="*/ 2147483647 h 552"/>
                  <a:gd name="T24" fmla="*/ 2147483647 w 534"/>
                  <a:gd name="T25" fmla="*/ 2147483647 h 552"/>
                  <a:gd name="T26" fmla="*/ 2147483647 w 534"/>
                  <a:gd name="T27" fmla="*/ 2147483647 h 552"/>
                  <a:gd name="T28" fmla="*/ 2147483647 w 534"/>
                  <a:gd name="T29" fmla="*/ 2147483647 h 552"/>
                  <a:gd name="T30" fmla="*/ 2147483647 w 534"/>
                  <a:gd name="T31" fmla="*/ 2147483647 h 552"/>
                  <a:gd name="T32" fmla="*/ 2147483647 w 534"/>
                  <a:gd name="T33" fmla="*/ 2147483647 h 552"/>
                  <a:gd name="T34" fmla="*/ 2147483647 w 534"/>
                  <a:gd name="T35" fmla="*/ 2147483647 h 552"/>
                  <a:gd name="T36" fmla="*/ 2147483647 w 534"/>
                  <a:gd name="T37" fmla="*/ 2147483647 h 552"/>
                  <a:gd name="T38" fmla="*/ 2147483647 w 534"/>
                  <a:gd name="T39" fmla="*/ 2147483647 h 552"/>
                  <a:gd name="T40" fmla="*/ 2147483647 w 534"/>
                  <a:gd name="T41" fmla="*/ 2147483647 h 552"/>
                  <a:gd name="T42" fmla="*/ 2147483647 w 534"/>
                  <a:gd name="T43" fmla="*/ 2147483647 h 552"/>
                  <a:gd name="T44" fmla="*/ 2147483647 w 534"/>
                  <a:gd name="T45" fmla="*/ 2147483647 h 552"/>
                  <a:gd name="T46" fmla="*/ 2147483647 w 534"/>
                  <a:gd name="T47" fmla="*/ 2147483647 h 552"/>
                  <a:gd name="T48" fmla="*/ 2147483647 w 534"/>
                  <a:gd name="T49" fmla="*/ 2147483647 h 552"/>
                  <a:gd name="T50" fmla="*/ 2147483647 w 534"/>
                  <a:gd name="T51" fmla="*/ 2147483647 h 552"/>
                  <a:gd name="T52" fmla="*/ 2147483647 w 534"/>
                  <a:gd name="T53" fmla="*/ 2147483647 h 552"/>
                  <a:gd name="T54" fmla="*/ 2147483647 w 534"/>
                  <a:gd name="T55" fmla="*/ 2147483647 h 552"/>
                  <a:gd name="T56" fmla="*/ 2147483647 w 534"/>
                  <a:gd name="T57" fmla="*/ 2147483647 h 552"/>
                  <a:gd name="T58" fmla="*/ 2147483647 w 534"/>
                  <a:gd name="T59" fmla="*/ 2147483647 h 552"/>
                  <a:gd name="T60" fmla="*/ 2147483647 w 534"/>
                  <a:gd name="T61" fmla="*/ 2147483647 h 552"/>
                  <a:gd name="T62" fmla="*/ 2147483647 w 534"/>
                  <a:gd name="T63" fmla="*/ 2147483647 h 552"/>
                  <a:gd name="T64" fmla="*/ 2147483647 w 534"/>
                  <a:gd name="T65" fmla="*/ 2147483647 h 552"/>
                  <a:gd name="T66" fmla="*/ 2147483647 w 534"/>
                  <a:gd name="T67" fmla="*/ 2147483647 h 552"/>
                  <a:gd name="T68" fmla="*/ 2147483647 w 534"/>
                  <a:gd name="T69" fmla="*/ 2147483647 h 552"/>
                  <a:gd name="T70" fmla="*/ 2147483647 w 534"/>
                  <a:gd name="T71" fmla="*/ 2147483647 h 552"/>
                  <a:gd name="T72" fmla="*/ 2147483647 w 534"/>
                  <a:gd name="T73" fmla="*/ 2147483647 h 552"/>
                  <a:gd name="T74" fmla="*/ 2147483647 w 534"/>
                  <a:gd name="T75" fmla="*/ 2147483647 h 552"/>
                  <a:gd name="T76" fmla="*/ 2147483647 w 534"/>
                  <a:gd name="T77" fmla="*/ 2147483647 h 552"/>
                  <a:gd name="T78" fmla="*/ 2147483647 w 534"/>
                  <a:gd name="T79" fmla="*/ 2147483647 h 552"/>
                  <a:gd name="T80" fmla="*/ 2147483647 w 534"/>
                  <a:gd name="T81" fmla="*/ 2147483647 h 552"/>
                  <a:gd name="T82" fmla="*/ 2147483647 w 534"/>
                  <a:gd name="T83" fmla="*/ 2147483647 h 552"/>
                  <a:gd name="T84" fmla="*/ 2147483647 w 534"/>
                  <a:gd name="T85" fmla="*/ 2147483647 h 552"/>
                  <a:gd name="T86" fmla="*/ 2147483647 w 534"/>
                  <a:gd name="T87" fmla="*/ 2147483647 h 552"/>
                  <a:gd name="T88" fmla="*/ 2147483647 w 534"/>
                  <a:gd name="T89" fmla="*/ 2147483647 h 552"/>
                  <a:gd name="T90" fmla="*/ 2147483647 w 534"/>
                  <a:gd name="T91" fmla="*/ 2147483647 h 552"/>
                  <a:gd name="T92" fmla="*/ 2147483647 w 534"/>
                  <a:gd name="T93" fmla="*/ 2147483647 h 552"/>
                  <a:gd name="T94" fmla="*/ 2147483647 w 534"/>
                  <a:gd name="T95" fmla="*/ 2147483647 h 552"/>
                  <a:gd name="T96" fmla="*/ 2147483647 w 534"/>
                  <a:gd name="T97" fmla="*/ 2147483647 h 552"/>
                  <a:gd name="T98" fmla="*/ 2147483647 w 534"/>
                  <a:gd name="T99" fmla="*/ 2147483647 h 552"/>
                  <a:gd name="T100" fmla="*/ 2147483647 w 534"/>
                  <a:gd name="T101" fmla="*/ 2147483647 h 552"/>
                  <a:gd name="T102" fmla="*/ 2147483647 w 534"/>
                  <a:gd name="T103" fmla="*/ 2147483647 h 552"/>
                  <a:gd name="T104" fmla="*/ 2147483647 w 534"/>
                  <a:gd name="T105" fmla="*/ 2147483647 h 552"/>
                  <a:gd name="T106" fmla="*/ 2147483647 w 534"/>
                  <a:gd name="T107" fmla="*/ 2147483647 h 5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34"/>
                  <a:gd name="T163" fmla="*/ 0 h 552"/>
                  <a:gd name="T164" fmla="*/ 534 w 534"/>
                  <a:gd name="T165" fmla="*/ 552 h 5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34" h="552">
                    <a:moveTo>
                      <a:pt x="240" y="108"/>
                    </a:moveTo>
                    <a:lnTo>
                      <a:pt x="270" y="126"/>
                    </a:lnTo>
                    <a:lnTo>
                      <a:pt x="282" y="120"/>
                    </a:lnTo>
                    <a:lnTo>
                      <a:pt x="240" y="108"/>
                    </a:lnTo>
                    <a:close/>
                    <a:moveTo>
                      <a:pt x="24" y="258"/>
                    </a:moveTo>
                    <a:lnTo>
                      <a:pt x="0" y="282"/>
                    </a:lnTo>
                    <a:lnTo>
                      <a:pt x="42" y="294"/>
                    </a:lnTo>
                    <a:lnTo>
                      <a:pt x="24" y="258"/>
                    </a:lnTo>
                    <a:close/>
                    <a:moveTo>
                      <a:pt x="312" y="414"/>
                    </a:moveTo>
                    <a:lnTo>
                      <a:pt x="312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18" y="408"/>
                    </a:lnTo>
                    <a:lnTo>
                      <a:pt x="312" y="408"/>
                    </a:lnTo>
                    <a:lnTo>
                      <a:pt x="312" y="414"/>
                    </a:lnTo>
                    <a:close/>
                    <a:moveTo>
                      <a:pt x="306" y="390"/>
                    </a:moveTo>
                    <a:lnTo>
                      <a:pt x="300" y="378"/>
                    </a:lnTo>
                    <a:lnTo>
                      <a:pt x="294" y="390"/>
                    </a:lnTo>
                    <a:lnTo>
                      <a:pt x="306" y="390"/>
                    </a:lnTo>
                    <a:close/>
                    <a:moveTo>
                      <a:pt x="294" y="294"/>
                    </a:moveTo>
                    <a:lnTo>
                      <a:pt x="318" y="336"/>
                    </a:lnTo>
                    <a:lnTo>
                      <a:pt x="330" y="318"/>
                    </a:lnTo>
                    <a:lnTo>
                      <a:pt x="294" y="294"/>
                    </a:lnTo>
                    <a:close/>
                    <a:moveTo>
                      <a:pt x="108" y="264"/>
                    </a:moveTo>
                    <a:lnTo>
                      <a:pt x="138" y="264"/>
                    </a:lnTo>
                    <a:lnTo>
                      <a:pt x="144" y="270"/>
                    </a:lnTo>
                    <a:lnTo>
                      <a:pt x="156" y="270"/>
                    </a:lnTo>
                    <a:lnTo>
                      <a:pt x="180" y="282"/>
                    </a:lnTo>
                    <a:lnTo>
                      <a:pt x="192" y="282"/>
                    </a:lnTo>
                    <a:lnTo>
                      <a:pt x="198" y="288"/>
                    </a:lnTo>
                    <a:lnTo>
                      <a:pt x="204" y="288"/>
                    </a:lnTo>
                    <a:lnTo>
                      <a:pt x="216" y="300"/>
                    </a:lnTo>
                    <a:lnTo>
                      <a:pt x="228" y="306"/>
                    </a:lnTo>
                    <a:lnTo>
                      <a:pt x="234" y="312"/>
                    </a:lnTo>
                    <a:lnTo>
                      <a:pt x="246" y="312"/>
                    </a:lnTo>
                    <a:lnTo>
                      <a:pt x="252" y="306"/>
                    </a:lnTo>
                    <a:lnTo>
                      <a:pt x="252" y="288"/>
                    </a:lnTo>
                    <a:lnTo>
                      <a:pt x="228" y="264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46"/>
                    </a:lnTo>
                    <a:lnTo>
                      <a:pt x="186" y="246"/>
                    </a:lnTo>
                    <a:lnTo>
                      <a:pt x="174" y="234"/>
                    </a:lnTo>
                    <a:lnTo>
                      <a:pt x="168" y="234"/>
                    </a:lnTo>
                    <a:lnTo>
                      <a:pt x="174" y="228"/>
                    </a:lnTo>
                    <a:lnTo>
                      <a:pt x="192" y="228"/>
                    </a:lnTo>
                    <a:lnTo>
                      <a:pt x="198" y="240"/>
                    </a:lnTo>
                    <a:lnTo>
                      <a:pt x="222" y="252"/>
                    </a:lnTo>
                    <a:lnTo>
                      <a:pt x="234" y="264"/>
                    </a:lnTo>
                    <a:lnTo>
                      <a:pt x="258" y="264"/>
                    </a:lnTo>
                    <a:lnTo>
                      <a:pt x="270" y="252"/>
                    </a:lnTo>
                    <a:lnTo>
                      <a:pt x="258" y="240"/>
                    </a:lnTo>
                    <a:lnTo>
                      <a:pt x="246" y="240"/>
                    </a:lnTo>
                    <a:lnTo>
                      <a:pt x="234" y="234"/>
                    </a:lnTo>
                    <a:lnTo>
                      <a:pt x="222" y="234"/>
                    </a:lnTo>
                    <a:lnTo>
                      <a:pt x="210" y="228"/>
                    </a:lnTo>
                    <a:lnTo>
                      <a:pt x="204" y="216"/>
                    </a:lnTo>
                    <a:lnTo>
                      <a:pt x="198" y="210"/>
                    </a:lnTo>
                    <a:lnTo>
                      <a:pt x="198" y="204"/>
                    </a:lnTo>
                    <a:lnTo>
                      <a:pt x="192" y="192"/>
                    </a:lnTo>
                    <a:lnTo>
                      <a:pt x="186" y="186"/>
                    </a:lnTo>
                    <a:lnTo>
                      <a:pt x="174" y="162"/>
                    </a:lnTo>
                    <a:lnTo>
                      <a:pt x="168" y="156"/>
                    </a:lnTo>
                    <a:lnTo>
                      <a:pt x="162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44" y="114"/>
                    </a:lnTo>
                    <a:lnTo>
                      <a:pt x="144" y="102"/>
                    </a:lnTo>
                    <a:lnTo>
                      <a:pt x="150" y="96"/>
                    </a:lnTo>
                    <a:lnTo>
                      <a:pt x="156" y="96"/>
                    </a:lnTo>
                    <a:lnTo>
                      <a:pt x="162" y="102"/>
                    </a:lnTo>
                    <a:lnTo>
                      <a:pt x="162" y="108"/>
                    </a:lnTo>
                    <a:lnTo>
                      <a:pt x="168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6" y="120"/>
                    </a:lnTo>
                    <a:lnTo>
                      <a:pt x="198" y="132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16" y="138"/>
                    </a:lnTo>
                    <a:lnTo>
                      <a:pt x="204" y="120"/>
                    </a:lnTo>
                    <a:lnTo>
                      <a:pt x="210" y="120"/>
                    </a:lnTo>
                    <a:lnTo>
                      <a:pt x="234" y="132"/>
                    </a:lnTo>
                    <a:lnTo>
                      <a:pt x="222" y="114"/>
                    </a:lnTo>
                    <a:lnTo>
                      <a:pt x="228" y="108"/>
                    </a:lnTo>
                    <a:lnTo>
                      <a:pt x="228" y="84"/>
                    </a:lnTo>
                    <a:lnTo>
                      <a:pt x="240" y="72"/>
                    </a:lnTo>
                    <a:lnTo>
                      <a:pt x="270" y="72"/>
                    </a:lnTo>
                    <a:lnTo>
                      <a:pt x="276" y="78"/>
                    </a:lnTo>
                    <a:lnTo>
                      <a:pt x="276" y="90"/>
                    </a:lnTo>
                    <a:lnTo>
                      <a:pt x="288" y="90"/>
                    </a:lnTo>
                    <a:lnTo>
                      <a:pt x="294" y="84"/>
                    </a:lnTo>
                    <a:lnTo>
                      <a:pt x="300" y="72"/>
                    </a:lnTo>
                    <a:lnTo>
                      <a:pt x="306" y="66"/>
                    </a:lnTo>
                    <a:lnTo>
                      <a:pt x="342" y="66"/>
                    </a:lnTo>
                    <a:lnTo>
                      <a:pt x="360" y="72"/>
                    </a:lnTo>
                    <a:lnTo>
                      <a:pt x="372" y="72"/>
                    </a:lnTo>
                    <a:lnTo>
                      <a:pt x="378" y="78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90" y="60"/>
                    </a:lnTo>
                    <a:lnTo>
                      <a:pt x="390" y="48"/>
                    </a:lnTo>
                    <a:lnTo>
                      <a:pt x="384" y="42"/>
                    </a:lnTo>
                    <a:lnTo>
                      <a:pt x="384" y="36"/>
                    </a:lnTo>
                    <a:lnTo>
                      <a:pt x="390" y="30"/>
                    </a:lnTo>
                    <a:lnTo>
                      <a:pt x="408" y="30"/>
                    </a:lnTo>
                    <a:lnTo>
                      <a:pt x="408" y="18"/>
                    </a:lnTo>
                    <a:lnTo>
                      <a:pt x="402" y="12"/>
                    </a:lnTo>
                    <a:lnTo>
                      <a:pt x="402" y="6"/>
                    </a:lnTo>
                    <a:lnTo>
                      <a:pt x="390" y="6"/>
                    </a:lnTo>
                    <a:lnTo>
                      <a:pt x="384" y="0"/>
                    </a:lnTo>
                    <a:lnTo>
                      <a:pt x="366" y="6"/>
                    </a:lnTo>
                    <a:lnTo>
                      <a:pt x="372" y="12"/>
                    </a:lnTo>
                    <a:lnTo>
                      <a:pt x="372" y="30"/>
                    </a:lnTo>
                    <a:lnTo>
                      <a:pt x="366" y="36"/>
                    </a:lnTo>
                    <a:lnTo>
                      <a:pt x="348" y="36"/>
                    </a:lnTo>
                    <a:lnTo>
                      <a:pt x="336" y="24"/>
                    </a:lnTo>
                    <a:lnTo>
                      <a:pt x="324" y="36"/>
                    </a:lnTo>
                    <a:lnTo>
                      <a:pt x="312" y="36"/>
                    </a:lnTo>
                    <a:lnTo>
                      <a:pt x="300" y="24"/>
                    </a:lnTo>
                    <a:lnTo>
                      <a:pt x="294" y="30"/>
                    </a:lnTo>
                    <a:lnTo>
                      <a:pt x="282" y="30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34" y="12"/>
                    </a:lnTo>
                    <a:lnTo>
                      <a:pt x="228" y="30"/>
                    </a:lnTo>
                    <a:lnTo>
                      <a:pt x="204" y="24"/>
                    </a:lnTo>
                    <a:lnTo>
                      <a:pt x="198" y="30"/>
                    </a:lnTo>
                    <a:lnTo>
                      <a:pt x="186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62" y="30"/>
                    </a:lnTo>
                    <a:lnTo>
                      <a:pt x="150" y="36"/>
                    </a:lnTo>
                    <a:lnTo>
                      <a:pt x="138" y="48"/>
                    </a:lnTo>
                    <a:lnTo>
                      <a:pt x="126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72"/>
                    </a:lnTo>
                    <a:lnTo>
                      <a:pt x="72" y="72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48" y="72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42" y="102"/>
                    </a:lnTo>
                    <a:lnTo>
                      <a:pt x="24" y="102"/>
                    </a:lnTo>
                    <a:lnTo>
                      <a:pt x="24" y="126"/>
                    </a:lnTo>
                    <a:lnTo>
                      <a:pt x="12" y="132"/>
                    </a:lnTo>
                    <a:lnTo>
                      <a:pt x="0" y="132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30" y="228"/>
                    </a:lnTo>
                    <a:lnTo>
                      <a:pt x="36" y="234"/>
                    </a:lnTo>
                    <a:lnTo>
                      <a:pt x="42" y="246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84" y="270"/>
                    </a:lnTo>
                    <a:lnTo>
                      <a:pt x="96" y="264"/>
                    </a:lnTo>
                    <a:lnTo>
                      <a:pt x="108" y="264"/>
                    </a:lnTo>
                    <a:close/>
                    <a:moveTo>
                      <a:pt x="396" y="252"/>
                    </a:moveTo>
                    <a:lnTo>
                      <a:pt x="372" y="252"/>
                    </a:lnTo>
                    <a:lnTo>
                      <a:pt x="372" y="270"/>
                    </a:lnTo>
                    <a:lnTo>
                      <a:pt x="384" y="294"/>
                    </a:lnTo>
                    <a:lnTo>
                      <a:pt x="396" y="252"/>
                    </a:lnTo>
                    <a:close/>
                    <a:moveTo>
                      <a:pt x="24" y="312"/>
                    </a:moveTo>
                    <a:lnTo>
                      <a:pt x="18" y="318"/>
                    </a:lnTo>
                    <a:lnTo>
                      <a:pt x="24" y="324"/>
                    </a:lnTo>
                    <a:lnTo>
                      <a:pt x="30" y="324"/>
                    </a:lnTo>
                    <a:lnTo>
                      <a:pt x="36" y="330"/>
                    </a:lnTo>
                    <a:lnTo>
                      <a:pt x="42" y="324"/>
                    </a:lnTo>
                    <a:lnTo>
                      <a:pt x="42" y="318"/>
                    </a:lnTo>
                    <a:lnTo>
                      <a:pt x="30" y="306"/>
                    </a:lnTo>
                    <a:lnTo>
                      <a:pt x="24" y="312"/>
                    </a:lnTo>
                    <a:close/>
                    <a:moveTo>
                      <a:pt x="378" y="390"/>
                    </a:moveTo>
                    <a:lnTo>
                      <a:pt x="378" y="408"/>
                    </a:lnTo>
                    <a:lnTo>
                      <a:pt x="390" y="390"/>
                    </a:lnTo>
                    <a:lnTo>
                      <a:pt x="378" y="390"/>
                    </a:lnTo>
                    <a:close/>
                    <a:moveTo>
                      <a:pt x="408" y="330"/>
                    </a:moveTo>
                    <a:lnTo>
                      <a:pt x="396" y="330"/>
                    </a:lnTo>
                    <a:lnTo>
                      <a:pt x="384" y="336"/>
                    </a:lnTo>
                    <a:lnTo>
                      <a:pt x="384" y="342"/>
                    </a:lnTo>
                    <a:lnTo>
                      <a:pt x="396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30"/>
                    </a:lnTo>
                    <a:close/>
                    <a:moveTo>
                      <a:pt x="396" y="192"/>
                    </a:moveTo>
                    <a:lnTo>
                      <a:pt x="372" y="198"/>
                    </a:lnTo>
                    <a:lnTo>
                      <a:pt x="372" y="210"/>
                    </a:lnTo>
                    <a:lnTo>
                      <a:pt x="390" y="210"/>
                    </a:lnTo>
                    <a:lnTo>
                      <a:pt x="396" y="216"/>
                    </a:lnTo>
                    <a:lnTo>
                      <a:pt x="396" y="222"/>
                    </a:lnTo>
                    <a:lnTo>
                      <a:pt x="414" y="222"/>
                    </a:lnTo>
                    <a:lnTo>
                      <a:pt x="414" y="210"/>
                    </a:lnTo>
                    <a:lnTo>
                      <a:pt x="396" y="192"/>
                    </a:lnTo>
                    <a:close/>
                    <a:moveTo>
                      <a:pt x="342" y="372"/>
                    </a:moveTo>
                    <a:lnTo>
                      <a:pt x="342" y="378"/>
                    </a:lnTo>
                    <a:lnTo>
                      <a:pt x="348" y="384"/>
                    </a:lnTo>
                    <a:lnTo>
                      <a:pt x="360" y="384"/>
                    </a:lnTo>
                    <a:lnTo>
                      <a:pt x="366" y="378"/>
                    </a:lnTo>
                    <a:lnTo>
                      <a:pt x="366" y="372"/>
                    </a:lnTo>
                    <a:lnTo>
                      <a:pt x="360" y="366"/>
                    </a:lnTo>
                    <a:lnTo>
                      <a:pt x="342" y="366"/>
                    </a:lnTo>
                    <a:lnTo>
                      <a:pt x="342" y="372"/>
                    </a:lnTo>
                    <a:close/>
                    <a:moveTo>
                      <a:pt x="444" y="312"/>
                    </a:moveTo>
                    <a:lnTo>
                      <a:pt x="432" y="312"/>
                    </a:lnTo>
                    <a:lnTo>
                      <a:pt x="432" y="330"/>
                    </a:lnTo>
                    <a:lnTo>
                      <a:pt x="444" y="336"/>
                    </a:lnTo>
                    <a:lnTo>
                      <a:pt x="450" y="330"/>
                    </a:lnTo>
                    <a:lnTo>
                      <a:pt x="450" y="318"/>
                    </a:lnTo>
                    <a:lnTo>
                      <a:pt x="444" y="312"/>
                    </a:lnTo>
                    <a:close/>
                    <a:moveTo>
                      <a:pt x="444" y="372"/>
                    </a:moveTo>
                    <a:lnTo>
                      <a:pt x="456" y="354"/>
                    </a:lnTo>
                    <a:lnTo>
                      <a:pt x="438" y="354"/>
                    </a:lnTo>
                    <a:lnTo>
                      <a:pt x="444" y="372"/>
                    </a:lnTo>
                    <a:close/>
                    <a:moveTo>
                      <a:pt x="276" y="222"/>
                    </a:moveTo>
                    <a:lnTo>
                      <a:pt x="276" y="240"/>
                    </a:lnTo>
                    <a:lnTo>
                      <a:pt x="288" y="240"/>
                    </a:lnTo>
                    <a:lnTo>
                      <a:pt x="276" y="222"/>
                    </a:lnTo>
                    <a:close/>
                    <a:moveTo>
                      <a:pt x="534" y="420"/>
                    </a:moveTo>
                    <a:lnTo>
                      <a:pt x="522" y="420"/>
                    </a:lnTo>
                    <a:lnTo>
                      <a:pt x="516" y="426"/>
                    </a:lnTo>
                    <a:lnTo>
                      <a:pt x="510" y="438"/>
                    </a:lnTo>
                    <a:lnTo>
                      <a:pt x="510" y="468"/>
                    </a:lnTo>
                    <a:lnTo>
                      <a:pt x="516" y="468"/>
                    </a:lnTo>
                    <a:lnTo>
                      <a:pt x="522" y="456"/>
                    </a:lnTo>
                    <a:lnTo>
                      <a:pt x="528" y="450"/>
                    </a:lnTo>
                    <a:lnTo>
                      <a:pt x="534" y="438"/>
                    </a:lnTo>
                    <a:lnTo>
                      <a:pt x="534" y="420"/>
                    </a:lnTo>
                    <a:close/>
                    <a:moveTo>
                      <a:pt x="462" y="384"/>
                    </a:moveTo>
                    <a:lnTo>
                      <a:pt x="456" y="408"/>
                    </a:lnTo>
                    <a:lnTo>
                      <a:pt x="498" y="378"/>
                    </a:lnTo>
                    <a:lnTo>
                      <a:pt x="486" y="372"/>
                    </a:lnTo>
                    <a:lnTo>
                      <a:pt x="462" y="384"/>
                    </a:lnTo>
                    <a:close/>
                    <a:moveTo>
                      <a:pt x="462" y="510"/>
                    </a:moveTo>
                    <a:lnTo>
                      <a:pt x="480" y="510"/>
                    </a:lnTo>
                    <a:lnTo>
                      <a:pt x="468" y="468"/>
                    </a:lnTo>
                    <a:lnTo>
                      <a:pt x="462" y="510"/>
                    </a:lnTo>
                    <a:close/>
                    <a:moveTo>
                      <a:pt x="276" y="330"/>
                    </a:moveTo>
                    <a:lnTo>
                      <a:pt x="270" y="336"/>
                    </a:lnTo>
                    <a:lnTo>
                      <a:pt x="270" y="348"/>
                    </a:lnTo>
                    <a:lnTo>
                      <a:pt x="276" y="348"/>
                    </a:lnTo>
                    <a:lnTo>
                      <a:pt x="288" y="336"/>
                    </a:lnTo>
                    <a:lnTo>
                      <a:pt x="282" y="330"/>
                    </a:lnTo>
                    <a:lnTo>
                      <a:pt x="276" y="330"/>
                    </a:lnTo>
                    <a:close/>
                    <a:moveTo>
                      <a:pt x="186" y="432"/>
                    </a:move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198" y="444"/>
                    </a:lnTo>
                    <a:lnTo>
                      <a:pt x="198" y="438"/>
                    </a:lnTo>
                    <a:lnTo>
                      <a:pt x="192" y="432"/>
                    </a:lnTo>
                    <a:lnTo>
                      <a:pt x="186" y="432"/>
                    </a:lnTo>
                    <a:close/>
                    <a:moveTo>
                      <a:pt x="384" y="528"/>
                    </a:moveTo>
                    <a:lnTo>
                      <a:pt x="378" y="528"/>
                    </a:lnTo>
                    <a:lnTo>
                      <a:pt x="378" y="516"/>
                    </a:lnTo>
                    <a:lnTo>
                      <a:pt x="372" y="510"/>
                    </a:lnTo>
                    <a:lnTo>
                      <a:pt x="342" y="510"/>
                    </a:lnTo>
                    <a:lnTo>
                      <a:pt x="306" y="504"/>
                    </a:lnTo>
                    <a:lnTo>
                      <a:pt x="276" y="504"/>
                    </a:lnTo>
                    <a:lnTo>
                      <a:pt x="246" y="486"/>
                    </a:lnTo>
                    <a:lnTo>
                      <a:pt x="228" y="504"/>
                    </a:lnTo>
                    <a:lnTo>
                      <a:pt x="234" y="510"/>
                    </a:lnTo>
                    <a:lnTo>
                      <a:pt x="246" y="516"/>
                    </a:lnTo>
                    <a:lnTo>
                      <a:pt x="252" y="522"/>
                    </a:lnTo>
                    <a:lnTo>
                      <a:pt x="258" y="516"/>
                    </a:lnTo>
                    <a:lnTo>
                      <a:pt x="264" y="528"/>
                    </a:lnTo>
                    <a:lnTo>
                      <a:pt x="300" y="528"/>
                    </a:lnTo>
                    <a:lnTo>
                      <a:pt x="312" y="552"/>
                    </a:lnTo>
                    <a:lnTo>
                      <a:pt x="354" y="546"/>
                    </a:lnTo>
                    <a:lnTo>
                      <a:pt x="354" y="540"/>
                    </a:lnTo>
                    <a:lnTo>
                      <a:pt x="402" y="540"/>
                    </a:lnTo>
                    <a:lnTo>
                      <a:pt x="414" y="528"/>
                    </a:lnTo>
                    <a:lnTo>
                      <a:pt x="414" y="522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84" y="528"/>
                    </a:lnTo>
                    <a:close/>
                    <a:moveTo>
                      <a:pt x="420" y="408"/>
                    </a:moveTo>
                    <a:lnTo>
                      <a:pt x="408" y="408"/>
                    </a:lnTo>
                    <a:lnTo>
                      <a:pt x="408" y="420"/>
                    </a:lnTo>
                    <a:lnTo>
                      <a:pt x="420" y="420"/>
                    </a:lnTo>
                    <a:lnTo>
                      <a:pt x="426" y="414"/>
                    </a:lnTo>
                    <a:lnTo>
                      <a:pt x="420" y="408"/>
                    </a:lnTo>
                    <a:close/>
                    <a:moveTo>
                      <a:pt x="114" y="276"/>
                    </a:moveTo>
                    <a:lnTo>
                      <a:pt x="90" y="288"/>
                    </a:lnTo>
                    <a:lnTo>
                      <a:pt x="84" y="288"/>
                    </a:lnTo>
                    <a:lnTo>
                      <a:pt x="66" y="312"/>
                    </a:lnTo>
                    <a:lnTo>
                      <a:pt x="96" y="336"/>
                    </a:lnTo>
                    <a:lnTo>
                      <a:pt x="96" y="348"/>
                    </a:lnTo>
                    <a:lnTo>
                      <a:pt x="90" y="366"/>
                    </a:lnTo>
                    <a:lnTo>
                      <a:pt x="90" y="384"/>
                    </a:lnTo>
                    <a:lnTo>
                      <a:pt x="96" y="390"/>
                    </a:lnTo>
                    <a:lnTo>
                      <a:pt x="108" y="396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26" y="378"/>
                    </a:lnTo>
                    <a:lnTo>
                      <a:pt x="132" y="378"/>
                    </a:lnTo>
                    <a:lnTo>
                      <a:pt x="156" y="420"/>
                    </a:lnTo>
                    <a:lnTo>
                      <a:pt x="162" y="390"/>
                    </a:lnTo>
                    <a:lnTo>
                      <a:pt x="180" y="414"/>
                    </a:lnTo>
                    <a:lnTo>
                      <a:pt x="204" y="420"/>
                    </a:lnTo>
                    <a:lnTo>
                      <a:pt x="186" y="402"/>
                    </a:lnTo>
                    <a:lnTo>
                      <a:pt x="192" y="396"/>
                    </a:lnTo>
                    <a:lnTo>
                      <a:pt x="192" y="372"/>
                    </a:lnTo>
                    <a:lnTo>
                      <a:pt x="186" y="366"/>
                    </a:lnTo>
                    <a:lnTo>
                      <a:pt x="180" y="354"/>
                    </a:lnTo>
                    <a:lnTo>
                      <a:pt x="174" y="348"/>
                    </a:lnTo>
                    <a:lnTo>
                      <a:pt x="168" y="336"/>
                    </a:lnTo>
                    <a:lnTo>
                      <a:pt x="168" y="330"/>
                    </a:lnTo>
                    <a:lnTo>
                      <a:pt x="186" y="330"/>
                    </a:lnTo>
                    <a:lnTo>
                      <a:pt x="198" y="336"/>
                    </a:lnTo>
                    <a:lnTo>
                      <a:pt x="210" y="348"/>
                    </a:lnTo>
                    <a:lnTo>
                      <a:pt x="222" y="342"/>
                    </a:lnTo>
                    <a:lnTo>
                      <a:pt x="210" y="336"/>
                    </a:lnTo>
                    <a:lnTo>
                      <a:pt x="204" y="324"/>
                    </a:lnTo>
                    <a:lnTo>
                      <a:pt x="192" y="318"/>
                    </a:lnTo>
                    <a:lnTo>
                      <a:pt x="186" y="312"/>
                    </a:lnTo>
                    <a:lnTo>
                      <a:pt x="174" y="306"/>
                    </a:lnTo>
                    <a:lnTo>
                      <a:pt x="156" y="294"/>
                    </a:lnTo>
                    <a:lnTo>
                      <a:pt x="138" y="288"/>
                    </a:lnTo>
                    <a:lnTo>
                      <a:pt x="126" y="282"/>
                    </a:lnTo>
                    <a:lnTo>
                      <a:pt x="120" y="276"/>
                    </a:lnTo>
                    <a:lnTo>
                      <a:pt x="114" y="27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7" name="Georg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CC3DA4-ED80-860D-4F7D-CF8600538F4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87072" y="2335976"/>
                <a:ext cx="207523" cy="94019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8" name="Fran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CE757EC-1A1C-154A-F633-04DB511C487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95815" y="2066337"/>
                <a:ext cx="409726" cy="353014"/>
              </a:xfrm>
              <a:custGeom>
                <a:avLst/>
                <a:gdLst>
                  <a:gd name="T0" fmla="*/ 2147483647 w 230"/>
                  <a:gd name="T1" fmla="*/ 2147483647 h 198"/>
                  <a:gd name="T2" fmla="*/ 2147483647 w 230"/>
                  <a:gd name="T3" fmla="*/ 2147483647 h 198"/>
                  <a:gd name="T4" fmla="*/ 2147483647 w 230"/>
                  <a:gd name="T5" fmla="*/ 2147483647 h 198"/>
                  <a:gd name="T6" fmla="*/ 2147483647 w 230"/>
                  <a:gd name="T7" fmla="*/ 2147483647 h 198"/>
                  <a:gd name="T8" fmla="*/ 2147483647 w 230"/>
                  <a:gd name="T9" fmla="*/ 2147483647 h 198"/>
                  <a:gd name="T10" fmla="*/ 2147483647 w 230"/>
                  <a:gd name="T11" fmla="*/ 2147483647 h 198"/>
                  <a:gd name="T12" fmla="*/ 2147483647 w 230"/>
                  <a:gd name="T13" fmla="*/ 2147483647 h 198"/>
                  <a:gd name="T14" fmla="*/ 2147483647 w 230"/>
                  <a:gd name="T15" fmla="*/ 2147483647 h 198"/>
                  <a:gd name="T16" fmla="*/ 2147483647 w 230"/>
                  <a:gd name="T17" fmla="*/ 2147483647 h 198"/>
                  <a:gd name="T18" fmla="*/ 2147483647 w 230"/>
                  <a:gd name="T19" fmla="*/ 2147483647 h 198"/>
                  <a:gd name="T20" fmla="*/ 2147483647 w 230"/>
                  <a:gd name="T21" fmla="*/ 2147483647 h 198"/>
                  <a:gd name="T22" fmla="*/ 2147483647 w 230"/>
                  <a:gd name="T23" fmla="*/ 2147483647 h 198"/>
                  <a:gd name="T24" fmla="*/ 2147483647 w 230"/>
                  <a:gd name="T25" fmla="*/ 2147483647 h 198"/>
                  <a:gd name="T26" fmla="*/ 2147483647 w 230"/>
                  <a:gd name="T27" fmla="*/ 2147483647 h 198"/>
                  <a:gd name="T28" fmla="*/ 2147483647 w 230"/>
                  <a:gd name="T29" fmla="*/ 2147483647 h 198"/>
                  <a:gd name="T30" fmla="*/ 2147483647 w 230"/>
                  <a:gd name="T31" fmla="*/ 2147483647 h 198"/>
                  <a:gd name="T32" fmla="*/ 2147483647 w 230"/>
                  <a:gd name="T33" fmla="*/ 2147483647 h 198"/>
                  <a:gd name="T34" fmla="*/ 2147483647 w 230"/>
                  <a:gd name="T35" fmla="*/ 2147483647 h 198"/>
                  <a:gd name="T36" fmla="*/ 2147483647 w 230"/>
                  <a:gd name="T37" fmla="*/ 2147483647 h 198"/>
                  <a:gd name="T38" fmla="*/ 2147483647 w 230"/>
                  <a:gd name="T39" fmla="*/ 2147483647 h 198"/>
                  <a:gd name="T40" fmla="*/ 2147483647 w 230"/>
                  <a:gd name="T41" fmla="*/ 2147483647 h 198"/>
                  <a:gd name="T42" fmla="*/ 2147483647 w 230"/>
                  <a:gd name="T43" fmla="*/ 2147483647 h 198"/>
                  <a:gd name="T44" fmla="*/ 2147483647 w 230"/>
                  <a:gd name="T45" fmla="*/ 2147483647 h 198"/>
                  <a:gd name="T46" fmla="*/ 2147483647 w 230"/>
                  <a:gd name="T47" fmla="*/ 2147483647 h 198"/>
                  <a:gd name="T48" fmla="*/ 2147483647 w 230"/>
                  <a:gd name="T49" fmla="*/ 2147483647 h 198"/>
                  <a:gd name="T50" fmla="*/ 2147483647 w 230"/>
                  <a:gd name="T51" fmla="*/ 2147483647 h 198"/>
                  <a:gd name="T52" fmla="*/ 2147483647 w 230"/>
                  <a:gd name="T53" fmla="*/ 2147483647 h 198"/>
                  <a:gd name="T54" fmla="*/ 2147483647 w 230"/>
                  <a:gd name="T55" fmla="*/ 2147483647 h 198"/>
                  <a:gd name="T56" fmla="*/ 2147483647 w 230"/>
                  <a:gd name="T57" fmla="*/ 2147483647 h 198"/>
                  <a:gd name="T58" fmla="*/ 2147483647 w 230"/>
                  <a:gd name="T59" fmla="*/ 2147483647 h 198"/>
                  <a:gd name="T60" fmla="*/ 2147483647 w 230"/>
                  <a:gd name="T61" fmla="*/ 2147483647 h 198"/>
                  <a:gd name="T62" fmla="*/ 2147483647 w 230"/>
                  <a:gd name="T63" fmla="*/ 2147483647 h 198"/>
                  <a:gd name="T64" fmla="*/ 2147483647 w 230"/>
                  <a:gd name="T65" fmla="*/ 2147483647 h 198"/>
                  <a:gd name="T66" fmla="*/ 2147483647 w 230"/>
                  <a:gd name="T67" fmla="*/ 2147483647 h 198"/>
                  <a:gd name="T68" fmla="*/ 2147483647 w 230"/>
                  <a:gd name="T69" fmla="*/ 2147483647 h 198"/>
                  <a:gd name="T70" fmla="*/ 2147483647 w 230"/>
                  <a:gd name="T71" fmla="*/ 2147483647 h 198"/>
                  <a:gd name="T72" fmla="*/ 2147483647 w 230"/>
                  <a:gd name="T73" fmla="*/ 2147483647 h 198"/>
                  <a:gd name="T74" fmla="*/ 2147483647 w 230"/>
                  <a:gd name="T75" fmla="*/ 2147483647 h 198"/>
                  <a:gd name="T76" fmla="*/ 2147483647 w 230"/>
                  <a:gd name="T77" fmla="*/ 2147483647 h 198"/>
                  <a:gd name="T78" fmla="*/ 2147483647 w 230"/>
                  <a:gd name="T79" fmla="*/ 2147483647 h 198"/>
                  <a:gd name="T80" fmla="*/ 2147483647 w 230"/>
                  <a:gd name="T81" fmla="*/ 2147483647 h 198"/>
                  <a:gd name="T82" fmla="*/ 2147483647 w 230"/>
                  <a:gd name="T83" fmla="*/ 2147483647 h 198"/>
                  <a:gd name="T84" fmla="*/ 2147483647 w 230"/>
                  <a:gd name="T85" fmla="*/ 2147483647 h 198"/>
                  <a:gd name="T86" fmla="*/ 2147483647 w 230"/>
                  <a:gd name="T87" fmla="*/ 2147483647 h 198"/>
                  <a:gd name="T88" fmla="*/ 2147483647 w 230"/>
                  <a:gd name="T89" fmla="*/ 2147483647 h 198"/>
                  <a:gd name="T90" fmla="*/ 2147483647 w 230"/>
                  <a:gd name="T91" fmla="*/ 2147483647 h 198"/>
                  <a:gd name="T92" fmla="*/ 2147483647 w 230"/>
                  <a:gd name="T93" fmla="*/ 2147483647 h 198"/>
                  <a:gd name="T94" fmla="*/ 2147483647 w 230"/>
                  <a:gd name="T95" fmla="*/ 2147483647 h 198"/>
                  <a:gd name="T96" fmla="*/ 2147483647 w 230"/>
                  <a:gd name="T97" fmla="*/ 2147483647 h 198"/>
                  <a:gd name="T98" fmla="*/ 2147483647 w 230"/>
                  <a:gd name="T99" fmla="*/ 2147483647 h 198"/>
                  <a:gd name="T100" fmla="*/ 2147483647 w 230"/>
                  <a:gd name="T101" fmla="*/ 2147483647 h 198"/>
                  <a:gd name="T102" fmla="*/ 2147483647 w 230"/>
                  <a:gd name="T103" fmla="*/ 2147483647 h 198"/>
                  <a:gd name="T104" fmla="*/ 2147483647 w 230"/>
                  <a:gd name="T105" fmla="*/ 2147483647 h 198"/>
                  <a:gd name="T106" fmla="*/ 2147483647 w 230"/>
                  <a:gd name="T107" fmla="*/ 2147483647 h 198"/>
                  <a:gd name="T108" fmla="*/ 2147483647 w 230"/>
                  <a:gd name="T109" fmla="*/ 2147483647 h 198"/>
                  <a:gd name="T110" fmla="*/ 2147483647 w 230"/>
                  <a:gd name="T111" fmla="*/ 2147483647 h 198"/>
                  <a:gd name="T112" fmla="*/ 2147483647 w 230"/>
                  <a:gd name="T113" fmla="*/ 2147483647 h 198"/>
                  <a:gd name="T114" fmla="*/ 2147483647 w 230"/>
                  <a:gd name="T115" fmla="*/ 2147483647 h 198"/>
                  <a:gd name="T116" fmla="*/ 2147483647 w 230"/>
                  <a:gd name="T117" fmla="*/ 2147483647 h 198"/>
                  <a:gd name="T118" fmla="*/ 2147483647 w 230"/>
                  <a:gd name="T119" fmla="*/ 2147483647 h 198"/>
                  <a:gd name="T120" fmla="*/ 2147483647 w 230"/>
                  <a:gd name="T121" fmla="*/ 2147483647 h 1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0"/>
                  <a:gd name="T184" fmla="*/ 0 h 198"/>
                  <a:gd name="T185" fmla="*/ 230 w 230"/>
                  <a:gd name="T186" fmla="*/ 198 h 1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0" h="198">
                    <a:moveTo>
                      <a:pt x="230" y="172"/>
                    </a:moveTo>
                    <a:lnTo>
                      <a:pt x="230" y="172"/>
                    </a:lnTo>
                    <a:lnTo>
                      <a:pt x="230" y="166"/>
                    </a:lnTo>
                    <a:lnTo>
                      <a:pt x="228" y="166"/>
                    </a:lnTo>
                    <a:lnTo>
                      <a:pt x="224" y="168"/>
                    </a:lnTo>
                    <a:lnTo>
                      <a:pt x="224" y="170"/>
                    </a:lnTo>
                    <a:lnTo>
                      <a:pt x="220" y="172"/>
                    </a:lnTo>
                    <a:lnTo>
                      <a:pt x="218" y="174"/>
                    </a:lnTo>
                    <a:lnTo>
                      <a:pt x="216" y="178"/>
                    </a:lnTo>
                    <a:lnTo>
                      <a:pt x="216" y="182"/>
                    </a:lnTo>
                    <a:lnTo>
                      <a:pt x="218" y="186"/>
                    </a:lnTo>
                    <a:lnTo>
                      <a:pt x="218" y="190"/>
                    </a:lnTo>
                    <a:lnTo>
                      <a:pt x="218" y="192"/>
                    </a:lnTo>
                    <a:lnTo>
                      <a:pt x="218" y="194"/>
                    </a:lnTo>
                    <a:lnTo>
                      <a:pt x="222" y="196"/>
                    </a:lnTo>
                    <a:lnTo>
                      <a:pt x="224" y="198"/>
                    </a:lnTo>
                    <a:lnTo>
                      <a:pt x="230" y="192"/>
                    </a:lnTo>
                    <a:lnTo>
                      <a:pt x="230" y="186"/>
                    </a:lnTo>
                    <a:lnTo>
                      <a:pt x="228" y="186"/>
                    </a:lnTo>
                    <a:lnTo>
                      <a:pt x="230" y="184"/>
                    </a:lnTo>
                    <a:lnTo>
                      <a:pt x="230" y="172"/>
                    </a:lnTo>
                    <a:close/>
                    <a:moveTo>
                      <a:pt x="198" y="40"/>
                    </a:moveTo>
                    <a:lnTo>
                      <a:pt x="198" y="40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90" y="40"/>
                    </a:lnTo>
                    <a:lnTo>
                      <a:pt x="184" y="40"/>
                    </a:lnTo>
                    <a:lnTo>
                      <a:pt x="184" y="34"/>
                    </a:lnTo>
                    <a:lnTo>
                      <a:pt x="182" y="34"/>
                    </a:lnTo>
                    <a:lnTo>
                      <a:pt x="182" y="32"/>
                    </a:lnTo>
                    <a:lnTo>
                      <a:pt x="178" y="30"/>
                    </a:lnTo>
                    <a:lnTo>
                      <a:pt x="174" y="34"/>
                    </a:lnTo>
                    <a:lnTo>
                      <a:pt x="172" y="32"/>
                    </a:lnTo>
                    <a:lnTo>
                      <a:pt x="166" y="32"/>
                    </a:lnTo>
                    <a:lnTo>
                      <a:pt x="164" y="28"/>
                    </a:lnTo>
                    <a:lnTo>
                      <a:pt x="162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2"/>
                    </a:lnTo>
                    <a:lnTo>
                      <a:pt x="152" y="24"/>
                    </a:lnTo>
                    <a:lnTo>
                      <a:pt x="146" y="24"/>
                    </a:lnTo>
                    <a:lnTo>
                      <a:pt x="146" y="18"/>
                    </a:lnTo>
                    <a:lnTo>
                      <a:pt x="144" y="16"/>
                    </a:lnTo>
                    <a:lnTo>
                      <a:pt x="142" y="14"/>
                    </a:lnTo>
                    <a:lnTo>
                      <a:pt x="136" y="14"/>
                    </a:lnTo>
                    <a:lnTo>
                      <a:pt x="132" y="12"/>
                    </a:lnTo>
                    <a:lnTo>
                      <a:pt x="126" y="1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0" y="4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6" y="14"/>
                    </a:lnTo>
                    <a:lnTo>
                      <a:pt x="106" y="20"/>
                    </a:lnTo>
                    <a:lnTo>
                      <a:pt x="104" y="22"/>
                    </a:lnTo>
                    <a:lnTo>
                      <a:pt x="98" y="24"/>
                    </a:lnTo>
                    <a:lnTo>
                      <a:pt x="92" y="24"/>
                    </a:lnTo>
                    <a:lnTo>
                      <a:pt x="82" y="32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2" y="34"/>
                    </a:lnTo>
                    <a:lnTo>
                      <a:pt x="76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58" y="30"/>
                    </a:lnTo>
                    <a:lnTo>
                      <a:pt x="56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4" y="34"/>
                    </a:lnTo>
                    <a:lnTo>
                      <a:pt x="56" y="38"/>
                    </a:lnTo>
                    <a:lnTo>
                      <a:pt x="58" y="40"/>
                    </a:lnTo>
                    <a:lnTo>
                      <a:pt x="58" y="46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38" y="48"/>
                    </a:lnTo>
                    <a:lnTo>
                      <a:pt x="38" y="54"/>
                    </a:lnTo>
                    <a:lnTo>
                      <a:pt x="36" y="52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4"/>
                    </a:lnTo>
                    <a:lnTo>
                      <a:pt x="26" y="72"/>
                    </a:lnTo>
                    <a:lnTo>
                      <a:pt x="32" y="72"/>
                    </a:lnTo>
                    <a:lnTo>
                      <a:pt x="38" y="76"/>
                    </a:lnTo>
                    <a:lnTo>
                      <a:pt x="48" y="76"/>
                    </a:lnTo>
                    <a:lnTo>
                      <a:pt x="40" y="80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6" y="92"/>
                    </a:lnTo>
                    <a:lnTo>
                      <a:pt x="52" y="96"/>
                    </a:lnTo>
                    <a:lnTo>
                      <a:pt x="58" y="96"/>
                    </a:lnTo>
                    <a:lnTo>
                      <a:pt x="58" y="106"/>
                    </a:lnTo>
                    <a:lnTo>
                      <a:pt x="62" y="114"/>
                    </a:lnTo>
                    <a:lnTo>
                      <a:pt x="66" y="124"/>
                    </a:lnTo>
                    <a:lnTo>
                      <a:pt x="58" y="114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32"/>
                    </a:lnTo>
                    <a:lnTo>
                      <a:pt x="54" y="134"/>
                    </a:lnTo>
                    <a:lnTo>
                      <a:pt x="52" y="144"/>
                    </a:lnTo>
                    <a:lnTo>
                      <a:pt x="52" y="146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48" y="152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52" y="160"/>
                    </a:lnTo>
                    <a:lnTo>
                      <a:pt x="52" y="162"/>
                    </a:lnTo>
                    <a:lnTo>
                      <a:pt x="50" y="164"/>
                    </a:lnTo>
                    <a:lnTo>
                      <a:pt x="60" y="164"/>
                    </a:lnTo>
                    <a:lnTo>
                      <a:pt x="64" y="168"/>
                    </a:lnTo>
                    <a:lnTo>
                      <a:pt x="66" y="166"/>
                    </a:lnTo>
                    <a:lnTo>
                      <a:pt x="68" y="166"/>
                    </a:lnTo>
                    <a:lnTo>
                      <a:pt x="72" y="170"/>
                    </a:lnTo>
                    <a:lnTo>
                      <a:pt x="78" y="170"/>
                    </a:lnTo>
                    <a:lnTo>
                      <a:pt x="78" y="172"/>
                    </a:lnTo>
                    <a:lnTo>
                      <a:pt x="84" y="172"/>
                    </a:lnTo>
                    <a:lnTo>
                      <a:pt x="84" y="168"/>
                    </a:lnTo>
                    <a:lnTo>
                      <a:pt x="86" y="166"/>
                    </a:lnTo>
                    <a:lnTo>
                      <a:pt x="90" y="166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6" y="170"/>
                    </a:lnTo>
                    <a:lnTo>
                      <a:pt x="96" y="172"/>
                    </a:lnTo>
                    <a:lnTo>
                      <a:pt x="104" y="172"/>
                    </a:lnTo>
                    <a:lnTo>
                      <a:pt x="104" y="174"/>
                    </a:lnTo>
                    <a:lnTo>
                      <a:pt x="104" y="176"/>
                    </a:lnTo>
                    <a:lnTo>
                      <a:pt x="112" y="176"/>
                    </a:lnTo>
                    <a:lnTo>
                      <a:pt x="112" y="178"/>
                    </a:lnTo>
                    <a:lnTo>
                      <a:pt x="118" y="178"/>
                    </a:lnTo>
                    <a:lnTo>
                      <a:pt x="118" y="176"/>
                    </a:lnTo>
                    <a:lnTo>
                      <a:pt x="118" y="174"/>
                    </a:lnTo>
                    <a:lnTo>
                      <a:pt x="122" y="174"/>
                    </a:lnTo>
                    <a:lnTo>
                      <a:pt x="122" y="170"/>
                    </a:lnTo>
                    <a:lnTo>
                      <a:pt x="126" y="164"/>
                    </a:lnTo>
                    <a:lnTo>
                      <a:pt x="130" y="160"/>
                    </a:lnTo>
                    <a:lnTo>
                      <a:pt x="132" y="158"/>
                    </a:lnTo>
                    <a:lnTo>
                      <a:pt x="134" y="156"/>
                    </a:lnTo>
                    <a:lnTo>
                      <a:pt x="138" y="154"/>
                    </a:lnTo>
                    <a:lnTo>
                      <a:pt x="140" y="152"/>
                    </a:lnTo>
                    <a:lnTo>
                      <a:pt x="144" y="152"/>
                    </a:lnTo>
                    <a:lnTo>
                      <a:pt x="146" y="154"/>
                    </a:lnTo>
                    <a:lnTo>
                      <a:pt x="150" y="154"/>
                    </a:lnTo>
                    <a:lnTo>
                      <a:pt x="152" y="156"/>
                    </a:lnTo>
                    <a:lnTo>
                      <a:pt x="162" y="156"/>
                    </a:lnTo>
                    <a:lnTo>
                      <a:pt x="166" y="160"/>
                    </a:lnTo>
                    <a:lnTo>
                      <a:pt x="166" y="162"/>
                    </a:lnTo>
                    <a:lnTo>
                      <a:pt x="170" y="162"/>
                    </a:lnTo>
                    <a:lnTo>
                      <a:pt x="172" y="164"/>
                    </a:lnTo>
                    <a:lnTo>
                      <a:pt x="178" y="164"/>
                    </a:lnTo>
                    <a:lnTo>
                      <a:pt x="182" y="162"/>
                    </a:lnTo>
                    <a:lnTo>
                      <a:pt x="184" y="160"/>
                    </a:lnTo>
                    <a:lnTo>
                      <a:pt x="186" y="154"/>
                    </a:lnTo>
                    <a:lnTo>
                      <a:pt x="192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200" y="144"/>
                    </a:lnTo>
                    <a:lnTo>
                      <a:pt x="200" y="142"/>
                    </a:lnTo>
                    <a:lnTo>
                      <a:pt x="198" y="140"/>
                    </a:lnTo>
                    <a:lnTo>
                      <a:pt x="192" y="140"/>
                    </a:lnTo>
                    <a:lnTo>
                      <a:pt x="188" y="138"/>
                    </a:lnTo>
                    <a:lnTo>
                      <a:pt x="186" y="136"/>
                    </a:lnTo>
                    <a:lnTo>
                      <a:pt x="186" y="134"/>
                    </a:lnTo>
                    <a:lnTo>
                      <a:pt x="188" y="132"/>
                    </a:lnTo>
                    <a:lnTo>
                      <a:pt x="190" y="130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0"/>
                    </a:lnTo>
                    <a:lnTo>
                      <a:pt x="188" y="120"/>
                    </a:lnTo>
                    <a:lnTo>
                      <a:pt x="192" y="116"/>
                    </a:lnTo>
                    <a:lnTo>
                      <a:pt x="192" y="114"/>
                    </a:lnTo>
                    <a:lnTo>
                      <a:pt x="186" y="108"/>
                    </a:lnTo>
                    <a:lnTo>
                      <a:pt x="188" y="106"/>
                    </a:lnTo>
                    <a:lnTo>
                      <a:pt x="190" y="106"/>
                    </a:lnTo>
                    <a:lnTo>
                      <a:pt x="190" y="104"/>
                    </a:lnTo>
                    <a:lnTo>
                      <a:pt x="186" y="100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2" y="94"/>
                    </a:lnTo>
                    <a:lnTo>
                      <a:pt x="176" y="100"/>
                    </a:lnTo>
                    <a:lnTo>
                      <a:pt x="174" y="100"/>
                    </a:lnTo>
                    <a:lnTo>
                      <a:pt x="174" y="98"/>
                    </a:lnTo>
                    <a:lnTo>
                      <a:pt x="176" y="96"/>
                    </a:lnTo>
                    <a:lnTo>
                      <a:pt x="174" y="94"/>
                    </a:lnTo>
                    <a:lnTo>
                      <a:pt x="178" y="92"/>
                    </a:lnTo>
                    <a:lnTo>
                      <a:pt x="178" y="88"/>
                    </a:lnTo>
                    <a:lnTo>
                      <a:pt x="182" y="86"/>
                    </a:lnTo>
                    <a:lnTo>
                      <a:pt x="182" y="82"/>
                    </a:lnTo>
                    <a:lnTo>
                      <a:pt x="186" y="82"/>
                    </a:lnTo>
                    <a:lnTo>
                      <a:pt x="188" y="80"/>
                    </a:lnTo>
                    <a:lnTo>
                      <a:pt x="190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8" y="76"/>
                    </a:lnTo>
                    <a:lnTo>
                      <a:pt x="198" y="72"/>
                    </a:lnTo>
                    <a:lnTo>
                      <a:pt x="198" y="60"/>
                    </a:lnTo>
                    <a:lnTo>
                      <a:pt x="200" y="58"/>
                    </a:lnTo>
                    <a:lnTo>
                      <a:pt x="202" y="56"/>
                    </a:lnTo>
                    <a:lnTo>
                      <a:pt x="204" y="54"/>
                    </a:lnTo>
                    <a:lnTo>
                      <a:pt x="204" y="50"/>
                    </a:lnTo>
                    <a:lnTo>
                      <a:pt x="208" y="46"/>
                    </a:lnTo>
                    <a:lnTo>
                      <a:pt x="210" y="42"/>
                    </a:lnTo>
                    <a:lnTo>
                      <a:pt x="204" y="40"/>
                    </a:lnTo>
                    <a:lnTo>
                      <a:pt x="198" y="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0" name="Fi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46A5648-FCF5-C3F8-2DF1-EE4C4677CB8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8048" y="1447232"/>
                <a:ext cx="283793" cy="322858"/>
              </a:xfrm>
              <a:custGeom>
                <a:avLst/>
                <a:gdLst>
                  <a:gd name="T0" fmla="*/ 2147483647 w 630"/>
                  <a:gd name="T1" fmla="*/ 2147483647 h 714"/>
                  <a:gd name="T2" fmla="*/ 2147483647 w 630"/>
                  <a:gd name="T3" fmla="*/ 2147483647 h 714"/>
                  <a:gd name="T4" fmla="*/ 2147483647 w 630"/>
                  <a:gd name="T5" fmla="*/ 2147483647 h 714"/>
                  <a:gd name="T6" fmla="*/ 2147483647 w 630"/>
                  <a:gd name="T7" fmla="*/ 2147483647 h 714"/>
                  <a:gd name="T8" fmla="*/ 2147483647 w 630"/>
                  <a:gd name="T9" fmla="*/ 2147483647 h 714"/>
                  <a:gd name="T10" fmla="*/ 2147483647 w 630"/>
                  <a:gd name="T11" fmla="*/ 2147483647 h 714"/>
                  <a:gd name="T12" fmla="*/ 2147483647 w 630"/>
                  <a:gd name="T13" fmla="*/ 2147483647 h 714"/>
                  <a:gd name="T14" fmla="*/ 2147483647 w 630"/>
                  <a:gd name="T15" fmla="*/ 2147483647 h 714"/>
                  <a:gd name="T16" fmla="*/ 2147483647 w 630"/>
                  <a:gd name="T17" fmla="*/ 2147483647 h 714"/>
                  <a:gd name="T18" fmla="*/ 2147483647 w 630"/>
                  <a:gd name="T19" fmla="*/ 2147483647 h 714"/>
                  <a:gd name="T20" fmla="*/ 2147483647 w 630"/>
                  <a:gd name="T21" fmla="*/ 2147483647 h 714"/>
                  <a:gd name="T22" fmla="*/ 2147483647 w 630"/>
                  <a:gd name="T23" fmla="*/ 2147483647 h 714"/>
                  <a:gd name="T24" fmla="*/ 2147483647 w 630"/>
                  <a:gd name="T25" fmla="*/ 2147483647 h 714"/>
                  <a:gd name="T26" fmla="*/ 2147483647 w 630"/>
                  <a:gd name="T27" fmla="*/ 2147483647 h 714"/>
                  <a:gd name="T28" fmla="*/ 2147483647 w 630"/>
                  <a:gd name="T29" fmla="*/ 2147483647 h 714"/>
                  <a:gd name="T30" fmla="*/ 2147483647 w 630"/>
                  <a:gd name="T31" fmla="*/ 2147483647 h 714"/>
                  <a:gd name="T32" fmla="*/ 2147483647 w 630"/>
                  <a:gd name="T33" fmla="*/ 2147483647 h 714"/>
                  <a:gd name="T34" fmla="*/ 2147483647 w 630"/>
                  <a:gd name="T35" fmla="*/ 2147483647 h 714"/>
                  <a:gd name="T36" fmla="*/ 2147483647 w 630"/>
                  <a:gd name="T37" fmla="*/ 2147483647 h 714"/>
                  <a:gd name="T38" fmla="*/ 2147483647 w 630"/>
                  <a:gd name="T39" fmla="*/ 2147483647 h 714"/>
                  <a:gd name="T40" fmla="*/ 2147483647 w 630"/>
                  <a:gd name="T41" fmla="*/ 2147483647 h 714"/>
                  <a:gd name="T42" fmla="*/ 2147483647 w 630"/>
                  <a:gd name="T43" fmla="*/ 2147483647 h 714"/>
                  <a:gd name="T44" fmla="*/ 2147483647 w 630"/>
                  <a:gd name="T45" fmla="*/ 2147483647 h 714"/>
                  <a:gd name="T46" fmla="*/ 2147483647 w 630"/>
                  <a:gd name="T47" fmla="*/ 2147483647 h 714"/>
                  <a:gd name="T48" fmla="*/ 2147483647 w 630"/>
                  <a:gd name="T49" fmla="*/ 2147483647 h 714"/>
                  <a:gd name="T50" fmla="*/ 2147483647 w 630"/>
                  <a:gd name="T51" fmla="*/ 2147483647 h 714"/>
                  <a:gd name="T52" fmla="*/ 2147483647 w 630"/>
                  <a:gd name="T53" fmla="*/ 2147483647 h 714"/>
                  <a:gd name="T54" fmla="*/ 2147483647 w 630"/>
                  <a:gd name="T55" fmla="*/ 2147483647 h 714"/>
                  <a:gd name="T56" fmla="*/ 2147483647 w 630"/>
                  <a:gd name="T57" fmla="*/ 2147483647 h 714"/>
                  <a:gd name="T58" fmla="*/ 2147483647 w 630"/>
                  <a:gd name="T59" fmla="*/ 2147483647 h 714"/>
                  <a:gd name="T60" fmla="*/ 2147483647 w 630"/>
                  <a:gd name="T61" fmla="*/ 2147483647 h 714"/>
                  <a:gd name="T62" fmla="*/ 2147483647 w 630"/>
                  <a:gd name="T63" fmla="*/ 2147483647 h 714"/>
                  <a:gd name="T64" fmla="*/ 2147483647 w 630"/>
                  <a:gd name="T65" fmla="*/ 2147483647 h 714"/>
                  <a:gd name="T66" fmla="*/ 2147483647 w 630"/>
                  <a:gd name="T67" fmla="*/ 2147483647 h 714"/>
                  <a:gd name="T68" fmla="*/ 2147483647 w 630"/>
                  <a:gd name="T69" fmla="*/ 2147483647 h 714"/>
                  <a:gd name="T70" fmla="*/ 2147483647 w 630"/>
                  <a:gd name="T71" fmla="*/ 2147483647 h 714"/>
                  <a:gd name="T72" fmla="*/ 2147483647 w 630"/>
                  <a:gd name="T73" fmla="*/ 2147483647 h 714"/>
                  <a:gd name="T74" fmla="*/ 2147483647 w 630"/>
                  <a:gd name="T75" fmla="*/ 2147483647 h 714"/>
                  <a:gd name="T76" fmla="*/ 2147483647 w 630"/>
                  <a:gd name="T77" fmla="*/ 2147483647 h 714"/>
                  <a:gd name="T78" fmla="*/ 2147483647 w 630"/>
                  <a:gd name="T79" fmla="*/ 2147483647 h 714"/>
                  <a:gd name="T80" fmla="*/ 2147483647 w 630"/>
                  <a:gd name="T81" fmla="*/ 2147483647 h 714"/>
                  <a:gd name="T82" fmla="*/ 2147483647 w 630"/>
                  <a:gd name="T83" fmla="*/ 2147483647 h 714"/>
                  <a:gd name="T84" fmla="*/ 2147483647 w 630"/>
                  <a:gd name="T85" fmla="*/ 2147483647 h 714"/>
                  <a:gd name="T86" fmla="*/ 2147483647 w 630"/>
                  <a:gd name="T87" fmla="*/ 2147483647 h 714"/>
                  <a:gd name="T88" fmla="*/ 2147483647 w 630"/>
                  <a:gd name="T89" fmla="*/ 2147483647 h 714"/>
                  <a:gd name="T90" fmla="*/ 2147483647 w 630"/>
                  <a:gd name="T91" fmla="*/ 2147483647 h 714"/>
                  <a:gd name="T92" fmla="*/ 2147483647 w 630"/>
                  <a:gd name="T93" fmla="*/ 2147483647 h 714"/>
                  <a:gd name="T94" fmla="*/ 2147483647 w 630"/>
                  <a:gd name="T95" fmla="*/ 2147483647 h 714"/>
                  <a:gd name="T96" fmla="*/ 2147483647 w 630"/>
                  <a:gd name="T97" fmla="*/ 2147483647 h 714"/>
                  <a:gd name="T98" fmla="*/ 2147483647 w 630"/>
                  <a:gd name="T99" fmla="*/ 2147483647 h 714"/>
                  <a:gd name="T100" fmla="*/ 2147483647 w 630"/>
                  <a:gd name="T101" fmla="*/ 2147483647 h 714"/>
                  <a:gd name="T102" fmla="*/ 2147483647 w 630"/>
                  <a:gd name="T103" fmla="*/ 2147483647 h 714"/>
                  <a:gd name="T104" fmla="*/ 2147483647 w 630"/>
                  <a:gd name="T105" fmla="*/ 2147483647 h 714"/>
                  <a:gd name="T106" fmla="*/ 2147483647 w 630"/>
                  <a:gd name="T107" fmla="*/ 0 h 714"/>
                  <a:gd name="T108" fmla="*/ 2147483647 w 630"/>
                  <a:gd name="T109" fmla="*/ 2147483647 h 714"/>
                  <a:gd name="T110" fmla="*/ 2147483647 w 630"/>
                  <a:gd name="T111" fmla="*/ 2147483647 h 714"/>
                  <a:gd name="T112" fmla="*/ 2147483647 w 630"/>
                  <a:gd name="T113" fmla="*/ 2147483647 h 714"/>
                  <a:gd name="T114" fmla="*/ 2147483647 w 630"/>
                  <a:gd name="T115" fmla="*/ 2147483647 h 714"/>
                  <a:gd name="T116" fmla="*/ 2147483647 w 630"/>
                  <a:gd name="T117" fmla="*/ 2147483647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714"/>
                  <a:gd name="T179" fmla="*/ 630 w 630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714">
                    <a:moveTo>
                      <a:pt x="162" y="84"/>
                    </a:moveTo>
                    <a:lnTo>
                      <a:pt x="156" y="90"/>
                    </a:lnTo>
                    <a:lnTo>
                      <a:pt x="144" y="96"/>
                    </a:lnTo>
                    <a:lnTo>
                      <a:pt x="132" y="96"/>
                    </a:lnTo>
                    <a:lnTo>
                      <a:pt x="126" y="90"/>
                    </a:lnTo>
                    <a:lnTo>
                      <a:pt x="108" y="90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2" y="72"/>
                    </a:lnTo>
                    <a:lnTo>
                      <a:pt x="60" y="66"/>
                    </a:lnTo>
                    <a:lnTo>
                      <a:pt x="54" y="54"/>
                    </a:lnTo>
                    <a:lnTo>
                      <a:pt x="48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6"/>
                    </a:lnTo>
                    <a:lnTo>
                      <a:pt x="60" y="96"/>
                    </a:lnTo>
                    <a:lnTo>
                      <a:pt x="72" y="108"/>
                    </a:lnTo>
                    <a:lnTo>
                      <a:pt x="108" y="108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56" y="132"/>
                    </a:lnTo>
                    <a:lnTo>
                      <a:pt x="162" y="132"/>
                    </a:lnTo>
                    <a:lnTo>
                      <a:pt x="162" y="156"/>
                    </a:lnTo>
                    <a:lnTo>
                      <a:pt x="156" y="162"/>
                    </a:lnTo>
                    <a:lnTo>
                      <a:pt x="156" y="168"/>
                    </a:lnTo>
                    <a:lnTo>
                      <a:pt x="168" y="174"/>
                    </a:lnTo>
                    <a:lnTo>
                      <a:pt x="162" y="198"/>
                    </a:lnTo>
                    <a:lnTo>
                      <a:pt x="186" y="210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68" y="240"/>
                    </a:lnTo>
                    <a:lnTo>
                      <a:pt x="168" y="246"/>
                    </a:lnTo>
                    <a:lnTo>
                      <a:pt x="180" y="258"/>
                    </a:lnTo>
                    <a:lnTo>
                      <a:pt x="192" y="264"/>
                    </a:lnTo>
                    <a:lnTo>
                      <a:pt x="198" y="270"/>
                    </a:lnTo>
                    <a:lnTo>
                      <a:pt x="210" y="306"/>
                    </a:lnTo>
                    <a:lnTo>
                      <a:pt x="222" y="294"/>
                    </a:lnTo>
                    <a:lnTo>
                      <a:pt x="228" y="294"/>
                    </a:lnTo>
                    <a:lnTo>
                      <a:pt x="234" y="300"/>
                    </a:lnTo>
                    <a:lnTo>
                      <a:pt x="246" y="300"/>
                    </a:lnTo>
                    <a:lnTo>
                      <a:pt x="270" y="324"/>
                    </a:lnTo>
                    <a:lnTo>
                      <a:pt x="270" y="336"/>
                    </a:lnTo>
                    <a:lnTo>
                      <a:pt x="276" y="348"/>
                    </a:lnTo>
                    <a:lnTo>
                      <a:pt x="276" y="354"/>
                    </a:lnTo>
                    <a:lnTo>
                      <a:pt x="264" y="348"/>
                    </a:lnTo>
                    <a:lnTo>
                      <a:pt x="246" y="348"/>
                    </a:lnTo>
                    <a:lnTo>
                      <a:pt x="240" y="354"/>
                    </a:lnTo>
                    <a:lnTo>
                      <a:pt x="234" y="366"/>
                    </a:lnTo>
                    <a:lnTo>
                      <a:pt x="228" y="372"/>
                    </a:lnTo>
                    <a:lnTo>
                      <a:pt x="222" y="384"/>
                    </a:lnTo>
                    <a:lnTo>
                      <a:pt x="216" y="390"/>
                    </a:lnTo>
                    <a:lnTo>
                      <a:pt x="180" y="420"/>
                    </a:lnTo>
                    <a:lnTo>
                      <a:pt x="144" y="432"/>
                    </a:lnTo>
                    <a:lnTo>
                      <a:pt x="138" y="438"/>
                    </a:lnTo>
                    <a:lnTo>
                      <a:pt x="126" y="444"/>
                    </a:lnTo>
                    <a:lnTo>
                      <a:pt x="120" y="456"/>
                    </a:lnTo>
                    <a:lnTo>
                      <a:pt x="120" y="462"/>
                    </a:lnTo>
                    <a:lnTo>
                      <a:pt x="108" y="474"/>
                    </a:lnTo>
                    <a:lnTo>
                      <a:pt x="90" y="474"/>
                    </a:lnTo>
                    <a:lnTo>
                      <a:pt x="66" y="504"/>
                    </a:lnTo>
                    <a:lnTo>
                      <a:pt x="66" y="534"/>
                    </a:lnTo>
                    <a:lnTo>
                      <a:pt x="72" y="540"/>
                    </a:lnTo>
                    <a:lnTo>
                      <a:pt x="72" y="570"/>
                    </a:lnTo>
                    <a:lnTo>
                      <a:pt x="96" y="588"/>
                    </a:lnTo>
                    <a:lnTo>
                      <a:pt x="96" y="594"/>
                    </a:lnTo>
                    <a:lnTo>
                      <a:pt x="90" y="600"/>
                    </a:lnTo>
                    <a:lnTo>
                      <a:pt x="90" y="612"/>
                    </a:lnTo>
                    <a:lnTo>
                      <a:pt x="84" y="630"/>
                    </a:lnTo>
                    <a:lnTo>
                      <a:pt x="84" y="648"/>
                    </a:lnTo>
                    <a:lnTo>
                      <a:pt x="90" y="654"/>
                    </a:lnTo>
                    <a:lnTo>
                      <a:pt x="96" y="666"/>
                    </a:lnTo>
                    <a:lnTo>
                      <a:pt x="108" y="678"/>
                    </a:lnTo>
                    <a:lnTo>
                      <a:pt x="132" y="690"/>
                    </a:lnTo>
                    <a:lnTo>
                      <a:pt x="174" y="690"/>
                    </a:lnTo>
                    <a:lnTo>
                      <a:pt x="174" y="696"/>
                    </a:lnTo>
                    <a:lnTo>
                      <a:pt x="168" y="702"/>
                    </a:lnTo>
                    <a:lnTo>
                      <a:pt x="168" y="708"/>
                    </a:lnTo>
                    <a:lnTo>
                      <a:pt x="174" y="714"/>
                    </a:lnTo>
                    <a:lnTo>
                      <a:pt x="240" y="714"/>
                    </a:lnTo>
                    <a:lnTo>
                      <a:pt x="252" y="708"/>
                    </a:lnTo>
                    <a:lnTo>
                      <a:pt x="270" y="708"/>
                    </a:lnTo>
                    <a:lnTo>
                      <a:pt x="300" y="696"/>
                    </a:lnTo>
                    <a:lnTo>
                      <a:pt x="336" y="696"/>
                    </a:lnTo>
                    <a:lnTo>
                      <a:pt x="384" y="672"/>
                    </a:lnTo>
                    <a:lnTo>
                      <a:pt x="462" y="672"/>
                    </a:lnTo>
                    <a:lnTo>
                      <a:pt x="456" y="660"/>
                    </a:lnTo>
                    <a:lnTo>
                      <a:pt x="516" y="630"/>
                    </a:lnTo>
                    <a:lnTo>
                      <a:pt x="576" y="570"/>
                    </a:lnTo>
                    <a:lnTo>
                      <a:pt x="582" y="570"/>
                    </a:lnTo>
                    <a:lnTo>
                      <a:pt x="618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30" y="504"/>
                    </a:lnTo>
                    <a:lnTo>
                      <a:pt x="624" y="492"/>
                    </a:lnTo>
                    <a:lnTo>
                      <a:pt x="618" y="486"/>
                    </a:lnTo>
                    <a:lnTo>
                      <a:pt x="612" y="474"/>
                    </a:lnTo>
                    <a:lnTo>
                      <a:pt x="540" y="438"/>
                    </a:lnTo>
                    <a:lnTo>
                      <a:pt x="546" y="438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52" y="396"/>
                    </a:lnTo>
                    <a:lnTo>
                      <a:pt x="528" y="390"/>
                    </a:lnTo>
                    <a:lnTo>
                      <a:pt x="534" y="378"/>
                    </a:lnTo>
                    <a:lnTo>
                      <a:pt x="540" y="372"/>
                    </a:lnTo>
                    <a:lnTo>
                      <a:pt x="540" y="366"/>
                    </a:lnTo>
                    <a:lnTo>
                      <a:pt x="534" y="360"/>
                    </a:lnTo>
                    <a:lnTo>
                      <a:pt x="528" y="360"/>
                    </a:lnTo>
                    <a:lnTo>
                      <a:pt x="522" y="354"/>
                    </a:lnTo>
                    <a:lnTo>
                      <a:pt x="510" y="354"/>
                    </a:lnTo>
                    <a:lnTo>
                      <a:pt x="510" y="342"/>
                    </a:lnTo>
                    <a:lnTo>
                      <a:pt x="498" y="330"/>
                    </a:lnTo>
                    <a:lnTo>
                      <a:pt x="504" y="300"/>
                    </a:lnTo>
                    <a:lnTo>
                      <a:pt x="510" y="300"/>
                    </a:lnTo>
                    <a:lnTo>
                      <a:pt x="522" y="306"/>
                    </a:lnTo>
                    <a:lnTo>
                      <a:pt x="534" y="306"/>
                    </a:lnTo>
                    <a:lnTo>
                      <a:pt x="540" y="300"/>
                    </a:lnTo>
                    <a:lnTo>
                      <a:pt x="540" y="294"/>
                    </a:lnTo>
                    <a:lnTo>
                      <a:pt x="534" y="288"/>
                    </a:lnTo>
                    <a:lnTo>
                      <a:pt x="522" y="282"/>
                    </a:lnTo>
                    <a:lnTo>
                      <a:pt x="498" y="258"/>
                    </a:lnTo>
                    <a:lnTo>
                      <a:pt x="486" y="252"/>
                    </a:lnTo>
                    <a:lnTo>
                      <a:pt x="480" y="240"/>
                    </a:lnTo>
                    <a:lnTo>
                      <a:pt x="468" y="234"/>
                    </a:lnTo>
                    <a:lnTo>
                      <a:pt x="450" y="216"/>
                    </a:lnTo>
                    <a:lnTo>
                      <a:pt x="456" y="210"/>
                    </a:lnTo>
                    <a:lnTo>
                      <a:pt x="468" y="204"/>
                    </a:lnTo>
                    <a:lnTo>
                      <a:pt x="474" y="204"/>
                    </a:lnTo>
                    <a:lnTo>
                      <a:pt x="474" y="192"/>
                    </a:lnTo>
                    <a:lnTo>
                      <a:pt x="480" y="192"/>
                    </a:lnTo>
                    <a:lnTo>
                      <a:pt x="492" y="186"/>
                    </a:lnTo>
                    <a:lnTo>
                      <a:pt x="498" y="186"/>
                    </a:lnTo>
                    <a:lnTo>
                      <a:pt x="498" y="174"/>
                    </a:lnTo>
                    <a:lnTo>
                      <a:pt x="450" y="126"/>
                    </a:lnTo>
                    <a:lnTo>
                      <a:pt x="432" y="126"/>
                    </a:lnTo>
                    <a:lnTo>
                      <a:pt x="426" y="132"/>
                    </a:lnTo>
                    <a:lnTo>
                      <a:pt x="420" y="132"/>
                    </a:lnTo>
                    <a:lnTo>
                      <a:pt x="414" y="126"/>
                    </a:lnTo>
                    <a:lnTo>
                      <a:pt x="414" y="120"/>
                    </a:lnTo>
                    <a:lnTo>
                      <a:pt x="408" y="108"/>
                    </a:lnTo>
                    <a:lnTo>
                      <a:pt x="408" y="96"/>
                    </a:lnTo>
                    <a:lnTo>
                      <a:pt x="426" y="96"/>
                    </a:lnTo>
                    <a:lnTo>
                      <a:pt x="426" y="90"/>
                    </a:lnTo>
                    <a:lnTo>
                      <a:pt x="414" y="78"/>
                    </a:lnTo>
                    <a:lnTo>
                      <a:pt x="420" y="54"/>
                    </a:lnTo>
                    <a:lnTo>
                      <a:pt x="426" y="54"/>
                    </a:lnTo>
                    <a:lnTo>
                      <a:pt x="426" y="60"/>
                    </a:lnTo>
                    <a:lnTo>
                      <a:pt x="432" y="60"/>
                    </a:lnTo>
                    <a:lnTo>
                      <a:pt x="432" y="42"/>
                    </a:lnTo>
                    <a:lnTo>
                      <a:pt x="426" y="30"/>
                    </a:lnTo>
                    <a:lnTo>
                      <a:pt x="414" y="18"/>
                    </a:lnTo>
                    <a:lnTo>
                      <a:pt x="408" y="18"/>
                    </a:lnTo>
                    <a:lnTo>
                      <a:pt x="372" y="12"/>
                    </a:lnTo>
                    <a:lnTo>
                      <a:pt x="372" y="0"/>
                    </a:lnTo>
                    <a:lnTo>
                      <a:pt x="336" y="0"/>
                    </a:lnTo>
                    <a:lnTo>
                      <a:pt x="324" y="6"/>
                    </a:lnTo>
                    <a:lnTo>
                      <a:pt x="294" y="6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64" y="18"/>
                    </a:lnTo>
                    <a:lnTo>
                      <a:pt x="264" y="30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28" y="8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204" y="90"/>
                    </a:lnTo>
                    <a:lnTo>
                      <a:pt x="192" y="84"/>
                    </a:lnTo>
                    <a:lnTo>
                      <a:pt x="162" y="8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4" name="Est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38E6EFD-FBE5-7BFB-8E7B-AA54DE09BC6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1780733"/>
                <a:ext cx="156086" cy="69184"/>
              </a:xfrm>
              <a:custGeom>
                <a:avLst/>
                <a:gdLst>
                  <a:gd name="T0" fmla="*/ 2147483647 w 348"/>
                  <a:gd name="T1" fmla="*/ 2147483647 h 156"/>
                  <a:gd name="T2" fmla="*/ 2147483647 w 348"/>
                  <a:gd name="T3" fmla="*/ 2147483647 h 156"/>
                  <a:gd name="T4" fmla="*/ 2147483647 w 348"/>
                  <a:gd name="T5" fmla="*/ 2147483647 h 156"/>
                  <a:gd name="T6" fmla="*/ 2147483647 w 348"/>
                  <a:gd name="T7" fmla="*/ 2147483647 h 156"/>
                  <a:gd name="T8" fmla="*/ 2147483647 w 348"/>
                  <a:gd name="T9" fmla="*/ 2147483647 h 156"/>
                  <a:gd name="T10" fmla="*/ 2147483647 w 348"/>
                  <a:gd name="T11" fmla="*/ 2147483647 h 156"/>
                  <a:gd name="T12" fmla="*/ 2147483647 w 348"/>
                  <a:gd name="T13" fmla="*/ 2147483647 h 156"/>
                  <a:gd name="T14" fmla="*/ 2147483647 w 348"/>
                  <a:gd name="T15" fmla="*/ 0 h 156"/>
                  <a:gd name="T16" fmla="*/ 2147483647 w 348"/>
                  <a:gd name="T17" fmla="*/ 2147483647 h 156"/>
                  <a:gd name="T18" fmla="*/ 2147483647 w 348"/>
                  <a:gd name="T19" fmla="*/ 2147483647 h 156"/>
                  <a:gd name="T20" fmla="*/ 2147483647 w 348"/>
                  <a:gd name="T21" fmla="*/ 2147483647 h 156"/>
                  <a:gd name="T22" fmla="*/ 2147483647 w 348"/>
                  <a:gd name="T23" fmla="*/ 2147483647 h 156"/>
                  <a:gd name="T24" fmla="*/ 2147483647 w 348"/>
                  <a:gd name="T25" fmla="*/ 2147483647 h 156"/>
                  <a:gd name="T26" fmla="*/ 2147483647 w 348"/>
                  <a:gd name="T27" fmla="*/ 2147483647 h 156"/>
                  <a:gd name="T28" fmla="*/ 2147483647 w 348"/>
                  <a:gd name="T29" fmla="*/ 2147483647 h 156"/>
                  <a:gd name="T30" fmla="*/ 2147483647 w 348"/>
                  <a:gd name="T31" fmla="*/ 2147483647 h 156"/>
                  <a:gd name="T32" fmla="*/ 2147483647 w 348"/>
                  <a:gd name="T33" fmla="*/ 2147483647 h 156"/>
                  <a:gd name="T34" fmla="*/ 2147483647 w 348"/>
                  <a:gd name="T35" fmla="*/ 2147483647 h 156"/>
                  <a:gd name="T36" fmla="*/ 2147483647 w 348"/>
                  <a:gd name="T37" fmla="*/ 2147483647 h 156"/>
                  <a:gd name="T38" fmla="*/ 2147483647 w 348"/>
                  <a:gd name="T39" fmla="*/ 2147483647 h 156"/>
                  <a:gd name="T40" fmla="*/ 2147483647 w 348"/>
                  <a:gd name="T41" fmla="*/ 2147483647 h 156"/>
                  <a:gd name="T42" fmla="*/ 2147483647 w 348"/>
                  <a:gd name="T43" fmla="*/ 2147483647 h 156"/>
                  <a:gd name="T44" fmla="*/ 2147483647 w 348"/>
                  <a:gd name="T45" fmla="*/ 2147483647 h 156"/>
                  <a:gd name="T46" fmla="*/ 2147483647 w 348"/>
                  <a:gd name="T47" fmla="*/ 2147483647 h 156"/>
                  <a:gd name="T48" fmla="*/ 0 w 348"/>
                  <a:gd name="T49" fmla="*/ 2147483647 h 156"/>
                  <a:gd name="T50" fmla="*/ 2147483647 w 348"/>
                  <a:gd name="T51" fmla="*/ 2147483647 h 156"/>
                  <a:gd name="T52" fmla="*/ 2147483647 w 348"/>
                  <a:gd name="T53" fmla="*/ 2147483647 h 156"/>
                  <a:gd name="T54" fmla="*/ 2147483647 w 348"/>
                  <a:gd name="T55" fmla="*/ 2147483647 h 156"/>
                  <a:gd name="T56" fmla="*/ 2147483647 w 348"/>
                  <a:gd name="T57" fmla="*/ 2147483647 h 156"/>
                  <a:gd name="T58" fmla="*/ 2147483647 w 348"/>
                  <a:gd name="T59" fmla="*/ 2147483647 h 156"/>
                  <a:gd name="T60" fmla="*/ 2147483647 w 348"/>
                  <a:gd name="T61" fmla="*/ 2147483647 h 156"/>
                  <a:gd name="T62" fmla="*/ 2147483647 w 348"/>
                  <a:gd name="T63" fmla="*/ 2147483647 h 156"/>
                  <a:gd name="T64" fmla="*/ 2147483647 w 348"/>
                  <a:gd name="T65" fmla="*/ 2147483647 h 156"/>
                  <a:gd name="T66" fmla="*/ 2147483647 w 348"/>
                  <a:gd name="T67" fmla="*/ 2147483647 h 156"/>
                  <a:gd name="T68" fmla="*/ 2147483647 w 348"/>
                  <a:gd name="T69" fmla="*/ 2147483647 h 156"/>
                  <a:gd name="T70" fmla="*/ 2147483647 w 348"/>
                  <a:gd name="T71" fmla="*/ 2147483647 h 15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8"/>
                  <a:gd name="T109" fmla="*/ 0 h 156"/>
                  <a:gd name="T110" fmla="*/ 348 w 348"/>
                  <a:gd name="T111" fmla="*/ 156 h 15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8" h="156">
                    <a:moveTo>
                      <a:pt x="336" y="114"/>
                    </a:moveTo>
                    <a:lnTo>
                      <a:pt x="324" y="108"/>
                    </a:lnTo>
                    <a:lnTo>
                      <a:pt x="336" y="84"/>
                    </a:lnTo>
                    <a:lnTo>
                      <a:pt x="318" y="78"/>
                    </a:lnTo>
                    <a:lnTo>
                      <a:pt x="318" y="60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2" y="42"/>
                    </a:lnTo>
                    <a:lnTo>
                      <a:pt x="336" y="30"/>
                    </a:lnTo>
                    <a:lnTo>
                      <a:pt x="342" y="18"/>
                    </a:lnTo>
                    <a:lnTo>
                      <a:pt x="330" y="12"/>
                    </a:lnTo>
                    <a:lnTo>
                      <a:pt x="312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04" y="0"/>
                    </a:lnTo>
                    <a:lnTo>
                      <a:pt x="192" y="6"/>
                    </a:lnTo>
                    <a:lnTo>
                      <a:pt x="156" y="6"/>
                    </a:lnTo>
                    <a:lnTo>
                      <a:pt x="150" y="12"/>
                    </a:lnTo>
                    <a:lnTo>
                      <a:pt x="126" y="24"/>
                    </a:lnTo>
                    <a:lnTo>
                      <a:pt x="108" y="30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90" y="60"/>
                    </a:lnTo>
                    <a:lnTo>
                      <a:pt x="90" y="72"/>
                    </a:lnTo>
                    <a:lnTo>
                      <a:pt x="96" y="78"/>
                    </a:lnTo>
                    <a:lnTo>
                      <a:pt x="96" y="84"/>
                    </a:lnTo>
                    <a:lnTo>
                      <a:pt x="150" y="90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80" y="114"/>
                    </a:lnTo>
                    <a:lnTo>
                      <a:pt x="210" y="114"/>
                    </a:lnTo>
                    <a:lnTo>
                      <a:pt x="234" y="126"/>
                    </a:lnTo>
                    <a:lnTo>
                      <a:pt x="240" y="132"/>
                    </a:lnTo>
                    <a:lnTo>
                      <a:pt x="252" y="138"/>
                    </a:lnTo>
                    <a:lnTo>
                      <a:pt x="270" y="156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50"/>
                    </a:lnTo>
                    <a:lnTo>
                      <a:pt x="318" y="156"/>
                    </a:lnTo>
                    <a:lnTo>
                      <a:pt x="330" y="156"/>
                    </a:lnTo>
                    <a:lnTo>
                      <a:pt x="330" y="144"/>
                    </a:lnTo>
                    <a:lnTo>
                      <a:pt x="348" y="132"/>
                    </a:lnTo>
                    <a:lnTo>
                      <a:pt x="336" y="114"/>
                    </a:lnTo>
                    <a:close/>
                    <a:moveTo>
                      <a:pt x="36" y="78"/>
                    </a:moveTo>
                    <a:lnTo>
                      <a:pt x="6" y="78"/>
                    </a:lnTo>
                    <a:lnTo>
                      <a:pt x="0" y="84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18" y="132"/>
                    </a:lnTo>
                    <a:lnTo>
                      <a:pt x="24" y="126"/>
                    </a:lnTo>
                    <a:lnTo>
                      <a:pt x="30" y="114"/>
                    </a:lnTo>
                    <a:lnTo>
                      <a:pt x="42" y="108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72" y="96"/>
                    </a:lnTo>
                    <a:lnTo>
                      <a:pt x="78" y="90"/>
                    </a:lnTo>
                    <a:lnTo>
                      <a:pt x="72" y="72"/>
                    </a:lnTo>
                    <a:lnTo>
                      <a:pt x="36" y="78"/>
                    </a:lnTo>
                    <a:close/>
                    <a:moveTo>
                      <a:pt x="36" y="66"/>
                    </a:moveTo>
                    <a:lnTo>
                      <a:pt x="48" y="66"/>
                    </a:lnTo>
                    <a:lnTo>
                      <a:pt x="54" y="54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36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24" y="60"/>
                    </a:lnTo>
                    <a:lnTo>
                      <a:pt x="30" y="66"/>
                    </a:lnTo>
                    <a:lnTo>
                      <a:pt x="36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6" name="Denmark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24E0B45-C168-49FB-769A-3F1A94E348C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66519" y="1846368"/>
                <a:ext cx="124159" cy="106437"/>
              </a:xfrm>
              <a:custGeom>
                <a:avLst/>
                <a:gdLst>
                  <a:gd name="T0" fmla="*/ 2147483647 w 71"/>
                  <a:gd name="T1" fmla="*/ 2147483647 h 60"/>
                  <a:gd name="T2" fmla="*/ 2147483647 w 71"/>
                  <a:gd name="T3" fmla="*/ 2147483647 h 60"/>
                  <a:gd name="T4" fmla="*/ 2147483647 w 71"/>
                  <a:gd name="T5" fmla="*/ 2147483647 h 60"/>
                  <a:gd name="T6" fmla="*/ 2147483647 w 71"/>
                  <a:gd name="T7" fmla="*/ 2147483647 h 60"/>
                  <a:gd name="T8" fmla="*/ 2147483647 w 71"/>
                  <a:gd name="T9" fmla="*/ 2147483647 h 60"/>
                  <a:gd name="T10" fmla="*/ 2147483647 w 71"/>
                  <a:gd name="T11" fmla="*/ 2147483647 h 60"/>
                  <a:gd name="T12" fmla="*/ 2147483647 w 71"/>
                  <a:gd name="T13" fmla="*/ 2147483647 h 60"/>
                  <a:gd name="T14" fmla="*/ 2147483647 w 71"/>
                  <a:gd name="T15" fmla="*/ 2147483647 h 60"/>
                  <a:gd name="T16" fmla="*/ 2147483647 w 71"/>
                  <a:gd name="T17" fmla="*/ 2147483647 h 60"/>
                  <a:gd name="T18" fmla="*/ 2147483647 w 71"/>
                  <a:gd name="T19" fmla="*/ 2147483647 h 60"/>
                  <a:gd name="T20" fmla="*/ 2147483647 w 71"/>
                  <a:gd name="T21" fmla="*/ 2147483647 h 60"/>
                  <a:gd name="T22" fmla="*/ 2147483647 w 71"/>
                  <a:gd name="T23" fmla="*/ 2147483647 h 60"/>
                  <a:gd name="T24" fmla="*/ 2147483647 w 71"/>
                  <a:gd name="T25" fmla="*/ 2147483647 h 60"/>
                  <a:gd name="T26" fmla="*/ 2147483647 w 71"/>
                  <a:gd name="T27" fmla="*/ 2147483647 h 60"/>
                  <a:gd name="T28" fmla="*/ 2147483647 w 71"/>
                  <a:gd name="T29" fmla="*/ 2147483647 h 60"/>
                  <a:gd name="T30" fmla="*/ 2147483647 w 71"/>
                  <a:gd name="T31" fmla="*/ 2147483647 h 60"/>
                  <a:gd name="T32" fmla="*/ 2147483647 w 71"/>
                  <a:gd name="T33" fmla="*/ 2147483647 h 60"/>
                  <a:gd name="T34" fmla="*/ 2147483647 w 71"/>
                  <a:gd name="T35" fmla="*/ 2147483647 h 60"/>
                  <a:gd name="T36" fmla="*/ 2147483647 w 71"/>
                  <a:gd name="T37" fmla="*/ 2147483647 h 60"/>
                  <a:gd name="T38" fmla="*/ 2147483647 w 71"/>
                  <a:gd name="T39" fmla="*/ 2147483647 h 60"/>
                  <a:gd name="T40" fmla="*/ 2147483647 w 71"/>
                  <a:gd name="T41" fmla="*/ 2147483647 h 60"/>
                  <a:gd name="T42" fmla="*/ 2147483647 w 71"/>
                  <a:gd name="T43" fmla="*/ 2147483647 h 60"/>
                  <a:gd name="T44" fmla="*/ 2147483647 w 71"/>
                  <a:gd name="T45" fmla="*/ 2147483647 h 60"/>
                  <a:gd name="T46" fmla="*/ 2147483647 w 71"/>
                  <a:gd name="T47" fmla="*/ 2147483647 h 60"/>
                  <a:gd name="T48" fmla="*/ 2147483647 w 71"/>
                  <a:gd name="T49" fmla="*/ 2147483647 h 60"/>
                  <a:gd name="T50" fmla="*/ 2147483647 w 71"/>
                  <a:gd name="T51" fmla="*/ 2147483647 h 60"/>
                  <a:gd name="T52" fmla="*/ 2147483647 w 71"/>
                  <a:gd name="T53" fmla="*/ 2147483647 h 60"/>
                  <a:gd name="T54" fmla="*/ 2147483647 w 71"/>
                  <a:gd name="T55" fmla="*/ 2147483647 h 60"/>
                  <a:gd name="T56" fmla="*/ 2147483647 w 71"/>
                  <a:gd name="T57" fmla="*/ 2147483647 h 60"/>
                  <a:gd name="T58" fmla="*/ 2147483647 w 71"/>
                  <a:gd name="T59" fmla="*/ 2147483647 h 60"/>
                  <a:gd name="T60" fmla="*/ 2147483647 w 71"/>
                  <a:gd name="T61" fmla="*/ 2147483647 h 60"/>
                  <a:gd name="T62" fmla="*/ 2147483647 w 71"/>
                  <a:gd name="T63" fmla="*/ 0 h 60"/>
                  <a:gd name="T64" fmla="*/ 2147483647 w 71"/>
                  <a:gd name="T65" fmla="*/ 2147483647 h 60"/>
                  <a:gd name="T66" fmla="*/ 2147483647 w 71"/>
                  <a:gd name="T67" fmla="*/ 2147483647 h 60"/>
                  <a:gd name="T68" fmla="*/ 2147483647 w 71"/>
                  <a:gd name="T69" fmla="*/ 2147483647 h 60"/>
                  <a:gd name="T70" fmla="*/ 2147483647 w 71"/>
                  <a:gd name="T71" fmla="*/ 2147483647 h 60"/>
                  <a:gd name="T72" fmla="*/ 2147483647 w 71"/>
                  <a:gd name="T73" fmla="*/ 2147483647 h 60"/>
                  <a:gd name="T74" fmla="*/ 2147483647 w 71"/>
                  <a:gd name="T75" fmla="*/ 2147483647 h 60"/>
                  <a:gd name="T76" fmla="*/ 2147483647 w 71"/>
                  <a:gd name="T77" fmla="*/ 2147483647 h 60"/>
                  <a:gd name="T78" fmla="*/ 2147483647 w 71"/>
                  <a:gd name="T79" fmla="*/ 2147483647 h 60"/>
                  <a:gd name="T80" fmla="*/ 2147483647 w 71"/>
                  <a:gd name="T81" fmla="*/ 2147483647 h 60"/>
                  <a:gd name="T82" fmla="*/ 0 w 71"/>
                  <a:gd name="T83" fmla="*/ 2147483647 h 60"/>
                  <a:gd name="T84" fmla="*/ 0 w 71"/>
                  <a:gd name="T85" fmla="*/ 2147483647 h 60"/>
                  <a:gd name="T86" fmla="*/ 2147483647 w 71"/>
                  <a:gd name="T87" fmla="*/ 2147483647 h 60"/>
                  <a:gd name="T88" fmla="*/ 2147483647 w 71"/>
                  <a:gd name="T89" fmla="*/ 2147483647 h 60"/>
                  <a:gd name="T90" fmla="*/ 2147483647 w 71"/>
                  <a:gd name="T91" fmla="*/ 2147483647 h 60"/>
                  <a:gd name="T92" fmla="*/ 2147483647 w 71"/>
                  <a:gd name="T93" fmla="*/ 2147483647 h 60"/>
                  <a:gd name="T94" fmla="*/ 2147483647 w 71"/>
                  <a:gd name="T95" fmla="*/ 2147483647 h 60"/>
                  <a:gd name="T96" fmla="*/ 2147483647 w 71"/>
                  <a:gd name="T97" fmla="*/ 2147483647 h 60"/>
                  <a:gd name="T98" fmla="*/ 2147483647 w 71"/>
                  <a:gd name="T99" fmla="*/ 2147483647 h 60"/>
                  <a:gd name="T100" fmla="*/ 2147483647 w 71"/>
                  <a:gd name="T101" fmla="*/ 2147483647 h 60"/>
                  <a:gd name="T102" fmla="*/ 2147483647 w 71"/>
                  <a:gd name="T103" fmla="*/ 2147483647 h 60"/>
                  <a:gd name="T104" fmla="*/ 2147483647 w 71"/>
                  <a:gd name="T105" fmla="*/ 2147483647 h 60"/>
                  <a:gd name="T106" fmla="*/ 2147483647 w 71"/>
                  <a:gd name="T107" fmla="*/ 2147483647 h 60"/>
                  <a:gd name="T108" fmla="*/ 2147483647 w 71"/>
                  <a:gd name="T109" fmla="*/ 2147483647 h 60"/>
                  <a:gd name="T110" fmla="*/ 2147483647 w 71"/>
                  <a:gd name="T111" fmla="*/ 2147483647 h 60"/>
                  <a:gd name="T112" fmla="*/ 2147483647 w 71"/>
                  <a:gd name="T113" fmla="*/ 2147483647 h 60"/>
                  <a:gd name="T114" fmla="*/ 2147483647 w 71"/>
                  <a:gd name="T115" fmla="*/ 2147483647 h 60"/>
                  <a:gd name="T116" fmla="*/ 2147483647 w 71"/>
                  <a:gd name="T117" fmla="*/ 2147483647 h 60"/>
                  <a:gd name="T118" fmla="*/ 2147483647 w 71"/>
                  <a:gd name="T119" fmla="*/ 2147483647 h 60"/>
                  <a:gd name="T120" fmla="*/ 2147483647 w 71"/>
                  <a:gd name="T121" fmla="*/ 2147483647 h 6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1"/>
                  <a:gd name="T184" fmla="*/ 0 h 60"/>
                  <a:gd name="T185" fmla="*/ 71 w 71"/>
                  <a:gd name="T186" fmla="*/ 60 h 6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1" h="60">
                    <a:moveTo>
                      <a:pt x="62" y="48"/>
                    </a:moveTo>
                    <a:lnTo>
                      <a:pt x="67" y="46"/>
                    </a:lnTo>
                    <a:lnTo>
                      <a:pt x="69" y="46"/>
                    </a:lnTo>
                    <a:lnTo>
                      <a:pt x="69" y="43"/>
                    </a:lnTo>
                    <a:lnTo>
                      <a:pt x="67" y="43"/>
                    </a:lnTo>
                    <a:lnTo>
                      <a:pt x="62" y="41"/>
                    </a:lnTo>
                    <a:lnTo>
                      <a:pt x="62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7" y="34"/>
                    </a:lnTo>
                    <a:lnTo>
                      <a:pt x="67" y="29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60" y="31"/>
                    </a:lnTo>
                    <a:lnTo>
                      <a:pt x="60" y="34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45" y="38"/>
                    </a:lnTo>
                    <a:lnTo>
                      <a:pt x="48" y="38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60" y="53"/>
                    </a:lnTo>
                    <a:lnTo>
                      <a:pt x="60" y="55"/>
                    </a:lnTo>
                    <a:lnTo>
                      <a:pt x="62" y="55"/>
                    </a:lnTo>
                    <a:lnTo>
                      <a:pt x="62" y="53"/>
                    </a:lnTo>
                    <a:lnTo>
                      <a:pt x="62" y="48"/>
                    </a:lnTo>
                    <a:close/>
                    <a:moveTo>
                      <a:pt x="71" y="53"/>
                    </a:moveTo>
                    <a:lnTo>
                      <a:pt x="62" y="55"/>
                    </a:lnTo>
                    <a:lnTo>
                      <a:pt x="60" y="58"/>
                    </a:lnTo>
                    <a:lnTo>
                      <a:pt x="57" y="58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0" y="53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2" y="58"/>
                    </a:lnTo>
                    <a:lnTo>
                      <a:pt x="55" y="60"/>
                    </a:lnTo>
                    <a:lnTo>
                      <a:pt x="57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9" y="58"/>
                    </a:lnTo>
                    <a:lnTo>
                      <a:pt x="71" y="58"/>
                    </a:lnTo>
                    <a:lnTo>
                      <a:pt x="71" y="53"/>
                    </a:lnTo>
                    <a:close/>
                    <a:moveTo>
                      <a:pt x="31" y="12"/>
                    </a:moveTo>
                    <a:lnTo>
                      <a:pt x="36" y="7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26" y="0"/>
                    </a:lnTo>
                    <a:lnTo>
                      <a:pt x="26" y="3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9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2" y="22"/>
                    </a:lnTo>
                    <a:lnTo>
                      <a:pt x="5" y="19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5" y="43"/>
                    </a:lnTo>
                    <a:lnTo>
                      <a:pt x="7" y="43"/>
                    </a:lnTo>
                    <a:lnTo>
                      <a:pt x="7" y="48"/>
                    </a:lnTo>
                    <a:lnTo>
                      <a:pt x="5" y="53"/>
                    </a:lnTo>
                    <a:lnTo>
                      <a:pt x="7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4" y="55"/>
                    </a:lnTo>
                    <a:lnTo>
                      <a:pt x="26" y="58"/>
                    </a:lnTo>
                    <a:lnTo>
                      <a:pt x="26" y="55"/>
                    </a:lnTo>
                    <a:lnTo>
                      <a:pt x="24" y="53"/>
                    </a:lnTo>
                    <a:lnTo>
                      <a:pt x="24" y="48"/>
                    </a:lnTo>
                    <a:lnTo>
                      <a:pt x="26" y="43"/>
                    </a:lnTo>
                    <a:lnTo>
                      <a:pt x="24" y="41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31" y="34"/>
                    </a:lnTo>
                    <a:lnTo>
                      <a:pt x="33" y="26"/>
                    </a:lnTo>
                    <a:lnTo>
                      <a:pt x="38" y="26"/>
                    </a:lnTo>
                    <a:lnTo>
                      <a:pt x="41" y="19"/>
                    </a:lnTo>
                    <a:lnTo>
                      <a:pt x="31" y="19"/>
                    </a:lnTo>
                    <a:lnTo>
                      <a:pt x="31" y="12"/>
                    </a:lnTo>
                    <a:close/>
                    <a:moveTo>
                      <a:pt x="29" y="38"/>
                    </a:moveTo>
                    <a:lnTo>
                      <a:pt x="31" y="48"/>
                    </a:lnTo>
                    <a:lnTo>
                      <a:pt x="36" y="53"/>
                    </a:lnTo>
                    <a:lnTo>
                      <a:pt x="38" y="46"/>
                    </a:lnTo>
                    <a:lnTo>
                      <a:pt x="33" y="41"/>
                    </a:lnTo>
                    <a:lnTo>
                      <a:pt x="29" y="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7" name="Czech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2D6D424-A117-3E1B-4E88-E093D2DFCDE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76489" y="2073433"/>
                <a:ext cx="189786" cy="86923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8" name="Cyp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B89E064-EBA9-CC95-AF86-BF50C7FAD3E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686643" y="2623355"/>
                <a:ext cx="67401" cy="39028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9" name="Croat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678B6B-3848-9BC2-1016-3A7A40F36C1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22606" y="2233088"/>
                <a:ext cx="164954" cy="124176"/>
              </a:xfrm>
              <a:custGeom>
                <a:avLst/>
                <a:gdLst>
                  <a:gd name="T0" fmla="*/ 2147483647 w 366"/>
                  <a:gd name="T1" fmla="*/ 2147483647 h 276"/>
                  <a:gd name="T2" fmla="*/ 2147483647 w 366"/>
                  <a:gd name="T3" fmla="*/ 2147483647 h 276"/>
                  <a:gd name="T4" fmla="*/ 2147483647 w 366"/>
                  <a:gd name="T5" fmla="*/ 2147483647 h 276"/>
                  <a:gd name="T6" fmla="*/ 2147483647 w 366"/>
                  <a:gd name="T7" fmla="*/ 2147483647 h 276"/>
                  <a:gd name="T8" fmla="*/ 2147483647 w 366"/>
                  <a:gd name="T9" fmla="*/ 2147483647 h 276"/>
                  <a:gd name="T10" fmla="*/ 2147483647 w 366"/>
                  <a:gd name="T11" fmla="*/ 2147483647 h 276"/>
                  <a:gd name="T12" fmla="*/ 2147483647 w 366"/>
                  <a:gd name="T13" fmla="*/ 2147483647 h 276"/>
                  <a:gd name="T14" fmla="*/ 2147483647 w 366"/>
                  <a:gd name="T15" fmla="*/ 2147483647 h 276"/>
                  <a:gd name="T16" fmla="*/ 2147483647 w 366"/>
                  <a:gd name="T17" fmla="*/ 2147483647 h 276"/>
                  <a:gd name="T18" fmla="*/ 2147483647 w 366"/>
                  <a:gd name="T19" fmla="*/ 2147483647 h 276"/>
                  <a:gd name="T20" fmla="*/ 2147483647 w 366"/>
                  <a:gd name="T21" fmla="*/ 2147483647 h 276"/>
                  <a:gd name="T22" fmla="*/ 2147483647 w 366"/>
                  <a:gd name="T23" fmla="*/ 0 h 276"/>
                  <a:gd name="T24" fmla="*/ 2147483647 w 366"/>
                  <a:gd name="T25" fmla="*/ 2147483647 h 276"/>
                  <a:gd name="T26" fmla="*/ 2147483647 w 366"/>
                  <a:gd name="T27" fmla="*/ 2147483647 h 276"/>
                  <a:gd name="T28" fmla="*/ 2147483647 w 366"/>
                  <a:gd name="T29" fmla="*/ 2147483647 h 276"/>
                  <a:gd name="T30" fmla="*/ 2147483647 w 366"/>
                  <a:gd name="T31" fmla="*/ 2147483647 h 276"/>
                  <a:gd name="T32" fmla="*/ 2147483647 w 366"/>
                  <a:gd name="T33" fmla="*/ 2147483647 h 276"/>
                  <a:gd name="T34" fmla="*/ 2147483647 w 366"/>
                  <a:gd name="T35" fmla="*/ 2147483647 h 276"/>
                  <a:gd name="T36" fmla="*/ 2147483647 w 366"/>
                  <a:gd name="T37" fmla="*/ 2147483647 h 276"/>
                  <a:gd name="T38" fmla="*/ 2147483647 w 366"/>
                  <a:gd name="T39" fmla="*/ 2147483647 h 276"/>
                  <a:gd name="T40" fmla="*/ 0 w 366"/>
                  <a:gd name="T41" fmla="*/ 2147483647 h 276"/>
                  <a:gd name="T42" fmla="*/ 2147483647 w 366"/>
                  <a:gd name="T43" fmla="*/ 2147483647 h 276"/>
                  <a:gd name="T44" fmla="*/ 2147483647 w 366"/>
                  <a:gd name="T45" fmla="*/ 2147483647 h 276"/>
                  <a:gd name="T46" fmla="*/ 2147483647 w 366"/>
                  <a:gd name="T47" fmla="*/ 2147483647 h 276"/>
                  <a:gd name="T48" fmla="*/ 2147483647 w 366"/>
                  <a:gd name="T49" fmla="*/ 2147483647 h 276"/>
                  <a:gd name="T50" fmla="*/ 2147483647 w 366"/>
                  <a:gd name="T51" fmla="*/ 2147483647 h 276"/>
                  <a:gd name="T52" fmla="*/ 2147483647 w 366"/>
                  <a:gd name="T53" fmla="*/ 2147483647 h 276"/>
                  <a:gd name="T54" fmla="*/ 2147483647 w 366"/>
                  <a:gd name="T55" fmla="*/ 2147483647 h 276"/>
                  <a:gd name="T56" fmla="*/ 2147483647 w 366"/>
                  <a:gd name="T57" fmla="*/ 2147483647 h 276"/>
                  <a:gd name="T58" fmla="*/ 2147483647 w 366"/>
                  <a:gd name="T59" fmla="*/ 2147483647 h 276"/>
                  <a:gd name="T60" fmla="*/ 2147483647 w 366"/>
                  <a:gd name="T61" fmla="*/ 2147483647 h 276"/>
                  <a:gd name="T62" fmla="*/ 2147483647 w 366"/>
                  <a:gd name="T63" fmla="*/ 2147483647 h 276"/>
                  <a:gd name="T64" fmla="*/ 2147483647 w 366"/>
                  <a:gd name="T65" fmla="*/ 2147483647 h 276"/>
                  <a:gd name="T66" fmla="*/ 2147483647 w 366"/>
                  <a:gd name="T67" fmla="*/ 2147483647 h 276"/>
                  <a:gd name="T68" fmla="*/ 2147483647 w 366"/>
                  <a:gd name="T69" fmla="*/ 2147483647 h 276"/>
                  <a:gd name="T70" fmla="*/ 2147483647 w 366"/>
                  <a:gd name="T71" fmla="*/ 2147483647 h 276"/>
                  <a:gd name="T72" fmla="*/ 2147483647 w 366"/>
                  <a:gd name="T73" fmla="*/ 2147483647 h 276"/>
                  <a:gd name="T74" fmla="*/ 2147483647 w 366"/>
                  <a:gd name="T75" fmla="*/ 2147483647 h 276"/>
                  <a:gd name="T76" fmla="*/ 2147483647 w 366"/>
                  <a:gd name="T77" fmla="*/ 2147483647 h 276"/>
                  <a:gd name="T78" fmla="*/ 2147483647 w 366"/>
                  <a:gd name="T79" fmla="*/ 2147483647 h 276"/>
                  <a:gd name="T80" fmla="*/ 2147483647 w 366"/>
                  <a:gd name="T81" fmla="*/ 2147483647 h 276"/>
                  <a:gd name="T82" fmla="*/ 2147483647 w 366"/>
                  <a:gd name="T83" fmla="*/ 2147483647 h 276"/>
                  <a:gd name="T84" fmla="*/ 2147483647 w 366"/>
                  <a:gd name="T85" fmla="*/ 2147483647 h 276"/>
                  <a:gd name="T86" fmla="*/ 2147483647 w 366"/>
                  <a:gd name="T87" fmla="*/ 2147483647 h 276"/>
                  <a:gd name="T88" fmla="*/ 2147483647 w 366"/>
                  <a:gd name="T89" fmla="*/ 2147483647 h 276"/>
                  <a:gd name="T90" fmla="*/ 2147483647 w 366"/>
                  <a:gd name="T91" fmla="*/ 2147483647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6"/>
                  <a:gd name="T139" fmla="*/ 0 h 276"/>
                  <a:gd name="T140" fmla="*/ 366 w 366"/>
                  <a:gd name="T141" fmla="*/ 276 h 27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6" h="276">
                    <a:moveTo>
                      <a:pt x="342" y="126"/>
                    </a:moveTo>
                    <a:lnTo>
                      <a:pt x="342" y="114"/>
                    </a:lnTo>
                    <a:lnTo>
                      <a:pt x="348" y="114"/>
                    </a:lnTo>
                    <a:lnTo>
                      <a:pt x="354" y="108"/>
                    </a:lnTo>
                    <a:lnTo>
                      <a:pt x="360" y="108"/>
                    </a:lnTo>
                    <a:lnTo>
                      <a:pt x="366" y="102"/>
                    </a:lnTo>
                    <a:lnTo>
                      <a:pt x="360" y="102"/>
                    </a:lnTo>
                    <a:lnTo>
                      <a:pt x="348" y="96"/>
                    </a:lnTo>
                    <a:lnTo>
                      <a:pt x="336" y="96"/>
                    </a:lnTo>
                    <a:lnTo>
                      <a:pt x="342" y="78"/>
                    </a:lnTo>
                    <a:lnTo>
                      <a:pt x="336" y="78"/>
                    </a:lnTo>
                    <a:lnTo>
                      <a:pt x="330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70" y="60"/>
                    </a:lnTo>
                    <a:lnTo>
                      <a:pt x="264" y="48"/>
                    </a:lnTo>
                    <a:lnTo>
                      <a:pt x="246" y="48"/>
                    </a:lnTo>
                    <a:lnTo>
                      <a:pt x="234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04" y="18"/>
                    </a:lnTo>
                    <a:lnTo>
                      <a:pt x="204" y="12"/>
                    </a:lnTo>
                    <a:lnTo>
                      <a:pt x="198" y="6"/>
                    </a:lnTo>
                    <a:lnTo>
                      <a:pt x="186" y="0"/>
                    </a:lnTo>
                    <a:lnTo>
                      <a:pt x="162" y="0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20" y="18"/>
                    </a:lnTo>
                    <a:lnTo>
                      <a:pt x="120" y="30"/>
                    </a:lnTo>
                    <a:lnTo>
                      <a:pt x="126" y="36"/>
                    </a:lnTo>
                    <a:lnTo>
                      <a:pt x="126" y="42"/>
                    </a:lnTo>
                    <a:lnTo>
                      <a:pt x="114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60" y="78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48" y="78"/>
                    </a:lnTo>
                    <a:lnTo>
                      <a:pt x="30" y="78"/>
                    </a:lnTo>
                    <a:lnTo>
                      <a:pt x="18" y="72"/>
                    </a:lnTo>
                    <a:lnTo>
                      <a:pt x="18" y="84"/>
                    </a:lnTo>
                    <a:lnTo>
                      <a:pt x="0" y="84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12" y="120"/>
                    </a:lnTo>
                    <a:lnTo>
                      <a:pt x="24" y="114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14"/>
                    </a:lnTo>
                    <a:lnTo>
                      <a:pt x="48" y="132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44"/>
                    </a:lnTo>
                    <a:lnTo>
                      <a:pt x="72" y="150"/>
                    </a:lnTo>
                    <a:lnTo>
                      <a:pt x="84" y="162"/>
                    </a:lnTo>
                    <a:lnTo>
                      <a:pt x="96" y="168"/>
                    </a:lnTo>
                    <a:lnTo>
                      <a:pt x="96" y="180"/>
                    </a:lnTo>
                    <a:lnTo>
                      <a:pt x="144" y="216"/>
                    </a:lnTo>
                    <a:lnTo>
                      <a:pt x="144" y="240"/>
                    </a:lnTo>
                    <a:lnTo>
                      <a:pt x="198" y="240"/>
                    </a:lnTo>
                    <a:lnTo>
                      <a:pt x="210" y="246"/>
                    </a:lnTo>
                    <a:lnTo>
                      <a:pt x="216" y="252"/>
                    </a:lnTo>
                    <a:lnTo>
                      <a:pt x="216" y="276"/>
                    </a:lnTo>
                    <a:lnTo>
                      <a:pt x="246" y="276"/>
                    </a:lnTo>
                    <a:lnTo>
                      <a:pt x="252" y="270"/>
                    </a:lnTo>
                    <a:lnTo>
                      <a:pt x="252" y="264"/>
                    </a:lnTo>
                    <a:lnTo>
                      <a:pt x="246" y="252"/>
                    </a:lnTo>
                    <a:lnTo>
                      <a:pt x="234" y="246"/>
                    </a:lnTo>
                    <a:lnTo>
                      <a:pt x="216" y="234"/>
                    </a:lnTo>
                    <a:lnTo>
                      <a:pt x="204" y="228"/>
                    </a:lnTo>
                    <a:lnTo>
                      <a:pt x="192" y="216"/>
                    </a:lnTo>
                    <a:lnTo>
                      <a:pt x="180" y="186"/>
                    </a:lnTo>
                    <a:lnTo>
                      <a:pt x="162" y="180"/>
                    </a:lnTo>
                    <a:lnTo>
                      <a:pt x="162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50" y="144"/>
                    </a:lnTo>
                    <a:lnTo>
                      <a:pt x="132" y="138"/>
                    </a:lnTo>
                    <a:lnTo>
                      <a:pt x="120" y="126"/>
                    </a:lnTo>
                    <a:lnTo>
                      <a:pt x="138" y="120"/>
                    </a:lnTo>
                    <a:lnTo>
                      <a:pt x="138" y="96"/>
                    </a:lnTo>
                    <a:lnTo>
                      <a:pt x="144" y="96"/>
                    </a:lnTo>
                    <a:lnTo>
                      <a:pt x="150" y="102"/>
                    </a:lnTo>
                    <a:lnTo>
                      <a:pt x="162" y="108"/>
                    </a:lnTo>
                    <a:lnTo>
                      <a:pt x="186" y="102"/>
                    </a:lnTo>
                    <a:lnTo>
                      <a:pt x="210" y="102"/>
                    </a:lnTo>
                    <a:lnTo>
                      <a:pt x="228" y="108"/>
                    </a:lnTo>
                    <a:lnTo>
                      <a:pt x="240" y="102"/>
                    </a:lnTo>
                    <a:lnTo>
                      <a:pt x="252" y="102"/>
                    </a:lnTo>
                    <a:lnTo>
                      <a:pt x="258" y="108"/>
                    </a:lnTo>
                    <a:lnTo>
                      <a:pt x="312" y="108"/>
                    </a:lnTo>
                    <a:lnTo>
                      <a:pt x="324" y="126"/>
                    </a:lnTo>
                    <a:lnTo>
                      <a:pt x="342" y="1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0" name="Bulga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2318AA8-2577-4862-0158-F815ECE25EF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8019" y="2316463"/>
                <a:ext cx="177370" cy="101116"/>
              </a:xfrm>
              <a:custGeom>
                <a:avLst/>
                <a:gdLst>
                  <a:gd name="T0" fmla="*/ 2147483647 w 396"/>
                  <a:gd name="T1" fmla="*/ 2147483647 h 228"/>
                  <a:gd name="T2" fmla="*/ 2147483647 w 396"/>
                  <a:gd name="T3" fmla="*/ 2147483647 h 228"/>
                  <a:gd name="T4" fmla="*/ 2147483647 w 396"/>
                  <a:gd name="T5" fmla="*/ 2147483647 h 228"/>
                  <a:gd name="T6" fmla="*/ 2147483647 w 396"/>
                  <a:gd name="T7" fmla="*/ 2147483647 h 228"/>
                  <a:gd name="T8" fmla="*/ 2147483647 w 396"/>
                  <a:gd name="T9" fmla="*/ 2147483647 h 228"/>
                  <a:gd name="T10" fmla="*/ 2147483647 w 396"/>
                  <a:gd name="T11" fmla="*/ 2147483647 h 228"/>
                  <a:gd name="T12" fmla="*/ 2147483647 w 396"/>
                  <a:gd name="T13" fmla="*/ 2147483647 h 228"/>
                  <a:gd name="T14" fmla="*/ 2147483647 w 396"/>
                  <a:gd name="T15" fmla="*/ 0 h 228"/>
                  <a:gd name="T16" fmla="*/ 2147483647 w 396"/>
                  <a:gd name="T17" fmla="*/ 2147483647 h 228"/>
                  <a:gd name="T18" fmla="*/ 2147483647 w 396"/>
                  <a:gd name="T19" fmla="*/ 2147483647 h 228"/>
                  <a:gd name="T20" fmla="*/ 2147483647 w 396"/>
                  <a:gd name="T21" fmla="*/ 2147483647 h 228"/>
                  <a:gd name="T22" fmla="*/ 2147483647 w 396"/>
                  <a:gd name="T23" fmla="*/ 2147483647 h 228"/>
                  <a:gd name="T24" fmla="*/ 2147483647 w 396"/>
                  <a:gd name="T25" fmla="*/ 2147483647 h 228"/>
                  <a:gd name="T26" fmla="*/ 2147483647 w 396"/>
                  <a:gd name="T27" fmla="*/ 2147483647 h 228"/>
                  <a:gd name="T28" fmla="*/ 2147483647 w 396"/>
                  <a:gd name="T29" fmla="*/ 2147483647 h 228"/>
                  <a:gd name="T30" fmla="*/ 2147483647 w 396"/>
                  <a:gd name="T31" fmla="*/ 2147483647 h 228"/>
                  <a:gd name="T32" fmla="*/ 2147483647 w 396"/>
                  <a:gd name="T33" fmla="*/ 2147483647 h 228"/>
                  <a:gd name="T34" fmla="*/ 2147483647 w 396"/>
                  <a:gd name="T35" fmla="*/ 2147483647 h 228"/>
                  <a:gd name="T36" fmla="*/ 2147483647 w 396"/>
                  <a:gd name="T37" fmla="*/ 2147483647 h 228"/>
                  <a:gd name="T38" fmla="*/ 2147483647 w 396"/>
                  <a:gd name="T39" fmla="*/ 2147483647 h 228"/>
                  <a:gd name="T40" fmla="*/ 2147483647 w 396"/>
                  <a:gd name="T41" fmla="*/ 2147483647 h 228"/>
                  <a:gd name="T42" fmla="*/ 2147483647 w 396"/>
                  <a:gd name="T43" fmla="*/ 0 h 228"/>
                  <a:gd name="T44" fmla="*/ 0 w 396"/>
                  <a:gd name="T45" fmla="*/ 2147483647 h 228"/>
                  <a:gd name="T46" fmla="*/ 2147483647 w 396"/>
                  <a:gd name="T47" fmla="*/ 2147483647 h 228"/>
                  <a:gd name="T48" fmla="*/ 2147483647 w 396"/>
                  <a:gd name="T49" fmla="*/ 2147483647 h 228"/>
                  <a:gd name="T50" fmla="*/ 2147483647 w 396"/>
                  <a:gd name="T51" fmla="*/ 2147483647 h 228"/>
                  <a:gd name="T52" fmla="*/ 2147483647 w 396"/>
                  <a:gd name="T53" fmla="*/ 2147483647 h 228"/>
                  <a:gd name="T54" fmla="*/ 2147483647 w 396"/>
                  <a:gd name="T55" fmla="*/ 2147483647 h 228"/>
                  <a:gd name="T56" fmla="*/ 0 w 396"/>
                  <a:gd name="T57" fmla="*/ 2147483647 h 228"/>
                  <a:gd name="T58" fmla="*/ 2147483647 w 396"/>
                  <a:gd name="T59" fmla="*/ 2147483647 h 228"/>
                  <a:gd name="T60" fmla="*/ 2147483647 w 396"/>
                  <a:gd name="T61" fmla="*/ 2147483647 h 228"/>
                  <a:gd name="T62" fmla="*/ 2147483647 w 396"/>
                  <a:gd name="T63" fmla="*/ 2147483647 h 228"/>
                  <a:gd name="T64" fmla="*/ 2147483647 w 396"/>
                  <a:gd name="T65" fmla="*/ 2147483647 h 228"/>
                  <a:gd name="T66" fmla="*/ 2147483647 w 396"/>
                  <a:gd name="T67" fmla="*/ 2147483647 h 228"/>
                  <a:gd name="T68" fmla="*/ 2147483647 w 396"/>
                  <a:gd name="T69" fmla="*/ 2147483647 h 228"/>
                  <a:gd name="T70" fmla="*/ 2147483647 w 396"/>
                  <a:gd name="T71" fmla="*/ 2147483647 h 228"/>
                  <a:gd name="T72" fmla="*/ 2147483647 w 396"/>
                  <a:gd name="T73" fmla="*/ 2147483647 h 228"/>
                  <a:gd name="T74" fmla="*/ 2147483647 w 396"/>
                  <a:gd name="T75" fmla="*/ 2147483647 h 228"/>
                  <a:gd name="T76" fmla="*/ 2147483647 w 396"/>
                  <a:gd name="T77" fmla="*/ 2147483647 h 228"/>
                  <a:gd name="T78" fmla="*/ 2147483647 w 396"/>
                  <a:gd name="T79" fmla="*/ 2147483647 h 228"/>
                  <a:gd name="T80" fmla="*/ 2147483647 w 396"/>
                  <a:gd name="T81" fmla="*/ 2147483647 h 228"/>
                  <a:gd name="T82" fmla="*/ 2147483647 w 396"/>
                  <a:gd name="T83" fmla="*/ 2147483647 h 228"/>
                  <a:gd name="T84" fmla="*/ 2147483647 w 396"/>
                  <a:gd name="T85" fmla="*/ 2147483647 h 228"/>
                  <a:gd name="T86" fmla="*/ 2147483647 w 396"/>
                  <a:gd name="T87" fmla="*/ 2147483647 h 228"/>
                  <a:gd name="T88" fmla="*/ 2147483647 w 396"/>
                  <a:gd name="T89" fmla="*/ 2147483647 h 228"/>
                  <a:gd name="T90" fmla="*/ 2147483647 w 396"/>
                  <a:gd name="T91" fmla="*/ 2147483647 h 228"/>
                  <a:gd name="T92" fmla="*/ 2147483647 w 396"/>
                  <a:gd name="T93" fmla="*/ 2147483647 h 2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228"/>
                  <a:gd name="T143" fmla="*/ 396 w 396"/>
                  <a:gd name="T144" fmla="*/ 228 h 2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228">
                    <a:moveTo>
                      <a:pt x="372" y="168"/>
                    </a:moveTo>
                    <a:lnTo>
                      <a:pt x="336" y="126"/>
                    </a:lnTo>
                    <a:lnTo>
                      <a:pt x="354" y="108"/>
                    </a:lnTo>
                    <a:lnTo>
                      <a:pt x="354" y="78"/>
                    </a:lnTo>
                    <a:lnTo>
                      <a:pt x="360" y="72"/>
                    </a:lnTo>
                    <a:lnTo>
                      <a:pt x="372" y="66"/>
                    </a:lnTo>
                    <a:lnTo>
                      <a:pt x="396" y="66"/>
                    </a:lnTo>
                    <a:lnTo>
                      <a:pt x="396" y="48"/>
                    </a:lnTo>
                    <a:lnTo>
                      <a:pt x="390" y="36"/>
                    </a:lnTo>
                    <a:lnTo>
                      <a:pt x="372" y="36"/>
                    </a:lnTo>
                    <a:lnTo>
                      <a:pt x="348" y="12"/>
                    </a:lnTo>
                    <a:lnTo>
                      <a:pt x="324" y="12"/>
                    </a:lnTo>
                    <a:lnTo>
                      <a:pt x="312" y="6"/>
                    </a:lnTo>
                    <a:lnTo>
                      <a:pt x="300" y="6"/>
                    </a:lnTo>
                    <a:lnTo>
                      <a:pt x="288" y="0"/>
                    </a:lnTo>
                    <a:lnTo>
                      <a:pt x="282" y="0"/>
                    </a:lnTo>
                    <a:lnTo>
                      <a:pt x="282" y="12"/>
                    </a:lnTo>
                    <a:lnTo>
                      <a:pt x="252" y="6"/>
                    </a:lnTo>
                    <a:lnTo>
                      <a:pt x="252" y="12"/>
                    </a:lnTo>
                    <a:lnTo>
                      <a:pt x="246" y="12"/>
                    </a:lnTo>
                    <a:lnTo>
                      <a:pt x="234" y="18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22" y="36"/>
                    </a:lnTo>
                    <a:lnTo>
                      <a:pt x="216" y="42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56" y="30"/>
                    </a:lnTo>
                    <a:lnTo>
                      <a:pt x="138" y="24"/>
                    </a:lnTo>
                    <a:lnTo>
                      <a:pt x="138" y="30"/>
                    </a:lnTo>
                    <a:lnTo>
                      <a:pt x="132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0" y="30"/>
                    </a:lnTo>
                    <a:lnTo>
                      <a:pt x="66" y="18"/>
                    </a:lnTo>
                    <a:lnTo>
                      <a:pt x="54" y="30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12" y="12"/>
                    </a:lnTo>
                    <a:lnTo>
                      <a:pt x="0" y="24"/>
                    </a:lnTo>
                    <a:lnTo>
                      <a:pt x="0" y="42"/>
                    </a:lnTo>
                    <a:lnTo>
                      <a:pt x="18" y="48"/>
                    </a:lnTo>
                    <a:lnTo>
                      <a:pt x="12" y="60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14"/>
                    </a:lnTo>
                    <a:lnTo>
                      <a:pt x="12" y="138"/>
                    </a:lnTo>
                    <a:lnTo>
                      <a:pt x="0" y="138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68"/>
                    </a:lnTo>
                    <a:lnTo>
                      <a:pt x="36" y="180"/>
                    </a:lnTo>
                    <a:lnTo>
                      <a:pt x="42" y="186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66" y="228"/>
                    </a:lnTo>
                    <a:lnTo>
                      <a:pt x="78" y="222"/>
                    </a:lnTo>
                    <a:lnTo>
                      <a:pt x="84" y="216"/>
                    </a:lnTo>
                    <a:lnTo>
                      <a:pt x="108" y="222"/>
                    </a:lnTo>
                    <a:lnTo>
                      <a:pt x="114" y="204"/>
                    </a:lnTo>
                    <a:lnTo>
                      <a:pt x="144" y="198"/>
                    </a:lnTo>
                    <a:lnTo>
                      <a:pt x="144" y="204"/>
                    </a:lnTo>
                    <a:lnTo>
                      <a:pt x="162" y="22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92" y="228"/>
                    </a:lnTo>
                    <a:lnTo>
                      <a:pt x="204" y="228"/>
                    </a:lnTo>
                    <a:lnTo>
                      <a:pt x="216" y="216"/>
                    </a:lnTo>
                    <a:lnTo>
                      <a:pt x="228" y="228"/>
                    </a:lnTo>
                    <a:lnTo>
                      <a:pt x="246" y="228"/>
                    </a:lnTo>
                    <a:lnTo>
                      <a:pt x="252" y="222"/>
                    </a:lnTo>
                    <a:lnTo>
                      <a:pt x="252" y="204"/>
                    </a:lnTo>
                    <a:lnTo>
                      <a:pt x="246" y="198"/>
                    </a:lnTo>
                    <a:lnTo>
                      <a:pt x="264" y="192"/>
                    </a:lnTo>
                    <a:lnTo>
                      <a:pt x="282" y="168"/>
                    </a:lnTo>
                    <a:lnTo>
                      <a:pt x="312" y="174"/>
                    </a:lnTo>
                    <a:lnTo>
                      <a:pt x="324" y="156"/>
                    </a:lnTo>
                    <a:lnTo>
                      <a:pt x="336" y="174"/>
                    </a:lnTo>
                    <a:lnTo>
                      <a:pt x="348" y="174"/>
                    </a:lnTo>
                    <a:lnTo>
                      <a:pt x="360" y="180"/>
                    </a:lnTo>
                    <a:lnTo>
                      <a:pt x="372" y="180"/>
                    </a:lnTo>
                    <a:lnTo>
                      <a:pt x="37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1" name="Bosnia and Herzegov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4FB9D15-2C68-3B95-38FB-4C09EFEA8CE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77590" y="2275662"/>
                <a:ext cx="118839" cy="106437"/>
              </a:xfrm>
              <a:custGeom>
                <a:avLst/>
                <a:gdLst>
                  <a:gd name="T0" fmla="*/ 2147483647 w 264"/>
                  <a:gd name="T1" fmla="*/ 2147483647 h 234"/>
                  <a:gd name="T2" fmla="*/ 2147483647 w 264"/>
                  <a:gd name="T3" fmla="*/ 2147483647 h 234"/>
                  <a:gd name="T4" fmla="*/ 2147483647 w 264"/>
                  <a:gd name="T5" fmla="*/ 2147483647 h 234"/>
                  <a:gd name="T6" fmla="*/ 2147483647 w 264"/>
                  <a:gd name="T7" fmla="*/ 2147483647 h 234"/>
                  <a:gd name="T8" fmla="*/ 2147483647 w 264"/>
                  <a:gd name="T9" fmla="*/ 2147483647 h 234"/>
                  <a:gd name="T10" fmla="*/ 2147483647 w 264"/>
                  <a:gd name="T11" fmla="*/ 2147483647 h 234"/>
                  <a:gd name="T12" fmla="*/ 2147483647 w 264"/>
                  <a:gd name="T13" fmla="*/ 2147483647 h 234"/>
                  <a:gd name="T14" fmla="*/ 2147483647 w 264"/>
                  <a:gd name="T15" fmla="*/ 2147483647 h 234"/>
                  <a:gd name="T16" fmla="*/ 2147483647 w 264"/>
                  <a:gd name="T17" fmla="*/ 2147483647 h 234"/>
                  <a:gd name="T18" fmla="*/ 2147483647 w 264"/>
                  <a:gd name="T19" fmla="*/ 2147483647 h 234"/>
                  <a:gd name="T20" fmla="*/ 2147483647 w 264"/>
                  <a:gd name="T21" fmla="*/ 2147483647 h 234"/>
                  <a:gd name="T22" fmla="*/ 2147483647 w 264"/>
                  <a:gd name="T23" fmla="*/ 2147483647 h 234"/>
                  <a:gd name="T24" fmla="*/ 2147483647 w 264"/>
                  <a:gd name="T25" fmla="*/ 2147483647 h 234"/>
                  <a:gd name="T26" fmla="*/ 2147483647 w 264"/>
                  <a:gd name="T27" fmla="*/ 2147483647 h 234"/>
                  <a:gd name="T28" fmla="*/ 2147483647 w 264"/>
                  <a:gd name="T29" fmla="*/ 2147483647 h 234"/>
                  <a:gd name="T30" fmla="*/ 2147483647 w 264"/>
                  <a:gd name="T31" fmla="*/ 2147483647 h 234"/>
                  <a:gd name="T32" fmla="*/ 2147483647 w 264"/>
                  <a:gd name="T33" fmla="*/ 2147483647 h 234"/>
                  <a:gd name="T34" fmla="*/ 2147483647 w 264"/>
                  <a:gd name="T35" fmla="*/ 2147483647 h 234"/>
                  <a:gd name="T36" fmla="*/ 2147483647 w 264"/>
                  <a:gd name="T37" fmla="*/ 2147483647 h 234"/>
                  <a:gd name="T38" fmla="*/ 2147483647 w 264"/>
                  <a:gd name="T39" fmla="*/ 0 h 234"/>
                  <a:gd name="T40" fmla="*/ 2147483647 w 264"/>
                  <a:gd name="T41" fmla="*/ 0 h 234"/>
                  <a:gd name="T42" fmla="*/ 2147483647 w 264"/>
                  <a:gd name="T43" fmla="*/ 2147483647 h 234"/>
                  <a:gd name="T44" fmla="*/ 0 w 264"/>
                  <a:gd name="T45" fmla="*/ 2147483647 h 234"/>
                  <a:gd name="T46" fmla="*/ 2147483647 w 264"/>
                  <a:gd name="T47" fmla="*/ 2147483647 h 234"/>
                  <a:gd name="T48" fmla="*/ 2147483647 w 264"/>
                  <a:gd name="T49" fmla="*/ 2147483647 h 234"/>
                  <a:gd name="T50" fmla="*/ 2147483647 w 264"/>
                  <a:gd name="T51" fmla="*/ 2147483647 h 234"/>
                  <a:gd name="T52" fmla="*/ 2147483647 w 264"/>
                  <a:gd name="T53" fmla="*/ 2147483647 h 234"/>
                  <a:gd name="T54" fmla="*/ 2147483647 w 264"/>
                  <a:gd name="T55" fmla="*/ 2147483647 h 234"/>
                  <a:gd name="T56" fmla="*/ 2147483647 w 264"/>
                  <a:gd name="T57" fmla="*/ 2147483647 h 234"/>
                  <a:gd name="T58" fmla="*/ 2147483647 w 264"/>
                  <a:gd name="T59" fmla="*/ 2147483647 h 234"/>
                  <a:gd name="T60" fmla="*/ 2147483647 w 264"/>
                  <a:gd name="T61" fmla="*/ 2147483647 h 234"/>
                  <a:gd name="T62" fmla="*/ 2147483647 w 264"/>
                  <a:gd name="T63" fmla="*/ 2147483647 h 234"/>
                  <a:gd name="T64" fmla="*/ 2147483647 w 264"/>
                  <a:gd name="T65" fmla="*/ 2147483647 h 234"/>
                  <a:gd name="T66" fmla="*/ 2147483647 w 264"/>
                  <a:gd name="T67" fmla="*/ 2147483647 h 234"/>
                  <a:gd name="T68" fmla="*/ 2147483647 w 264"/>
                  <a:gd name="T69" fmla="*/ 2147483647 h 234"/>
                  <a:gd name="T70" fmla="*/ 2147483647 w 264"/>
                  <a:gd name="T71" fmla="*/ 2147483647 h 234"/>
                  <a:gd name="T72" fmla="*/ 2147483647 w 264"/>
                  <a:gd name="T73" fmla="*/ 2147483647 h 234"/>
                  <a:gd name="T74" fmla="*/ 2147483647 w 264"/>
                  <a:gd name="T75" fmla="*/ 2147483647 h 234"/>
                  <a:gd name="T76" fmla="*/ 2147483647 w 264"/>
                  <a:gd name="T77" fmla="*/ 2147483647 h 234"/>
                  <a:gd name="T78" fmla="*/ 2147483647 w 264"/>
                  <a:gd name="T79" fmla="*/ 2147483647 h 234"/>
                  <a:gd name="T80" fmla="*/ 2147483647 w 264"/>
                  <a:gd name="T81" fmla="*/ 2147483647 h 234"/>
                  <a:gd name="T82" fmla="*/ 2147483647 w 264"/>
                  <a:gd name="T83" fmla="*/ 2147483647 h 234"/>
                  <a:gd name="T84" fmla="*/ 2147483647 w 264"/>
                  <a:gd name="T85" fmla="*/ 2147483647 h 234"/>
                  <a:gd name="T86" fmla="*/ 2147483647 w 264"/>
                  <a:gd name="T87" fmla="*/ 2147483647 h 234"/>
                  <a:gd name="T88" fmla="*/ 2147483647 w 264"/>
                  <a:gd name="T89" fmla="*/ 2147483647 h 234"/>
                  <a:gd name="T90" fmla="*/ 2147483647 w 264"/>
                  <a:gd name="T91" fmla="*/ 2147483647 h 234"/>
                  <a:gd name="T92" fmla="*/ 2147483647 w 264"/>
                  <a:gd name="T93" fmla="*/ 2147483647 h 234"/>
                  <a:gd name="T94" fmla="*/ 2147483647 w 264"/>
                  <a:gd name="T95" fmla="*/ 2147483647 h 234"/>
                  <a:gd name="T96" fmla="*/ 2147483647 w 264"/>
                  <a:gd name="T97" fmla="*/ 2147483647 h 234"/>
                  <a:gd name="T98" fmla="*/ 2147483647 w 264"/>
                  <a:gd name="T99" fmla="*/ 2147483647 h 234"/>
                  <a:gd name="T100" fmla="*/ 2147483647 w 264"/>
                  <a:gd name="T101" fmla="*/ 2147483647 h 234"/>
                  <a:gd name="T102" fmla="*/ 2147483647 w 264"/>
                  <a:gd name="T103" fmla="*/ 2147483647 h 234"/>
                  <a:gd name="T104" fmla="*/ 2147483647 w 264"/>
                  <a:gd name="T105" fmla="*/ 2147483647 h 234"/>
                  <a:gd name="T106" fmla="*/ 2147483647 w 264"/>
                  <a:gd name="T107" fmla="*/ 2147483647 h 234"/>
                  <a:gd name="T108" fmla="*/ 2147483647 w 264"/>
                  <a:gd name="T109" fmla="*/ 2147483647 h 234"/>
                  <a:gd name="T110" fmla="*/ 2147483647 w 264"/>
                  <a:gd name="T111" fmla="*/ 2147483647 h 234"/>
                  <a:gd name="T112" fmla="*/ 2147483647 w 264"/>
                  <a:gd name="T113" fmla="*/ 2147483647 h 234"/>
                  <a:gd name="T114" fmla="*/ 2147483647 w 264"/>
                  <a:gd name="T115" fmla="*/ 2147483647 h 234"/>
                  <a:gd name="T116" fmla="*/ 2147483647 w 264"/>
                  <a:gd name="T117" fmla="*/ 2147483647 h 234"/>
                  <a:gd name="T118" fmla="*/ 2147483647 w 264"/>
                  <a:gd name="T119" fmla="*/ 2147483647 h 234"/>
                  <a:gd name="T120" fmla="*/ 2147483647 w 264"/>
                  <a:gd name="T121" fmla="*/ 2147483647 h 234"/>
                  <a:gd name="T122" fmla="*/ 2147483647 w 264"/>
                  <a:gd name="T123" fmla="*/ 2147483647 h 234"/>
                  <a:gd name="T124" fmla="*/ 2147483647 w 264"/>
                  <a:gd name="T125" fmla="*/ 2147483647 h 23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4"/>
                  <a:gd name="T190" fmla="*/ 0 h 234"/>
                  <a:gd name="T191" fmla="*/ 264 w 264"/>
                  <a:gd name="T192" fmla="*/ 234 h 23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4" h="234">
                    <a:moveTo>
                      <a:pt x="246" y="78"/>
                    </a:moveTo>
                    <a:lnTo>
                      <a:pt x="228" y="78"/>
                    </a:lnTo>
                    <a:lnTo>
                      <a:pt x="228" y="60"/>
                    </a:lnTo>
                    <a:lnTo>
                      <a:pt x="246" y="42"/>
                    </a:lnTo>
                    <a:lnTo>
                      <a:pt x="246" y="30"/>
                    </a:lnTo>
                    <a:lnTo>
                      <a:pt x="234" y="30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04" y="30"/>
                    </a:lnTo>
                    <a:lnTo>
                      <a:pt x="192" y="12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20" y="6"/>
                    </a:lnTo>
                    <a:lnTo>
                      <a:pt x="108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4"/>
                    </a:lnTo>
                    <a:lnTo>
                      <a:pt x="0" y="30"/>
                    </a:lnTo>
                    <a:lnTo>
                      <a:pt x="12" y="42"/>
                    </a:lnTo>
                    <a:lnTo>
                      <a:pt x="30" y="48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42" y="66"/>
                    </a:lnTo>
                    <a:lnTo>
                      <a:pt x="42" y="84"/>
                    </a:lnTo>
                    <a:lnTo>
                      <a:pt x="60" y="90"/>
                    </a:lnTo>
                    <a:lnTo>
                      <a:pt x="72" y="120"/>
                    </a:lnTo>
                    <a:lnTo>
                      <a:pt x="84" y="132"/>
                    </a:lnTo>
                    <a:lnTo>
                      <a:pt x="96" y="138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2" y="168"/>
                    </a:lnTo>
                    <a:lnTo>
                      <a:pt x="132" y="174"/>
                    </a:lnTo>
                    <a:lnTo>
                      <a:pt x="126" y="180"/>
                    </a:lnTo>
                    <a:lnTo>
                      <a:pt x="138" y="180"/>
                    </a:lnTo>
                    <a:lnTo>
                      <a:pt x="156" y="198"/>
                    </a:lnTo>
                    <a:lnTo>
                      <a:pt x="162" y="210"/>
                    </a:lnTo>
                    <a:lnTo>
                      <a:pt x="174" y="216"/>
                    </a:lnTo>
                    <a:lnTo>
                      <a:pt x="192" y="234"/>
                    </a:lnTo>
                    <a:lnTo>
                      <a:pt x="210" y="204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8" y="180"/>
                    </a:lnTo>
                    <a:lnTo>
                      <a:pt x="204" y="168"/>
                    </a:lnTo>
                    <a:lnTo>
                      <a:pt x="204" y="162"/>
                    </a:lnTo>
                    <a:lnTo>
                      <a:pt x="210" y="156"/>
                    </a:lnTo>
                    <a:lnTo>
                      <a:pt x="228" y="156"/>
                    </a:lnTo>
                    <a:lnTo>
                      <a:pt x="228" y="132"/>
                    </a:lnTo>
                    <a:lnTo>
                      <a:pt x="258" y="132"/>
                    </a:lnTo>
                    <a:lnTo>
                      <a:pt x="258" y="126"/>
                    </a:lnTo>
                    <a:lnTo>
                      <a:pt x="252" y="114"/>
                    </a:lnTo>
                    <a:lnTo>
                      <a:pt x="240" y="102"/>
                    </a:lnTo>
                    <a:lnTo>
                      <a:pt x="264" y="96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2" name="Belgiu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9907D65-FE61-30C5-A2E2-8CE2E765E40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17528" y="2059241"/>
                <a:ext cx="101100" cy="69184"/>
              </a:xfrm>
              <a:custGeom>
                <a:avLst/>
                <a:gdLst>
                  <a:gd name="T0" fmla="*/ 0 w 222"/>
                  <a:gd name="T1" fmla="*/ 2147483647 h 150"/>
                  <a:gd name="T2" fmla="*/ 2147483647 w 222"/>
                  <a:gd name="T3" fmla="*/ 2147483647 h 150"/>
                  <a:gd name="T4" fmla="*/ 2147483647 w 222"/>
                  <a:gd name="T5" fmla="*/ 2147483647 h 150"/>
                  <a:gd name="T6" fmla="*/ 2147483647 w 222"/>
                  <a:gd name="T7" fmla="*/ 2147483647 h 150"/>
                  <a:gd name="T8" fmla="*/ 2147483647 w 222"/>
                  <a:gd name="T9" fmla="*/ 2147483647 h 150"/>
                  <a:gd name="T10" fmla="*/ 2147483647 w 222"/>
                  <a:gd name="T11" fmla="*/ 2147483647 h 150"/>
                  <a:gd name="T12" fmla="*/ 2147483647 w 222"/>
                  <a:gd name="T13" fmla="*/ 2147483647 h 150"/>
                  <a:gd name="T14" fmla="*/ 2147483647 w 222"/>
                  <a:gd name="T15" fmla="*/ 2147483647 h 150"/>
                  <a:gd name="T16" fmla="*/ 2147483647 w 222"/>
                  <a:gd name="T17" fmla="*/ 2147483647 h 150"/>
                  <a:gd name="T18" fmla="*/ 2147483647 w 222"/>
                  <a:gd name="T19" fmla="*/ 2147483647 h 150"/>
                  <a:gd name="T20" fmla="*/ 2147483647 w 222"/>
                  <a:gd name="T21" fmla="*/ 2147483647 h 150"/>
                  <a:gd name="T22" fmla="*/ 2147483647 w 222"/>
                  <a:gd name="T23" fmla="*/ 2147483647 h 150"/>
                  <a:gd name="T24" fmla="*/ 2147483647 w 222"/>
                  <a:gd name="T25" fmla="*/ 2147483647 h 150"/>
                  <a:gd name="T26" fmla="*/ 2147483647 w 222"/>
                  <a:gd name="T27" fmla="*/ 2147483647 h 150"/>
                  <a:gd name="T28" fmla="*/ 2147483647 w 222"/>
                  <a:gd name="T29" fmla="*/ 2147483647 h 150"/>
                  <a:gd name="T30" fmla="*/ 2147483647 w 222"/>
                  <a:gd name="T31" fmla="*/ 2147483647 h 150"/>
                  <a:gd name="T32" fmla="*/ 2147483647 w 222"/>
                  <a:gd name="T33" fmla="*/ 2147483647 h 150"/>
                  <a:gd name="T34" fmla="*/ 2147483647 w 222"/>
                  <a:gd name="T35" fmla="*/ 2147483647 h 150"/>
                  <a:gd name="T36" fmla="*/ 2147483647 w 222"/>
                  <a:gd name="T37" fmla="*/ 2147483647 h 150"/>
                  <a:gd name="T38" fmla="*/ 2147483647 w 222"/>
                  <a:gd name="T39" fmla="*/ 2147483647 h 150"/>
                  <a:gd name="T40" fmla="*/ 2147483647 w 222"/>
                  <a:gd name="T41" fmla="*/ 2147483647 h 150"/>
                  <a:gd name="T42" fmla="*/ 2147483647 w 222"/>
                  <a:gd name="T43" fmla="*/ 2147483647 h 150"/>
                  <a:gd name="T44" fmla="*/ 2147483647 w 222"/>
                  <a:gd name="T45" fmla="*/ 2147483647 h 150"/>
                  <a:gd name="T46" fmla="*/ 2147483647 w 222"/>
                  <a:gd name="T47" fmla="*/ 2147483647 h 150"/>
                  <a:gd name="T48" fmla="*/ 2147483647 w 222"/>
                  <a:gd name="T49" fmla="*/ 2147483647 h 150"/>
                  <a:gd name="T50" fmla="*/ 2147483647 w 222"/>
                  <a:gd name="T51" fmla="*/ 2147483647 h 150"/>
                  <a:gd name="T52" fmla="*/ 2147483647 w 222"/>
                  <a:gd name="T53" fmla="*/ 2147483647 h 150"/>
                  <a:gd name="T54" fmla="*/ 2147483647 w 222"/>
                  <a:gd name="T55" fmla="*/ 2147483647 h 150"/>
                  <a:gd name="T56" fmla="*/ 2147483647 w 222"/>
                  <a:gd name="T57" fmla="*/ 2147483647 h 150"/>
                  <a:gd name="T58" fmla="*/ 2147483647 w 222"/>
                  <a:gd name="T59" fmla="*/ 2147483647 h 150"/>
                  <a:gd name="T60" fmla="*/ 2147483647 w 222"/>
                  <a:gd name="T61" fmla="*/ 2147483647 h 150"/>
                  <a:gd name="T62" fmla="*/ 2147483647 w 222"/>
                  <a:gd name="T63" fmla="*/ 2147483647 h 150"/>
                  <a:gd name="T64" fmla="*/ 2147483647 w 222"/>
                  <a:gd name="T65" fmla="*/ 2147483647 h 150"/>
                  <a:gd name="T66" fmla="*/ 2147483647 w 222"/>
                  <a:gd name="T67" fmla="*/ 2147483647 h 150"/>
                  <a:gd name="T68" fmla="*/ 2147483647 w 222"/>
                  <a:gd name="T69" fmla="*/ 2147483647 h 150"/>
                  <a:gd name="T70" fmla="*/ 2147483647 w 222"/>
                  <a:gd name="T71" fmla="*/ 2147483647 h 150"/>
                  <a:gd name="T72" fmla="*/ 2147483647 w 222"/>
                  <a:gd name="T73" fmla="*/ 2147483647 h 150"/>
                  <a:gd name="T74" fmla="*/ 2147483647 w 222"/>
                  <a:gd name="T75" fmla="*/ 2147483647 h 150"/>
                  <a:gd name="T76" fmla="*/ 2147483647 w 222"/>
                  <a:gd name="T77" fmla="*/ 2147483647 h 150"/>
                  <a:gd name="T78" fmla="*/ 2147483647 w 222"/>
                  <a:gd name="T79" fmla="*/ 2147483647 h 150"/>
                  <a:gd name="T80" fmla="*/ 2147483647 w 222"/>
                  <a:gd name="T81" fmla="*/ 0 h 150"/>
                  <a:gd name="T82" fmla="*/ 2147483647 w 222"/>
                  <a:gd name="T83" fmla="*/ 0 h 150"/>
                  <a:gd name="T84" fmla="*/ 2147483647 w 222"/>
                  <a:gd name="T85" fmla="*/ 2147483647 h 150"/>
                  <a:gd name="T86" fmla="*/ 2147483647 w 222"/>
                  <a:gd name="T87" fmla="*/ 0 h 150"/>
                  <a:gd name="T88" fmla="*/ 2147483647 w 222"/>
                  <a:gd name="T89" fmla="*/ 2147483647 h 150"/>
                  <a:gd name="T90" fmla="*/ 2147483647 w 222"/>
                  <a:gd name="T91" fmla="*/ 2147483647 h 150"/>
                  <a:gd name="T92" fmla="*/ 2147483647 w 222"/>
                  <a:gd name="T93" fmla="*/ 2147483647 h 150"/>
                  <a:gd name="T94" fmla="*/ 2147483647 w 222"/>
                  <a:gd name="T95" fmla="*/ 2147483647 h 150"/>
                  <a:gd name="T96" fmla="*/ 2147483647 w 222"/>
                  <a:gd name="T97" fmla="*/ 2147483647 h 150"/>
                  <a:gd name="T98" fmla="*/ 2147483647 w 222"/>
                  <a:gd name="T99" fmla="*/ 2147483647 h 150"/>
                  <a:gd name="T100" fmla="*/ 2147483647 w 222"/>
                  <a:gd name="T101" fmla="*/ 2147483647 h 150"/>
                  <a:gd name="T102" fmla="*/ 0 w 222"/>
                  <a:gd name="T103" fmla="*/ 2147483647 h 150"/>
                  <a:gd name="T104" fmla="*/ 0 w 222"/>
                  <a:gd name="T105" fmla="*/ 2147483647 h 15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2"/>
                  <a:gd name="T160" fmla="*/ 0 h 150"/>
                  <a:gd name="T161" fmla="*/ 222 w 222"/>
                  <a:gd name="T162" fmla="*/ 150 h 15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2" h="150">
                    <a:moveTo>
                      <a:pt x="0" y="42"/>
                    </a:moveTo>
                    <a:lnTo>
                      <a:pt x="6" y="60"/>
                    </a:lnTo>
                    <a:lnTo>
                      <a:pt x="30" y="66"/>
                    </a:lnTo>
                    <a:lnTo>
                      <a:pt x="42" y="78"/>
                    </a:lnTo>
                    <a:lnTo>
                      <a:pt x="66" y="78"/>
                    </a:lnTo>
                    <a:lnTo>
                      <a:pt x="78" y="84"/>
                    </a:lnTo>
                    <a:lnTo>
                      <a:pt x="84" y="90"/>
                    </a:lnTo>
                    <a:lnTo>
                      <a:pt x="84" y="114"/>
                    </a:lnTo>
                    <a:lnTo>
                      <a:pt x="108" y="114"/>
                    </a:lnTo>
                    <a:lnTo>
                      <a:pt x="120" y="102"/>
                    </a:lnTo>
                    <a:lnTo>
                      <a:pt x="120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62" y="144"/>
                    </a:lnTo>
                    <a:lnTo>
                      <a:pt x="180" y="144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2"/>
                    </a:lnTo>
                    <a:lnTo>
                      <a:pt x="174" y="120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92" y="108"/>
                    </a:lnTo>
                    <a:lnTo>
                      <a:pt x="198" y="102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10" y="90"/>
                    </a:lnTo>
                    <a:lnTo>
                      <a:pt x="222" y="90"/>
                    </a:lnTo>
                    <a:lnTo>
                      <a:pt x="216" y="84"/>
                    </a:lnTo>
                    <a:lnTo>
                      <a:pt x="216" y="66"/>
                    </a:lnTo>
                    <a:lnTo>
                      <a:pt x="204" y="54"/>
                    </a:lnTo>
                    <a:lnTo>
                      <a:pt x="180" y="54"/>
                    </a:lnTo>
                    <a:lnTo>
                      <a:pt x="180" y="42"/>
                    </a:lnTo>
                    <a:lnTo>
                      <a:pt x="186" y="36"/>
                    </a:lnTo>
                    <a:lnTo>
                      <a:pt x="186" y="18"/>
                    </a:lnTo>
                    <a:lnTo>
                      <a:pt x="180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96" y="0"/>
                    </a:lnTo>
                    <a:lnTo>
                      <a:pt x="96" y="12"/>
                    </a:lnTo>
                    <a:lnTo>
                      <a:pt x="78" y="6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0" y="24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4" name="Bela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B420EF8-D31D-CEE7-F3A7-15956F9E651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9793" y="1896039"/>
                <a:ext cx="255413" cy="166751"/>
              </a:xfrm>
              <a:custGeom>
                <a:avLst/>
                <a:gdLst>
                  <a:gd name="T0" fmla="*/ 2147483647 w 570"/>
                  <a:gd name="T1" fmla="*/ 2147483647 h 372"/>
                  <a:gd name="T2" fmla="*/ 2147483647 w 570"/>
                  <a:gd name="T3" fmla="*/ 2147483647 h 372"/>
                  <a:gd name="T4" fmla="*/ 2147483647 w 570"/>
                  <a:gd name="T5" fmla="*/ 2147483647 h 372"/>
                  <a:gd name="T6" fmla="*/ 2147483647 w 570"/>
                  <a:gd name="T7" fmla="*/ 2147483647 h 372"/>
                  <a:gd name="T8" fmla="*/ 2147483647 w 570"/>
                  <a:gd name="T9" fmla="*/ 2147483647 h 372"/>
                  <a:gd name="T10" fmla="*/ 2147483647 w 570"/>
                  <a:gd name="T11" fmla="*/ 2147483647 h 372"/>
                  <a:gd name="T12" fmla="*/ 2147483647 w 570"/>
                  <a:gd name="T13" fmla="*/ 2147483647 h 372"/>
                  <a:gd name="T14" fmla="*/ 2147483647 w 570"/>
                  <a:gd name="T15" fmla="*/ 2147483647 h 372"/>
                  <a:gd name="T16" fmla="*/ 2147483647 w 570"/>
                  <a:gd name="T17" fmla="*/ 2147483647 h 372"/>
                  <a:gd name="T18" fmla="*/ 2147483647 w 570"/>
                  <a:gd name="T19" fmla="*/ 2147483647 h 372"/>
                  <a:gd name="T20" fmla="*/ 2147483647 w 570"/>
                  <a:gd name="T21" fmla="*/ 2147483647 h 372"/>
                  <a:gd name="T22" fmla="*/ 2147483647 w 570"/>
                  <a:gd name="T23" fmla="*/ 2147483647 h 372"/>
                  <a:gd name="T24" fmla="*/ 2147483647 w 570"/>
                  <a:gd name="T25" fmla="*/ 2147483647 h 372"/>
                  <a:gd name="T26" fmla="*/ 2147483647 w 570"/>
                  <a:gd name="T27" fmla="*/ 2147483647 h 372"/>
                  <a:gd name="T28" fmla="*/ 2147483647 w 570"/>
                  <a:gd name="T29" fmla="*/ 2147483647 h 372"/>
                  <a:gd name="T30" fmla="*/ 2147483647 w 570"/>
                  <a:gd name="T31" fmla="*/ 2147483647 h 372"/>
                  <a:gd name="T32" fmla="*/ 2147483647 w 570"/>
                  <a:gd name="T33" fmla="*/ 2147483647 h 372"/>
                  <a:gd name="T34" fmla="*/ 2147483647 w 570"/>
                  <a:gd name="T35" fmla="*/ 2147483647 h 372"/>
                  <a:gd name="T36" fmla="*/ 2147483647 w 570"/>
                  <a:gd name="T37" fmla="*/ 2147483647 h 372"/>
                  <a:gd name="T38" fmla="*/ 2147483647 w 570"/>
                  <a:gd name="T39" fmla="*/ 2147483647 h 372"/>
                  <a:gd name="T40" fmla="*/ 2147483647 w 570"/>
                  <a:gd name="T41" fmla="*/ 2147483647 h 372"/>
                  <a:gd name="T42" fmla="*/ 2147483647 w 570"/>
                  <a:gd name="T43" fmla="*/ 2147483647 h 372"/>
                  <a:gd name="T44" fmla="*/ 2147483647 w 570"/>
                  <a:gd name="T45" fmla="*/ 2147483647 h 372"/>
                  <a:gd name="T46" fmla="*/ 2147483647 w 570"/>
                  <a:gd name="T47" fmla="*/ 2147483647 h 372"/>
                  <a:gd name="T48" fmla="*/ 2147483647 w 570"/>
                  <a:gd name="T49" fmla="*/ 2147483647 h 372"/>
                  <a:gd name="T50" fmla="*/ 2147483647 w 570"/>
                  <a:gd name="T51" fmla="*/ 2147483647 h 372"/>
                  <a:gd name="T52" fmla="*/ 2147483647 w 570"/>
                  <a:gd name="T53" fmla="*/ 2147483647 h 372"/>
                  <a:gd name="T54" fmla="*/ 2147483647 w 570"/>
                  <a:gd name="T55" fmla="*/ 2147483647 h 372"/>
                  <a:gd name="T56" fmla="*/ 2147483647 w 570"/>
                  <a:gd name="T57" fmla="*/ 0 h 372"/>
                  <a:gd name="T58" fmla="*/ 2147483647 w 570"/>
                  <a:gd name="T59" fmla="*/ 2147483647 h 372"/>
                  <a:gd name="T60" fmla="*/ 2147483647 w 570"/>
                  <a:gd name="T61" fmla="*/ 2147483647 h 372"/>
                  <a:gd name="T62" fmla="*/ 2147483647 w 570"/>
                  <a:gd name="T63" fmla="*/ 2147483647 h 372"/>
                  <a:gd name="T64" fmla="*/ 2147483647 w 570"/>
                  <a:gd name="T65" fmla="*/ 2147483647 h 372"/>
                  <a:gd name="T66" fmla="*/ 2147483647 w 570"/>
                  <a:gd name="T67" fmla="*/ 2147483647 h 372"/>
                  <a:gd name="T68" fmla="*/ 2147483647 w 570"/>
                  <a:gd name="T69" fmla="*/ 2147483647 h 372"/>
                  <a:gd name="T70" fmla="*/ 2147483647 w 570"/>
                  <a:gd name="T71" fmla="*/ 2147483647 h 372"/>
                  <a:gd name="T72" fmla="*/ 2147483647 w 570"/>
                  <a:gd name="T73" fmla="*/ 2147483647 h 372"/>
                  <a:gd name="T74" fmla="*/ 2147483647 w 570"/>
                  <a:gd name="T75" fmla="*/ 2147483647 h 372"/>
                  <a:gd name="T76" fmla="*/ 2147483647 w 570"/>
                  <a:gd name="T77" fmla="*/ 2147483647 h 372"/>
                  <a:gd name="T78" fmla="*/ 2147483647 w 570"/>
                  <a:gd name="T79" fmla="*/ 2147483647 h 372"/>
                  <a:gd name="T80" fmla="*/ 2147483647 w 570"/>
                  <a:gd name="T81" fmla="*/ 2147483647 h 372"/>
                  <a:gd name="T82" fmla="*/ 2147483647 w 570"/>
                  <a:gd name="T83" fmla="*/ 2147483647 h 372"/>
                  <a:gd name="T84" fmla="*/ 2147483647 w 570"/>
                  <a:gd name="T85" fmla="*/ 2147483647 h 372"/>
                  <a:gd name="T86" fmla="*/ 2147483647 w 570"/>
                  <a:gd name="T87" fmla="*/ 2147483647 h 372"/>
                  <a:gd name="T88" fmla="*/ 2147483647 w 570"/>
                  <a:gd name="T89" fmla="*/ 2147483647 h 372"/>
                  <a:gd name="T90" fmla="*/ 2147483647 w 570"/>
                  <a:gd name="T91" fmla="*/ 2147483647 h 372"/>
                  <a:gd name="T92" fmla="*/ 2147483647 w 570"/>
                  <a:gd name="T93" fmla="*/ 2147483647 h 372"/>
                  <a:gd name="T94" fmla="*/ 2147483647 w 570"/>
                  <a:gd name="T95" fmla="*/ 2147483647 h 372"/>
                  <a:gd name="T96" fmla="*/ 2147483647 w 570"/>
                  <a:gd name="T97" fmla="*/ 2147483647 h 3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0"/>
                  <a:gd name="T148" fmla="*/ 0 h 372"/>
                  <a:gd name="T149" fmla="*/ 570 w 570"/>
                  <a:gd name="T150" fmla="*/ 372 h 3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0" h="372">
                    <a:moveTo>
                      <a:pt x="24" y="312"/>
                    </a:moveTo>
                    <a:lnTo>
                      <a:pt x="24" y="342"/>
                    </a:lnTo>
                    <a:lnTo>
                      <a:pt x="30" y="354"/>
                    </a:lnTo>
                    <a:lnTo>
                      <a:pt x="36" y="360"/>
                    </a:lnTo>
                    <a:lnTo>
                      <a:pt x="48" y="360"/>
                    </a:lnTo>
                    <a:lnTo>
                      <a:pt x="60" y="354"/>
                    </a:lnTo>
                    <a:lnTo>
                      <a:pt x="72" y="342"/>
                    </a:lnTo>
                    <a:lnTo>
                      <a:pt x="72" y="336"/>
                    </a:lnTo>
                    <a:lnTo>
                      <a:pt x="108" y="336"/>
                    </a:lnTo>
                    <a:lnTo>
                      <a:pt x="120" y="330"/>
                    </a:lnTo>
                    <a:lnTo>
                      <a:pt x="126" y="324"/>
                    </a:lnTo>
                    <a:lnTo>
                      <a:pt x="174" y="324"/>
                    </a:lnTo>
                    <a:lnTo>
                      <a:pt x="174" y="330"/>
                    </a:lnTo>
                    <a:lnTo>
                      <a:pt x="180" y="336"/>
                    </a:lnTo>
                    <a:lnTo>
                      <a:pt x="216" y="336"/>
                    </a:lnTo>
                    <a:lnTo>
                      <a:pt x="240" y="342"/>
                    </a:lnTo>
                    <a:lnTo>
                      <a:pt x="258" y="354"/>
                    </a:lnTo>
                    <a:lnTo>
                      <a:pt x="264" y="348"/>
                    </a:lnTo>
                    <a:lnTo>
                      <a:pt x="282" y="360"/>
                    </a:lnTo>
                    <a:lnTo>
                      <a:pt x="294" y="348"/>
                    </a:lnTo>
                    <a:lnTo>
                      <a:pt x="300" y="360"/>
                    </a:lnTo>
                    <a:lnTo>
                      <a:pt x="318" y="354"/>
                    </a:lnTo>
                    <a:lnTo>
                      <a:pt x="324" y="360"/>
                    </a:lnTo>
                    <a:lnTo>
                      <a:pt x="336" y="354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54" y="354"/>
                    </a:lnTo>
                    <a:lnTo>
                      <a:pt x="372" y="354"/>
                    </a:lnTo>
                    <a:lnTo>
                      <a:pt x="378" y="360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6" y="366"/>
                    </a:lnTo>
                    <a:lnTo>
                      <a:pt x="420" y="366"/>
                    </a:lnTo>
                    <a:lnTo>
                      <a:pt x="426" y="372"/>
                    </a:lnTo>
                    <a:lnTo>
                      <a:pt x="444" y="372"/>
                    </a:lnTo>
                    <a:lnTo>
                      <a:pt x="450" y="366"/>
                    </a:lnTo>
                    <a:lnTo>
                      <a:pt x="450" y="354"/>
                    </a:lnTo>
                    <a:lnTo>
                      <a:pt x="444" y="348"/>
                    </a:lnTo>
                    <a:lnTo>
                      <a:pt x="450" y="336"/>
                    </a:lnTo>
                    <a:lnTo>
                      <a:pt x="456" y="330"/>
                    </a:lnTo>
                    <a:lnTo>
                      <a:pt x="468" y="324"/>
                    </a:lnTo>
                    <a:lnTo>
                      <a:pt x="474" y="312"/>
                    </a:lnTo>
                    <a:lnTo>
                      <a:pt x="498" y="312"/>
                    </a:lnTo>
                    <a:lnTo>
                      <a:pt x="516" y="318"/>
                    </a:lnTo>
                    <a:lnTo>
                      <a:pt x="516" y="300"/>
                    </a:lnTo>
                    <a:lnTo>
                      <a:pt x="510" y="288"/>
                    </a:lnTo>
                    <a:lnTo>
                      <a:pt x="504" y="282"/>
                    </a:lnTo>
                    <a:lnTo>
                      <a:pt x="504" y="264"/>
                    </a:lnTo>
                    <a:lnTo>
                      <a:pt x="480" y="240"/>
                    </a:lnTo>
                    <a:lnTo>
                      <a:pt x="480" y="234"/>
                    </a:lnTo>
                    <a:lnTo>
                      <a:pt x="486" y="228"/>
                    </a:lnTo>
                    <a:lnTo>
                      <a:pt x="510" y="228"/>
                    </a:lnTo>
                    <a:lnTo>
                      <a:pt x="510" y="234"/>
                    </a:lnTo>
                    <a:lnTo>
                      <a:pt x="516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52" y="228"/>
                    </a:lnTo>
                    <a:lnTo>
                      <a:pt x="558" y="216"/>
                    </a:lnTo>
                    <a:lnTo>
                      <a:pt x="570" y="210"/>
                    </a:lnTo>
                    <a:lnTo>
                      <a:pt x="546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46" y="186"/>
                    </a:lnTo>
                    <a:lnTo>
                      <a:pt x="540" y="180"/>
                    </a:lnTo>
                    <a:lnTo>
                      <a:pt x="504" y="180"/>
                    </a:lnTo>
                    <a:lnTo>
                      <a:pt x="504" y="156"/>
                    </a:lnTo>
                    <a:lnTo>
                      <a:pt x="474" y="144"/>
                    </a:lnTo>
                    <a:lnTo>
                      <a:pt x="474" y="132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44" y="84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8"/>
                    </a:lnTo>
                    <a:lnTo>
                      <a:pt x="432" y="42"/>
                    </a:lnTo>
                    <a:lnTo>
                      <a:pt x="396" y="24"/>
                    </a:lnTo>
                    <a:lnTo>
                      <a:pt x="390" y="18"/>
                    </a:lnTo>
                    <a:lnTo>
                      <a:pt x="384" y="18"/>
                    </a:lnTo>
                    <a:lnTo>
                      <a:pt x="354" y="36"/>
                    </a:lnTo>
                    <a:lnTo>
                      <a:pt x="348" y="18"/>
                    </a:lnTo>
                    <a:lnTo>
                      <a:pt x="312" y="12"/>
                    </a:lnTo>
                    <a:lnTo>
                      <a:pt x="300" y="18"/>
                    </a:lnTo>
                    <a:lnTo>
                      <a:pt x="300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52" y="6"/>
                    </a:lnTo>
                    <a:lnTo>
                      <a:pt x="246" y="18"/>
                    </a:lnTo>
                    <a:lnTo>
                      <a:pt x="240" y="24"/>
                    </a:lnTo>
                    <a:lnTo>
                      <a:pt x="234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30"/>
                    </a:lnTo>
                    <a:lnTo>
                      <a:pt x="180" y="36"/>
                    </a:lnTo>
                    <a:lnTo>
                      <a:pt x="174" y="42"/>
                    </a:lnTo>
                    <a:lnTo>
                      <a:pt x="174" y="54"/>
                    </a:lnTo>
                    <a:lnTo>
                      <a:pt x="192" y="72"/>
                    </a:lnTo>
                    <a:lnTo>
                      <a:pt x="186" y="78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72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2" y="120"/>
                    </a:lnTo>
                    <a:lnTo>
                      <a:pt x="132" y="126"/>
                    </a:lnTo>
                    <a:lnTo>
                      <a:pt x="138" y="132"/>
                    </a:lnTo>
                    <a:lnTo>
                      <a:pt x="138" y="144"/>
                    </a:lnTo>
                    <a:lnTo>
                      <a:pt x="144" y="15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38" y="150"/>
                    </a:lnTo>
                    <a:lnTo>
                      <a:pt x="138" y="144"/>
                    </a:lnTo>
                    <a:lnTo>
                      <a:pt x="120" y="144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6" y="168"/>
                    </a:lnTo>
                    <a:lnTo>
                      <a:pt x="84" y="156"/>
                    </a:lnTo>
                    <a:lnTo>
                      <a:pt x="84" y="174"/>
                    </a:lnTo>
                    <a:lnTo>
                      <a:pt x="54" y="174"/>
                    </a:lnTo>
                    <a:lnTo>
                      <a:pt x="54" y="168"/>
                    </a:lnTo>
                    <a:lnTo>
                      <a:pt x="48" y="162"/>
                    </a:lnTo>
                    <a:lnTo>
                      <a:pt x="42" y="162"/>
                    </a:lnTo>
                    <a:lnTo>
                      <a:pt x="30" y="168"/>
                    </a:lnTo>
                    <a:lnTo>
                      <a:pt x="18" y="168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18" y="204"/>
                    </a:lnTo>
                    <a:lnTo>
                      <a:pt x="24" y="210"/>
                    </a:lnTo>
                    <a:lnTo>
                      <a:pt x="36" y="234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6" y="264"/>
                    </a:lnTo>
                    <a:lnTo>
                      <a:pt x="12" y="270"/>
                    </a:lnTo>
                    <a:lnTo>
                      <a:pt x="12" y="288"/>
                    </a:lnTo>
                    <a:lnTo>
                      <a:pt x="0" y="288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24" y="31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6" name="Azerbaij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EC995C4-2EC2-CC0A-9B39-ECD7D1956A4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44933" y="2396290"/>
                <a:ext cx="163181" cy="131272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7" name="Aust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CA189A4-BBAD-C654-FF5D-9F19CFD23DE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05540" y="2144390"/>
                <a:ext cx="205750" cy="90471"/>
              </a:xfrm>
              <a:custGeom>
                <a:avLst/>
                <a:gdLst>
                  <a:gd name="T0" fmla="*/ 2147483647 w 456"/>
                  <a:gd name="T1" fmla="*/ 2147483647 h 204"/>
                  <a:gd name="T2" fmla="*/ 2147483647 w 456"/>
                  <a:gd name="T3" fmla="*/ 2147483647 h 204"/>
                  <a:gd name="T4" fmla="*/ 2147483647 w 456"/>
                  <a:gd name="T5" fmla="*/ 2147483647 h 204"/>
                  <a:gd name="T6" fmla="*/ 2147483647 w 456"/>
                  <a:gd name="T7" fmla="*/ 2147483647 h 204"/>
                  <a:gd name="T8" fmla="*/ 2147483647 w 456"/>
                  <a:gd name="T9" fmla="*/ 2147483647 h 204"/>
                  <a:gd name="T10" fmla="*/ 2147483647 w 456"/>
                  <a:gd name="T11" fmla="*/ 2147483647 h 204"/>
                  <a:gd name="T12" fmla="*/ 2147483647 w 456"/>
                  <a:gd name="T13" fmla="*/ 2147483647 h 204"/>
                  <a:gd name="T14" fmla="*/ 2147483647 w 456"/>
                  <a:gd name="T15" fmla="*/ 0 h 204"/>
                  <a:gd name="T16" fmla="*/ 2147483647 w 456"/>
                  <a:gd name="T17" fmla="*/ 2147483647 h 204"/>
                  <a:gd name="T18" fmla="*/ 2147483647 w 456"/>
                  <a:gd name="T19" fmla="*/ 2147483647 h 204"/>
                  <a:gd name="T20" fmla="*/ 2147483647 w 456"/>
                  <a:gd name="T21" fmla="*/ 2147483647 h 204"/>
                  <a:gd name="T22" fmla="*/ 2147483647 w 456"/>
                  <a:gd name="T23" fmla="*/ 2147483647 h 204"/>
                  <a:gd name="T24" fmla="*/ 2147483647 w 456"/>
                  <a:gd name="T25" fmla="*/ 2147483647 h 204"/>
                  <a:gd name="T26" fmla="*/ 2147483647 w 456"/>
                  <a:gd name="T27" fmla="*/ 2147483647 h 204"/>
                  <a:gd name="T28" fmla="*/ 2147483647 w 456"/>
                  <a:gd name="T29" fmla="*/ 2147483647 h 204"/>
                  <a:gd name="T30" fmla="*/ 2147483647 w 456"/>
                  <a:gd name="T31" fmla="*/ 2147483647 h 204"/>
                  <a:gd name="T32" fmla="*/ 2147483647 w 456"/>
                  <a:gd name="T33" fmla="*/ 2147483647 h 204"/>
                  <a:gd name="T34" fmla="*/ 2147483647 w 456"/>
                  <a:gd name="T35" fmla="*/ 2147483647 h 204"/>
                  <a:gd name="T36" fmla="*/ 2147483647 w 456"/>
                  <a:gd name="T37" fmla="*/ 2147483647 h 204"/>
                  <a:gd name="T38" fmla="*/ 2147483647 w 456"/>
                  <a:gd name="T39" fmla="*/ 2147483647 h 204"/>
                  <a:gd name="T40" fmla="*/ 2147483647 w 456"/>
                  <a:gd name="T41" fmla="*/ 2147483647 h 204"/>
                  <a:gd name="T42" fmla="*/ 2147483647 w 456"/>
                  <a:gd name="T43" fmla="*/ 2147483647 h 204"/>
                  <a:gd name="T44" fmla="*/ 2147483647 w 456"/>
                  <a:gd name="T45" fmla="*/ 2147483647 h 204"/>
                  <a:gd name="T46" fmla="*/ 2147483647 w 456"/>
                  <a:gd name="T47" fmla="*/ 2147483647 h 204"/>
                  <a:gd name="T48" fmla="*/ 2147483647 w 456"/>
                  <a:gd name="T49" fmla="*/ 2147483647 h 204"/>
                  <a:gd name="T50" fmla="*/ 2147483647 w 456"/>
                  <a:gd name="T51" fmla="*/ 2147483647 h 204"/>
                  <a:gd name="T52" fmla="*/ 2147483647 w 456"/>
                  <a:gd name="T53" fmla="*/ 2147483647 h 204"/>
                  <a:gd name="T54" fmla="*/ 0 w 456"/>
                  <a:gd name="T55" fmla="*/ 2147483647 h 204"/>
                  <a:gd name="T56" fmla="*/ 2147483647 w 456"/>
                  <a:gd name="T57" fmla="*/ 2147483647 h 204"/>
                  <a:gd name="T58" fmla="*/ 2147483647 w 456"/>
                  <a:gd name="T59" fmla="*/ 2147483647 h 204"/>
                  <a:gd name="T60" fmla="*/ 2147483647 w 456"/>
                  <a:gd name="T61" fmla="*/ 2147483647 h 204"/>
                  <a:gd name="T62" fmla="*/ 2147483647 w 456"/>
                  <a:gd name="T63" fmla="*/ 2147483647 h 204"/>
                  <a:gd name="T64" fmla="*/ 2147483647 w 456"/>
                  <a:gd name="T65" fmla="*/ 2147483647 h 204"/>
                  <a:gd name="T66" fmla="*/ 2147483647 w 456"/>
                  <a:gd name="T67" fmla="*/ 2147483647 h 204"/>
                  <a:gd name="T68" fmla="*/ 2147483647 w 456"/>
                  <a:gd name="T69" fmla="*/ 2147483647 h 204"/>
                  <a:gd name="T70" fmla="*/ 2147483647 w 456"/>
                  <a:gd name="T71" fmla="*/ 2147483647 h 204"/>
                  <a:gd name="T72" fmla="*/ 2147483647 w 456"/>
                  <a:gd name="T73" fmla="*/ 2147483647 h 204"/>
                  <a:gd name="T74" fmla="*/ 2147483647 w 456"/>
                  <a:gd name="T75" fmla="*/ 2147483647 h 204"/>
                  <a:gd name="T76" fmla="*/ 2147483647 w 456"/>
                  <a:gd name="T77" fmla="*/ 2147483647 h 204"/>
                  <a:gd name="T78" fmla="*/ 2147483647 w 456"/>
                  <a:gd name="T79" fmla="*/ 2147483647 h 204"/>
                  <a:gd name="T80" fmla="*/ 2147483647 w 456"/>
                  <a:gd name="T81" fmla="*/ 2147483647 h 204"/>
                  <a:gd name="T82" fmla="*/ 2147483647 w 456"/>
                  <a:gd name="T83" fmla="*/ 2147483647 h 204"/>
                  <a:gd name="T84" fmla="*/ 2147483647 w 456"/>
                  <a:gd name="T85" fmla="*/ 2147483647 h 204"/>
                  <a:gd name="T86" fmla="*/ 2147483647 w 456"/>
                  <a:gd name="T87" fmla="*/ 2147483647 h 204"/>
                  <a:gd name="T88" fmla="*/ 2147483647 w 456"/>
                  <a:gd name="T89" fmla="*/ 2147483647 h 204"/>
                  <a:gd name="T90" fmla="*/ 2147483647 w 456"/>
                  <a:gd name="T91" fmla="*/ 2147483647 h 20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56"/>
                  <a:gd name="T139" fmla="*/ 0 h 204"/>
                  <a:gd name="T140" fmla="*/ 456 w 456"/>
                  <a:gd name="T141" fmla="*/ 204 h 20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56" h="204">
                    <a:moveTo>
                      <a:pt x="456" y="102"/>
                    </a:moveTo>
                    <a:lnTo>
                      <a:pt x="456" y="60"/>
                    </a:lnTo>
                    <a:lnTo>
                      <a:pt x="450" y="60"/>
                    </a:lnTo>
                    <a:lnTo>
                      <a:pt x="450" y="48"/>
                    </a:lnTo>
                    <a:lnTo>
                      <a:pt x="456" y="24"/>
                    </a:lnTo>
                    <a:lnTo>
                      <a:pt x="444" y="18"/>
                    </a:lnTo>
                    <a:lnTo>
                      <a:pt x="438" y="18"/>
                    </a:lnTo>
                    <a:lnTo>
                      <a:pt x="432" y="12"/>
                    </a:lnTo>
                    <a:lnTo>
                      <a:pt x="420" y="12"/>
                    </a:lnTo>
                    <a:lnTo>
                      <a:pt x="414" y="18"/>
                    </a:lnTo>
                    <a:lnTo>
                      <a:pt x="402" y="24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66" y="6"/>
                    </a:lnTo>
                    <a:lnTo>
                      <a:pt x="354" y="0"/>
                    </a:lnTo>
                    <a:lnTo>
                      <a:pt x="336" y="0"/>
                    </a:lnTo>
                    <a:lnTo>
                      <a:pt x="330" y="6"/>
                    </a:lnTo>
                    <a:lnTo>
                      <a:pt x="324" y="18"/>
                    </a:lnTo>
                    <a:lnTo>
                      <a:pt x="318" y="18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300" y="30"/>
                    </a:lnTo>
                    <a:lnTo>
                      <a:pt x="288" y="36"/>
                    </a:lnTo>
                    <a:lnTo>
                      <a:pt x="276" y="36"/>
                    </a:lnTo>
                    <a:lnTo>
                      <a:pt x="258" y="18"/>
                    </a:lnTo>
                    <a:lnTo>
                      <a:pt x="252" y="36"/>
                    </a:lnTo>
                    <a:lnTo>
                      <a:pt x="234" y="36"/>
                    </a:lnTo>
                    <a:lnTo>
                      <a:pt x="240" y="48"/>
                    </a:lnTo>
                    <a:lnTo>
                      <a:pt x="240" y="66"/>
                    </a:lnTo>
                    <a:lnTo>
                      <a:pt x="234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66"/>
                    </a:lnTo>
                    <a:lnTo>
                      <a:pt x="204" y="72"/>
                    </a:lnTo>
                    <a:lnTo>
                      <a:pt x="198" y="78"/>
                    </a:lnTo>
                    <a:lnTo>
                      <a:pt x="198" y="84"/>
                    </a:lnTo>
                    <a:lnTo>
                      <a:pt x="210" y="84"/>
                    </a:lnTo>
                    <a:lnTo>
                      <a:pt x="210" y="126"/>
                    </a:lnTo>
                    <a:lnTo>
                      <a:pt x="204" y="126"/>
                    </a:lnTo>
                    <a:lnTo>
                      <a:pt x="192" y="114"/>
                    </a:lnTo>
                    <a:lnTo>
                      <a:pt x="174" y="108"/>
                    </a:lnTo>
                    <a:lnTo>
                      <a:pt x="162" y="102"/>
                    </a:lnTo>
                    <a:lnTo>
                      <a:pt x="144" y="114"/>
                    </a:lnTo>
                    <a:lnTo>
                      <a:pt x="126" y="114"/>
                    </a:lnTo>
                    <a:lnTo>
                      <a:pt x="108" y="126"/>
                    </a:lnTo>
                    <a:lnTo>
                      <a:pt x="102" y="132"/>
                    </a:lnTo>
                    <a:lnTo>
                      <a:pt x="84" y="132"/>
                    </a:lnTo>
                    <a:lnTo>
                      <a:pt x="66" y="114"/>
                    </a:lnTo>
                    <a:lnTo>
                      <a:pt x="48" y="114"/>
                    </a:lnTo>
                    <a:lnTo>
                      <a:pt x="48" y="126"/>
                    </a:lnTo>
                    <a:lnTo>
                      <a:pt x="42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0" y="120"/>
                    </a:lnTo>
                    <a:lnTo>
                      <a:pt x="0" y="156"/>
                    </a:lnTo>
                    <a:lnTo>
                      <a:pt x="18" y="156"/>
                    </a:lnTo>
                    <a:lnTo>
                      <a:pt x="18" y="174"/>
                    </a:lnTo>
                    <a:lnTo>
                      <a:pt x="24" y="174"/>
                    </a:lnTo>
                    <a:lnTo>
                      <a:pt x="42" y="156"/>
                    </a:lnTo>
                    <a:lnTo>
                      <a:pt x="48" y="156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72" y="174"/>
                    </a:lnTo>
                    <a:lnTo>
                      <a:pt x="84" y="180"/>
                    </a:lnTo>
                    <a:lnTo>
                      <a:pt x="96" y="162"/>
                    </a:lnTo>
                    <a:lnTo>
                      <a:pt x="138" y="162"/>
                    </a:lnTo>
                    <a:lnTo>
                      <a:pt x="138" y="156"/>
                    </a:lnTo>
                    <a:lnTo>
                      <a:pt x="144" y="150"/>
                    </a:lnTo>
                    <a:lnTo>
                      <a:pt x="162" y="150"/>
                    </a:lnTo>
                    <a:lnTo>
                      <a:pt x="168" y="156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186" y="192"/>
                    </a:lnTo>
                    <a:lnTo>
                      <a:pt x="240" y="192"/>
                    </a:lnTo>
                    <a:lnTo>
                      <a:pt x="240" y="204"/>
                    </a:lnTo>
                    <a:lnTo>
                      <a:pt x="258" y="204"/>
                    </a:lnTo>
                    <a:lnTo>
                      <a:pt x="264" y="198"/>
                    </a:lnTo>
                    <a:lnTo>
                      <a:pt x="282" y="198"/>
                    </a:lnTo>
                    <a:lnTo>
                      <a:pt x="288" y="204"/>
                    </a:lnTo>
                    <a:lnTo>
                      <a:pt x="318" y="204"/>
                    </a:lnTo>
                    <a:lnTo>
                      <a:pt x="318" y="192"/>
                    </a:lnTo>
                    <a:lnTo>
                      <a:pt x="366" y="192"/>
                    </a:lnTo>
                    <a:lnTo>
                      <a:pt x="378" y="186"/>
                    </a:lnTo>
                    <a:lnTo>
                      <a:pt x="402" y="192"/>
                    </a:lnTo>
                    <a:lnTo>
                      <a:pt x="414" y="156"/>
                    </a:lnTo>
                    <a:lnTo>
                      <a:pt x="432" y="156"/>
                    </a:lnTo>
                    <a:lnTo>
                      <a:pt x="432" y="132"/>
                    </a:lnTo>
                    <a:lnTo>
                      <a:pt x="444" y="114"/>
                    </a:lnTo>
                    <a:lnTo>
                      <a:pt x="432" y="114"/>
                    </a:lnTo>
                    <a:lnTo>
                      <a:pt x="438" y="102"/>
                    </a:lnTo>
                    <a:lnTo>
                      <a:pt x="456" y="10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8" name="Arm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71F558A-06F4-5D7B-A208-1806CB86658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00590" y="2415803"/>
                <a:ext cx="99328" cy="95792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81" name="Andor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7FBB14F-CC72-2A6F-0358-EFD30C82749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767864" y="2371456"/>
                <a:ext cx="14191" cy="7096"/>
              </a:xfrm>
              <a:custGeom>
                <a:avLst/>
                <a:gdLst>
                  <a:gd name="T0" fmla="*/ 2147483647 w 30"/>
                  <a:gd name="T1" fmla="*/ 2147483647 h 18"/>
                  <a:gd name="T2" fmla="*/ 2147483647 w 30"/>
                  <a:gd name="T3" fmla="*/ 2147483647 h 18"/>
                  <a:gd name="T4" fmla="*/ 2147483647 w 30"/>
                  <a:gd name="T5" fmla="*/ 2147483647 h 18"/>
                  <a:gd name="T6" fmla="*/ 2147483647 w 30"/>
                  <a:gd name="T7" fmla="*/ 0 h 18"/>
                  <a:gd name="T8" fmla="*/ 0 w 30"/>
                  <a:gd name="T9" fmla="*/ 0 h 18"/>
                  <a:gd name="T10" fmla="*/ 2147483647 w 30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18"/>
                  <a:gd name="T20" fmla="*/ 30 w 3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18">
                    <a:moveTo>
                      <a:pt x="6" y="18"/>
                    </a:moveTo>
                    <a:lnTo>
                      <a:pt x="18" y="12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88" name="Alb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9433209-ABC8-22A0-971F-28B496C983A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78691" y="2371456"/>
                <a:ext cx="65626" cy="109985"/>
              </a:xfrm>
              <a:custGeom>
                <a:avLst/>
                <a:gdLst>
                  <a:gd name="T0" fmla="*/ 2147483647 w 144"/>
                  <a:gd name="T1" fmla="*/ 2147483647 h 246"/>
                  <a:gd name="T2" fmla="*/ 2147483647 w 144"/>
                  <a:gd name="T3" fmla="*/ 2147483647 h 246"/>
                  <a:gd name="T4" fmla="*/ 2147483647 w 144"/>
                  <a:gd name="T5" fmla="*/ 2147483647 h 246"/>
                  <a:gd name="T6" fmla="*/ 2147483647 w 144"/>
                  <a:gd name="T7" fmla="*/ 2147483647 h 246"/>
                  <a:gd name="T8" fmla="*/ 2147483647 w 144"/>
                  <a:gd name="T9" fmla="*/ 2147483647 h 246"/>
                  <a:gd name="T10" fmla="*/ 2147483647 w 144"/>
                  <a:gd name="T11" fmla="*/ 2147483647 h 246"/>
                  <a:gd name="T12" fmla="*/ 2147483647 w 144"/>
                  <a:gd name="T13" fmla="*/ 2147483647 h 246"/>
                  <a:gd name="T14" fmla="*/ 2147483647 w 144"/>
                  <a:gd name="T15" fmla="*/ 2147483647 h 246"/>
                  <a:gd name="T16" fmla="*/ 2147483647 w 144"/>
                  <a:gd name="T17" fmla="*/ 2147483647 h 246"/>
                  <a:gd name="T18" fmla="*/ 2147483647 w 144"/>
                  <a:gd name="T19" fmla="*/ 2147483647 h 246"/>
                  <a:gd name="T20" fmla="*/ 2147483647 w 144"/>
                  <a:gd name="T21" fmla="*/ 2147483647 h 246"/>
                  <a:gd name="T22" fmla="*/ 2147483647 w 144"/>
                  <a:gd name="T23" fmla="*/ 2147483647 h 246"/>
                  <a:gd name="T24" fmla="*/ 2147483647 w 144"/>
                  <a:gd name="T25" fmla="*/ 2147483647 h 246"/>
                  <a:gd name="T26" fmla="*/ 2147483647 w 144"/>
                  <a:gd name="T27" fmla="*/ 2147483647 h 246"/>
                  <a:gd name="T28" fmla="*/ 2147483647 w 144"/>
                  <a:gd name="T29" fmla="*/ 2147483647 h 246"/>
                  <a:gd name="T30" fmla="*/ 2147483647 w 144"/>
                  <a:gd name="T31" fmla="*/ 2147483647 h 246"/>
                  <a:gd name="T32" fmla="*/ 2147483647 w 144"/>
                  <a:gd name="T33" fmla="*/ 2147483647 h 246"/>
                  <a:gd name="T34" fmla="*/ 2147483647 w 144"/>
                  <a:gd name="T35" fmla="*/ 2147483647 h 246"/>
                  <a:gd name="T36" fmla="*/ 2147483647 w 144"/>
                  <a:gd name="T37" fmla="*/ 2147483647 h 246"/>
                  <a:gd name="T38" fmla="*/ 2147483647 w 144"/>
                  <a:gd name="T39" fmla="*/ 0 h 246"/>
                  <a:gd name="T40" fmla="*/ 2147483647 w 144"/>
                  <a:gd name="T41" fmla="*/ 2147483647 h 246"/>
                  <a:gd name="T42" fmla="*/ 2147483647 w 144"/>
                  <a:gd name="T43" fmla="*/ 2147483647 h 246"/>
                  <a:gd name="T44" fmla="*/ 0 w 144"/>
                  <a:gd name="T45" fmla="*/ 2147483647 h 246"/>
                  <a:gd name="T46" fmla="*/ 2147483647 w 144"/>
                  <a:gd name="T47" fmla="*/ 2147483647 h 246"/>
                  <a:gd name="T48" fmla="*/ 2147483647 w 144"/>
                  <a:gd name="T49" fmla="*/ 2147483647 h 246"/>
                  <a:gd name="T50" fmla="*/ 2147483647 w 144"/>
                  <a:gd name="T51" fmla="*/ 2147483647 h 246"/>
                  <a:gd name="T52" fmla="*/ 2147483647 w 144"/>
                  <a:gd name="T53" fmla="*/ 2147483647 h 246"/>
                  <a:gd name="T54" fmla="*/ 2147483647 w 144"/>
                  <a:gd name="T55" fmla="*/ 2147483647 h 246"/>
                  <a:gd name="T56" fmla="*/ 2147483647 w 144"/>
                  <a:gd name="T57" fmla="*/ 2147483647 h 246"/>
                  <a:gd name="T58" fmla="*/ 2147483647 w 144"/>
                  <a:gd name="T59" fmla="*/ 2147483647 h 246"/>
                  <a:gd name="T60" fmla="*/ 2147483647 w 144"/>
                  <a:gd name="T61" fmla="*/ 2147483647 h 246"/>
                  <a:gd name="T62" fmla="*/ 2147483647 w 144"/>
                  <a:gd name="T63" fmla="*/ 2147483647 h 246"/>
                  <a:gd name="T64" fmla="*/ 2147483647 w 144"/>
                  <a:gd name="T65" fmla="*/ 2147483647 h 246"/>
                  <a:gd name="T66" fmla="*/ 2147483647 w 144"/>
                  <a:gd name="T67" fmla="*/ 2147483647 h 246"/>
                  <a:gd name="T68" fmla="*/ 2147483647 w 144"/>
                  <a:gd name="T69" fmla="*/ 2147483647 h 246"/>
                  <a:gd name="T70" fmla="*/ 2147483647 w 144"/>
                  <a:gd name="T71" fmla="*/ 2147483647 h 246"/>
                  <a:gd name="T72" fmla="*/ 2147483647 w 144"/>
                  <a:gd name="T73" fmla="*/ 2147483647 h 246"/>
                  <a:gd name="T74" fmla="*/ 2147483647 w 144"/>
                  <a:gd name="T75" fmla="*/ 2147483647 h 246"/>
                  <a:gd name="T76" fmla="*/ 2147483647 w 144"/>
                  <a:gd name="T77" fmla="*/ 2147483647 h 246"/>
                  <a:gd name="T78" fmla="*/ 2147483647 w 144"/>
                  <a:gd name="T79" fmla="*/ 2147483647 h 246"/>
                  <a:gd name="T80" fmla="*/ 2147483647 w 144"/>
                  <a:gd name="T81" fmla="*/ 2147483647 h 246"/>
                  <a:gd name="T82" fmla="*/ 2147483647 w 144"/>
                  <a:gd name="T83" fmla="*/ 2147483647 h 246"/>
                  <a:gd name="T84" fmla="*/ 2147483647 w 144"/>
                  <a:gd name="T85" fmla="*/ 2147483647 h 246"/>
                  <a:gd name="T86" fmla="*/ 2147483647 w 144"/>
                  <a:gd name="T87" fmla="*/ 2147483647 h 246"/>
                  <a:gd name="T88" fmla="*/ 2147483647 w 144"/>
                  <a:gd name="T89" fmla="*/ 2147483647 h 2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246"/>
                  <a:gd name="T137" fmla="*/ 144 w 144"/>
                  <a:gd name="T138" fmla="*/ 246 h 2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246">
                    <a:moveTo>
                      <a:pt x="96" y="210"/>
                    </a:moveTo>
                    <a:lnTo>
                      <a:pt x="96" y="204"/>
                    </a:lnTo>
                    <a:lnTo>
                      <a:pt x="108" y="204"/>
                    </a:lnTo>
                    <a:lnTo>
                      <a:pt x="120" y="198"/>
                    </a:lnTo>
                    <a:lnTo>
                      <a:pt x="120" y="174"/>
                    </a:lnTo>
                    <a:lnTo>
                      <a:pt x="138" y="174"/>
                    </a:lnTo>
                    <a:lnTo>
                      <a:pt x="144" y="168"/>
                    </a:lnTo>
                    <a:lnTo>
                      <a:pt x="144" y="138"/>
                    </a:lnTo>
                    <a:lnTo>
                      <a:pt x="120" y="144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20"/>
                    </a:lnTo>
                    <a:lnTo>
                      <a:pt x="108" y="96"/>
                    </a:lnTo>
                    <a:lnTo>
                      <a:pt x="102" y="84"/>
                    </a:lnTo>
                    <a:lnTo>
                      <a:pt x="102" y="42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36" y="0"/>
                    </a:lnTo>
                    <a:lnTo>
                      <a:pt x="36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48"/>
                    </a:lnTo>
                    <a:lnTo>
                      <a:pt x="18" y="60"/>
                    </a:lnTo>
                    <a:lnTo>
                      <a:pt x="24" y="66"/>
                    </a:lnTo>
                    <a:lnTo>
                      <a:pt x="48" y="66"/>
                    </a:lnTo>
                    <a:lnTo>
                      <a:pt x="48" y="84"/>
                    </a:lnTo>
                    <a:lnTo>
                      <a:pt x="42" y="96"/>
                    </a:lnTo>
                    <a:lnTo>
                      <a:pt x="42" y="114"/>
                    </a:lnTo>
                    <a:lnTo>
                      <a:pt x="36" y="132"/>
                    </a:lnTo>
                    <a:lnTo>
                      <a:pt x="36" y="15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42" y="204"/>
                    </a:lnTo>
                    <a:lnTo>
                      <a:pt x="54" y="210"/>
                    </a:lnTo>
                    <a:lnTo>
                      <a:pt x="60" y="216"/>
                    </a:lnTo>
                    <a:lnTo>
                      <a:pt x="60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90" y="246"/>
                    </a:lnTo>
                    <a:lnTo>
                      <a:pt x="96" y="246"/>
                    </a:lnTo>
                    <a:lnTo>
                      <a:pt x="96" y="21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294" name="Group 340">
                <a:extLst>
                  <a:ext uri="{FF2B5EF4-FFF2-40B4-BE49-F238E27FC236}">
                    <a16:creationId xmlns:a16="http://schemas.microsoft.com/office/drawing/2014/main" id="{C690B27B-623A-FF5F-ABF6-5DD5142AFE15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 bwMode="auto">
              <a:xfrm>
                <a:off x="6268048" y="2245510"/>
                <a:ext cx="124159" cy="152559"/>
                <a:chOff x="2184" y="1242"/>
                <a:chExt cx="257" cy="316"/>
              </a:xfrm>
              <a:grpFill/>
            </p:grpSpPr>
            <p:sp>
              <p:nvSpPr>
                <p:cNvPr id="314" name="Freeform 341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648CF7E6-10A3-BE5A-B3F9-129F46B4576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184" y="1242"/>
                  <a:ext cx="257" cy="282"/>
                </a:xfrm>
                <a:custGeom>
                  <a:avLst/>
                  <a:gdLst/>
                  <a:ahLst/>
                  <a:cxnLst>
                    <a:cxn ang="0">
                      <a:pos x="464" y="374"/>
                    </a:cxn>
                    <a:cxn ang="0">
                      <a:pos x="453" y="310"/>
                    </a:cxn>
                    <a:cxn ang="0">
                      <a:pos x="453" y="235"/>
                    </a:cxn>
                    <a:cxn ang="0">
                      <a:pos x="378" y="224"/>
                    </a:cxn>
                    <a:cxn ang="0">
                      <a:pos x="302" y="171"/>
                    </a:cxn>
                    <a:cxn ang="0">
                      <a:pos x="291" y="118"/>
                    </a:cxn>
                    <a:cxn ang="0">
                      <a:pos x="259" y="128"/>
                    </a:cxn>
                    <a:cxn ang="0">
                      <a:pos x="216" y="53"/>
                    </a:cxn>
                    <a:cxn ang="0">
                      <a:pos x="87" y="0"/>
                    </a:cxn>
                    <a:cxn ang="0">
                      <a:pos x="0" y="43"/>
                    </a:cxn>
                    <a:cxn ang="0">
                      <a:pos x="32" y="96"/>
                    </a:cxn>
                    <a:cxn ang="0">
                      <a:pos x="65" y="139"/>
                    </a:cxn>
                    <a:cxn ang="0">
                      <a:pos x="54" y="150"/>
                    </a:cxn>
                    <a:cxn ang="0">
                      <a:pos x="32" y="181"/>
                    </a:cxn>
                    <a:cxn ang="0">
                      <a:pos x="32" y="192"/>
                    </a:cxn>
                    <a:cxn ang="0">
                      <a:pos x="76" y="203"/>
                    </a:cxn>
                    <a:cxn ang="0">
                      <a:pos x="87" y="267"/>
                    </a:cxn>
                    <a:cxn ang="0">
                      <a:pos x="65" y="310"/>
                    </a:cxn>
                    <a:cxn ang="0">
                      <a:pos x="98" y="363"/>
                    </a:cxn>
                    <a:cxn ang="0">
                      <a:pos x="119" y="395"/>
                    </a:cxn>
                    <a:cxn ang="0">
                      <a:pos x="157" y="442"/>
                    </a:cxn>
                    <a:cxn ang="0">
                      <a:pos x="173" y="438"/>
                    </a:cxn>
                    <a:cxn ang="0">
                      <a:pos x="180" y="444"/>
                    </a:cxn>
                    <a:cxn ang="0">
                      <a:pos x="230" y="446"/>
                    </a:cxn>
                    <a:cxn ang="0">
                      <a:pos x="237" y="431"/>
                    </a:cxn>
                    <a:cxn ang="0">
                      <a:pos x="258" y="416"/>
                    </a:cxn>
                    <a:cxn ang="0">
                      <a:pos x="266" y="418"/>
                    </a:cxn>
                    <a:cxn ang="0">
                      <a:pos x="268" y="407"/>
                    </a:cxn>
                    <a:cxn ang="0">
                      <a:pos x="267" y="399"/>
                    </a:cxn>
                    <a:cxn ang="0">
                      <a:pos x="254" y="388"/>
                    </a:cxn>
                    <a:cxn ang="0">
                      <a:pos x="262" y="387"/>
                    </a:cxn>
                    <a:cxn ang="0">
                      <a:pos x="279" y="380"/>
                    </a:cxn>
                    <a:cxn ang="0">
                      <a:pos x="288" y="372"/>
                    </a:cxn>
                    <a:cxn ang="0">
                      <a:pos x="298" y="389"/>
                    </a:cxn>
                    <a:cxn ang="0">
                      <a:pos x="292" y="399"/>
                    </a:cxn>
                    <a:cxn ang="0">
                      <a:pos x="309" y="402"/>
                    </a:cxn>
                    <a:cxn ang="0">
                      <a:pos x="321" y="404"/>
                    </a:cxn>
                    <a:cxn ang="0">
                      <a:pos x="326" y="408"/>
                    </a:cxn>
                    <a:cxn ang="0">
                      <a:pos x="328" y="433"/>
                    </a:cxn>
                    <a:cxn ang="0">
                      <a:pos x="334" y="429"/>
                    </a:cxn>
                    <a:cxn ang="0">
                      <a:pos x="335" y="448"/>
                    </a:cxn>
                    <a:cxn ang="0">
                      <a:pos x="348" y="452"/>
                    </a:cxn>
                    <a:cxn ang="0">
                      <a:pos x="356" y="467"/>
                    </a:cxn>
                    <a:cxn ang="0">
                      <a:pos x="354" y="478"/>
                    </a:cxn>
                    <a:cxn ang="0">
                      <a:pos x="356" y="482"/>
                    </a:cxn>
                    <a:cxn ang="0">
                      <a:pos x="369" y="485"/>
                    </a:cxn>
                    <a:cxn ang="0">
                      <a:pos x="381" y="492"/>
                    </a:cxn>
                    <a:cxn ang="0">
                      <a:pos x="390" y="496"/>
                    </a:cxn>
                    <a:cxn ang="0">
                      <a:pos x="399" y="501"/>
                    </a:cxn>
                    <a:cxn ang="0">
                      <a:pos x="392" y="513"/>
                    </a:cxn>
                    <a:cxn ang="0">
                      <a:pos x="384" y="528"/>
                    </a:cxn>
                    <a:cxn ang="0">
                      <a:pos x="376" y="542"/>
                    </a:cxn>
                    <a:cxn ang="0">
                      <a:pos x="453" y="492"/>
                    </a:cxn>
                    <a:cxn ang="0">
                      <a:pos x="486" y="470"/>
                    </a:cxn>
                    <a:cxn ang="0">
                      <a:pos x="486" y="406"/>
                    </a:cxn>
                  </a:cxnLst>
                  <a:rect l="0" t="0" r="r" b="b"/>
                  <a:pathLst>
                    <a:path w="496" h="542">
                      <a:moveTo>
                        <a:pt x="486" y="406"/>
                      </a:moveTo>
                      <a:cubicBezTo>
                        <a:pt x="453" y="395"/>
                        <a:pt x="453" y="395"/>
                        <a:pt x="453" y="395"/>
                      </a:cubicBezTo>
                      <a:cubicBezTo>
                        <a:pt x="464" y="374"/>
                        <a:pt x="464" y="374"/>
                        <a:pt x="464" y="374"/>
                      </a:cubicBezTo>
                      <a:cubicBezTo>
                        <a:pt x="432" y="363"/>
                        <a:pt x="432" y="363"/>
                        <a:pt x="432" y="363"/>
                      </a:cubicBezTo>
                      <a:cubicBezTo>
                        <a:pt x="432" y="331"/>
                        <a:pt x="432" y="331"/>
                        <a:pt x="432" y="331"/>
                      </a:cubicBezTo>
                      <a:cubicBezTo>
                        <a:pt x="453" y="310"/>
                        <a:pt x="453" y="310"/>
                        <a:pt x="453" y="310"/>
                      </a:cubicBezTo>
                      <a:cubicBezTo>
                        <a:pt x="453" y="267"/>
                        <a:pt x="453" y="267"/>
                        <a:pt x="453" y="267"/>
                      </a:cubicBezTo>
                      <a:cubicBezTo>
                        <a:pt x="442" y="256"/>
                        <a:pt x="442" y="256"/>
                        <a:pt x="442" y="256"/>
                      </a:cubicBezTo>
                      <a:cubicBezTo>
                        <a:pt x="453" y="235"/>
                        <a:pt x="453" y="235"/>
                        <a:pt x="453" y="235"/>
                      </a:cubicBezTo>
                      <a:cubicBezTo>
                        <a:pt x="464" y="224"/>
                        <a:pt x="464" y="224"/>
                        <a:pt x="464" y="224"/>
                      </a:cubicBezTo>
                      <a:cubicBezTo>
                        <a:pt x="421" y="213"/>
                        <a:pt x="421" y="213"/>
                        <a:pt x="421" y="213"/>
                      </a:cubicBezTo>
                      <a:cubicBezTo>
                        <a:pt x="378" y="224"/>
                        <a:pt x="378" y="224"/>
                        <a:pt x="378" y="224"/>
                      </a:cubicBezTo>
                      <a:cubicBezTo>
                        <a:pt x="367" y="213"/>
                        <a:pt x="367" y="213"/>
                        <a:pt x="367" y="213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02" y="171"/>
                        <a:pt x="302" y="171"/>
                        <a:pt x="302" y="171"/>
                      </a:cubicBezTo>
                      <a:cubicBezTo>
                        <a:pt x="313" y="160"/>
                        <a:pt x="313" y="160"/>
                        <a:pt x="313" y="160"/>
                      </a:cubicBezTo>
                      <a:cubicBezTo>
                        <a:pt x="313" y="128"/>
                        <a:pt x="313" y="128"/>
                        <a:pt x="313" y="128"/>
                      </a:cubicBezTo>
                      <a:cubicBezTo>
                        <a:pt x="291" y="118"/>
                        <a:pt x="291" y="118"/>
                        <a:pt x="291" y="118"/>
                      </a:cubicBezTo>
                      <a:cubicBezTo>
                        <a:pt x="280" y="118"/>
                        <a:pt x="280" y="118"/>
                        <a:pt x="280" y="118"/>
                      </a:cubicBezTo>
                      <a:cubicBezTo>
                        <a:pt x="270" y="128"/>
                        <a:pt x="270" y="128"/>
                        <a:pt x="270" y="128"/>
                      </a:cubicBezTo>
                      <a:cubicBezTo>
                        <a:pt x="259" y="128"/>
                        <a:pt x="259" y="128"/>
                        <a:pt x="259" y="128"/>
                      </a:cubicBezTo>
                      <a:cubicBezTo>
                        <a:pt x="249" y="118"/>
                        <a:pt x="249" y="118"/>
                        <a:pt x="249" y="118"/>
                      </a:cubicBezTo>
                      <a:cubicBezTo>
                        <a:pt x="227" y="53"/>
                        <a:pt x="227" y="53"/>
                        <a:pt x="227" y="53"/>
                      </a:cubicBezTo>
                      <a:cubicBezTo>
                        <a:pt x="216" y="53"/>
                        <a:pt x="216" y="53"/>
                        <a:pt x="216" y="53"/>
                      </a:cubicBezTo>
                      <a:cubicBezTo>
                        <a:pt x="173" y="21"/>
                        <a:pt x="173" y="21"/>
                        <a:pt x="173" y="21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11" y="32"/>
                        <a:pt x="11" y="32"/>
                        <a:pt x="11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2" y="128"/>
                        <a:pt x="22" y="128"/>
                        <a:pt x="22" y="128"/>
                      </a:cubicBezTo>
                      <a:cubicBezTo>
                        <a:pt x="43" y="128"/>
                        <a:pt x="43" y="128"/>
                        <a:pt x="43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65" y="150"/>
                        <a:pt x="65" y="150"/>
                        <a:pt x="65" y="150"/>
                      </a:cubicBezTo>
                      <a:cubicBezTo>
                        <a:pt x="54" y="150"/>
                        <a:pt x="54" y="150"/>
                        <a:pt x="54" y="150"/>
                      </a:cubicBezTo>
                      <a:cubicBezTo>
                        <a:pt x="43" y="160"/>
                        <a:pt x="43" y="160"/>
                        <a:pt x="43" y="160"/>
                      </a:cubicBezTo>
                      <a:cubicBezTo>
                        <a:pt x="32" y="160"/>
                        <a:pt x="32" y="160"/>
                        <a:pt x="32" y="160"/>
                      </a:cubicBezTo>
                      <a:cubicBezTo>
                        <a:pt x="32" y="181"/>
                        <a:pt x="32" y="181"/>
                        <a:pt x="32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2" y="192"/>
                        <a:pt x="22" y="192"/>
                        <a:pt x="22" y="192"/>
                      </a:cubicBezTo>
                      <a:cubicBezTo>
                        <a:pt x="32" y="192"/>
                        <a:pt x="32" y="192"/>
                        <a:pt x="32" y="192"/>
                      </a:cubicBezTo>
                      <a:cubicBezTo>
                        <a:pt x="54" y="181"/>
                        <a:pt x="54" y="181"/>
                        <a:pt x="54" y="181"/>
                      </a:cubicBezTo>
                      <a:cubicBezTo>
                        <a:pt x="76" y="181"/>
                        <a:pt x="76" y="181"/>
                        <a:pt x="76" y="181"/>
                      </a:cubicBezTo>
                      <a:cubicBezTo>
                        <a:pt x="76" y="203"/>
                        <a:pt x="76" y="203"/>
                        <a:pt x="76" y="203"/>
                      </a:cubicBezTo>
                      <a:cubicBezTo>
                        <a:pt x="43" y="235"/>
                        <a:pt x="43" y="235"/>
                        <a:pt x="43" y="235"/>
                      </a:cubicBezTo>
                      <a:cubicBezTo>
                        <a:pt x="43" y="267"/>
                        <a:pt x="43" y="267"/>
                        <a:pt x="43" y="267"/>
                      </a:cubicBezTo>
                      <a:cubicBezTo>
                        <a:pt x="87" y="267"/>
                        <a:pt x="87" y="267"/>
                        <a:pt x="87" y="267"/>
                      </a:cubicBezTo>
                      <a:cubicBezTo>
                        <a:pt x="98" y="278"/>
                        <a:pt x="98" y="278"/>
                        <a:pt x="98" y="278"/>
                      </a:cubicBezTo>
                      <a:cubicBezTo>
                        <a:pt x="108" y="299"/>
                        <a:pt x="108" y="299"/>
                        <a:pt x="108" y="299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87" y="331"/>
                        <a:pt x="87" y="331"/>
                        <a:pt x="87" y="331"/>
                      </a:cubicBezTo>
                      <a:cubicBezTo>
                        <a:pt x="98" y="353"/>
                        <a:pt x="98" y="353"/>
                        <a:pt x="98" y="353"/>
                      </a:cubicBezTo>
                      <a:cubicBezTo>
                        <a:pt x="98" y="363"/>
                        <a:pt x="98" y="363"/>
                        <a:pt x="98" y="363"/>
                      </a:cubicBezTo>
                      <a:cubicBezTo>
                        <a:pt x="87" y="363"/>
                        <a:pt x="87" y="363"/>
                        <a:pt x="87" y="363"/>
                      </a:cubicBezTo>
                      <a:cubicBezTo>
                        <a:pt x="87" y="374"/>
                        <a:pt x="87" y="374"/>
                        <a:pt x="87" y="374"/>
                      </a:cubicBezTo>
                      <a:cubicBezTo>
                        <a:pt x="119" y="395"/>
                        <a:pt x="119" y="395"/>
                        <a:pt x="119" y="395"/>
                      </a:cubicBezTo>
                      <a:cubicBezTo>
                        <a:pt x="140" y="417"/>
                        <a:pt x="140" y="417"/>
                        <a:pt x="140" y="417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9" y="442"/>
                        <a:pt x="161" y="443"/>
                        <a:pt x="166" y="444"/>
                      </a:cubicBezTo>
                      <a:cubicBezTo>
                        <a:pt x="166" y="444"/>
                        <a:pt x="166" y="444"/>
                        <a:pt x="167" y="444"/>
                      </a:cubicBezTo>
                      <a:cubicBezTo>
                        <a:pt x="173" y="438"/>
                        <a:pt x="173" y="438"/>
                        <a:pt x="173" y="438"/>
                      </a:cubicBezTo>
                      <a:cubicBezTo>
                        <a:pt x="173" y="447"/>
                        <a:pt x="173" y="447"/>
                        <a:pt x="173" y="447"/>
                      </a:cubicBezTo>
                      <a:cubicBezTo>
                        <a:pt x="174" y="448"/>
                        <a:pt x="175" y="448"/>
                        <a:pt x="176" y="449"/>
                      </a:cubicBezTo>
                      <a:cubicBezTo>
                        <a:pt x="176" y="449"/>
                        <a:pt x="176" y="449"/>
                        <a:pt x="180" y="444"/>
                      </a:cubicBezTo>
                      <a:cubicBezTo>
                        <a:pt x="180" y="444"/>
                        <a:pt x="180" y="444"/>
                        <a:pt x="199" y="447"/>
                      </a:cubicBezTo>
                      <a:cubicBezTo>
                        <a:pt x="199" y="447"/>
                        <a:pt x="199" y="447"/>
                        <a:pt x="212" y="446"/>
                      </a:cubicBezTo>
                      <a:cubicBezTo>
                        <a:pt x="212" y="446"/>
                        <a:pt x="212" y="446"/>
                        <a:pt x="230" y="446"/>
                      </a:cubicBezTo>
                      <a:cubicBezTo>
                        <a:pt x="230" y="446"/>
                        <a:pt x="230" y="446"/>
                        <a:pt x="240" y="443"/>
                      </a:cubicBezTo>
                      <a:cubicBezTo>
                        <a:pt x="240" y="443"/>
                        <a:pt x="240" y="443"/>
                        <a:pt x="239" y="437"/>
                      </a:cubicBezTo>
                      <a:cubicBezTo>
                        <a:pt x="239" y="437"/>
                        <a:pt x="239" y="437"/>
                        <a:pt x="237" y="431"/>
                      </a:cubicBezTo>
                      <a:cubicBezTo>
                        <a:pt x="237" y="431"/>
                        <a:pt x="237" y="431"/>
                        <a:pt x="245" y="425"/>
                      </a:cubicBezTo>
                      <a:cubicBezTo>
                        <a:pt x="245" y="425"/>
                        <a:pt x="245" y="425"/>
                        <a:pt x="255" y="417"/>
                      </a:cubicBezTo>
                      <a:cubicBezTo>
                        <a:pt x="255" y="417"/>
                        <a:pt x="255" y="417"/>
                        <a:pt x="258" y="416"/>
                      </a:cubicBezTo>
                      <a:cubicBezTo>
                        <a:pt x="258" y="416"/>
                        <a:pt x="258" y="416"/>
                        <a:pt x="258" y="421"/>
                      </a:cubicBezTo>
                      <a:cubicBezTo>
                        <a:pt x="258" y="421"/>
                        <a:pt x="258" y="421"/>
                        <a:pt x="262" y="419"/>
                      </a:cubicBezTo>
                      <a:cubicBezTo>
                        <a:pt x="262" y="419"/>
                        <a:pt x="262" y="419"/>
                        <a:pt x="266" y="418"/>
                      </a:cubicBezTo>
                      <a:cubicBezTo>
                        <a:pt x="266" y="418"/>
                        <a:pt x="266" y="418"/>
                        <a:pt x="263" y="414"/>
                      </a:cubicBezTo>
                      <a:cubicBezTo>
                        <a:pt x="263" y="414"/>
                        <a:pt x="263" y="414"/>
                        <a:pt x="267" y="412"/>
                      </a:cubicBezTo>
                      <a:cubicBezTo>
                        <a:pt x="267" y="412"/>
                        <a:pt x="267" y="412"/>
                        <a:pt x="268" y="407"/>
                      </a:cubicBezTo>
                      <a:cubicBezTo>
                        <a:pt x="268" y="407"/>
                        <a:pt x="268" y="407"/>
                        <a:pt x="264" y="405"/>
                      </a:cubicBezTo>
                      <a:cubicBezTo>
                        <a:pt x="264" y="405"/>
                        <a:pt x="264" y="405"/>
                        <a:pt x="264" y="402"/>
                      </a:cubicBezTo>
                      <a:cubicBezTo>
                        <a:pt x="264" y="402"/>
                        <a:pt x="264" y="402"/>
                        <a:pt x="267" y="399"/>
                      </a:cubicBezTo>
                      <a:cubicBezTo>
                        <a:pt x="267" y="399"/>
                        <a:pt x="267" y="399"/>
                        <a:pt x="266" y="396"/>
                      </a:cubicBezTo>
                      <a:cubicBezTo>
                        <a:pt x="266" y="396"/>
                        <a:pt x="266" y="396"/>
                        <a:pt x="258" y="394"/>
                      </a:cubicBezTo>
                      <a:cubicBezTo>
                        <a:pt x="258" y="394"/>
                        <a:pt x="258" y="394"/>
                        <a:pt x="254" y="388"/>
                      </a:cubicBezTo>
                      <a:cubicBezTo>
                        <a:pt x="254" y="388"/>
                        <a:pt x="254" y="388"/>
                        <a:pt x="256" y="385"/>
                      </a:cubicBezTo>
                      <a:cubicBezTo>
                        <a:pt x="256" y="385"/>
                        <a:pt x="256" y="385"/>
                        <a:pt x="259" y="389"/>
                      </a:cubicBezTo>
                      <a:cubicBezTo>
                        <a:pt x="259" y="389"/>
                        <a:pt x="259" y="389"/>
                        <a:pt x="262" y="387"/>
                      </a:cubicBezTo>
                      <a:cubicBezTo>
                        <a:pt x="262" y="387"/>
                        <a:pt x="262" y="387"/>
                        <a:pt x="267" y="388"/>
                      </a:cubicBezTo>
                      <a:cubicBezTo>
                        <a:pt x="267" y="388"/>
                        <a:pt x="267" y="388"/>
                        <a:pt x="271" y="385"/>
                      </a:cubicBezTo>
                      <a:cubicBezTo>
                        <a:pt x="271" y="385"/>
                        <a:pt x="271" y="385"/>
                        <a:pt x="279" y="380"/>
                      </a:cubicBezTo>
                      <a:cubicBezTo>
                        <a:pt x="279" y="380"/>
                        <a:pt x="279" y="380"/>
                        <a:pt x="282" y="378"/>
                      </a:cubicBezTo>
                      <a:cubicBezTo>
                        <a:pt x="282" y="378"/>
                        <a:pt x="282" y="378"/>
                        <a:pt x="283" y="374"/>
                      </a:cubicBezTo>
                      <a:cubicBezTo>
                        <a:pt x="283" y="374"/>
                        <a:pt x="283" y="374"/>
                        <a:pt x="288" y="372"/>
                      </a:cubicBezTo>
                      <a:cubicBezTo>
                        <a:pt x="288" y="372"/>
                        <a:pt x="288" y="372"/>
                        <a:pt x="293" y="377"/>
                      </a:cubicBezTo>
                      <a:cubicBezTo>
                        <a:pt x="293" y="377"/>
                        <a:pt x="293" y="377"/>
                        <a:pt x="297" y="384"/>
                      </a:cubicBezTo>
                      <a:cubicBezTo>
                        <a:pt x="297" y="384"/>
                        <a:pt x="297" y="384"/>
                        <a:pt x="298" y="389"/>
                      </a:cubicBezTo>
                      <a:cubicBezTo>
                        <a:pt x="298" y="389"/>
                        <a:pt x="298" y="389"/>
                        <a:pt x="298" y="392"/>
                      </a:cubicBezTo>
                      <a:cubicBezTo>
                        <a:pt x="298" y="392"/>
                        <a:pt x="298" y="392"/>
                        <a:pt x="291" y="396"/>
                      </a:cubicBezTo>
                      <a:cubicBezTo>
                        <a:pt x="291" y="396"/>
                        <a:pt x="291" y="396"/>
                        <a:pt x="292" y="399"/>
                      </a:cubicBezTo>
                      <a:cubicBezTo>
                        <a:pt x="292" y="399"/>
                        <a:pt x="292" y="399"/>
                        <a:pt x="299" y="400"/>
                      </a:cubicBezTo>
                      <a:cubicBezTo>
                        <a:pt x="299" y="400"/>
                        <a:pt x="299" y="400"/>
                        <a:pt x="303" y="404"/>
                      </a:cubicBezTo>
                      <a:cubicBezTo>
                        <a:pt x="303" y="404"/>
                        <a:pt x="303" y="404"/>
                        <a:pt x="309" y="402"/>
                      </a:cubicBezTo>
                      <a:cubicBezTo>
                        <a:pt x="309" y="402"/>
                        <a:pt x="309" y="402"/>
                        <a:pt x="314" y="404"/>
                      </a:cubicBezTo>
                      <a:cubicBezTo>
                        <a:pt x="314" y="404"/>
                        <a:pt x="314" y="404"/>
                        <a:pt x="319" y="401"/>
                      </a:cubicBezTo>
                      <a:cubicBezTo>
                        <a:pt x="319" y="401"/>
                        <a:pt x="319" y="401"/>
                        <a:pt x="321" y="404"/>
                      </a:cubicBezTo>
                      <a:cubicBezTo>
                        <a:pt x="321" y="404"/>
                        <a:pt x="321" y="404"/>
                        <a:pt x="318" y="408"/>
                      </a:cubicBezTo>
                      <a:cubicBezTo>
                        <a:pt x="318" y="408"/>
                        <a:pt x="318" y="408"/>
                        <a:pt x="324" y="407"/>
                      </a:cubicBezTo>
                      <a:cubicBezTo>
                        <a:pt x="324" y="407"/>
                        <a:pt x="324" y="407"/>
                        <a:pt x="326" y="408"/>
                      </a:cubicBezTo>
                      <a:cubicBezTo>
                        <a:pt x="326" y="408"/>
                        <a:pt x="326" y="408"/>
                        <a:pt x="324" y="425"/>
                      </a:cubicBezTo>
                      <a:cubicBezTo>
                        <a:pt x="324" y="425"/>
                        <a:pt x="324" y="425"/>
                        <a:pt x="324" y="432"/>
                      </a:cubicBezTo>
                      <a:cubicBezTo>
                        <a:pt x="324" y="432"/>
                        <a:pt x="324" y="432"/>
                        <a:pt x="328" y="433"/>
                      </a:cubicBezTo>
                      <a:cubicBezTo>
                        <a:pt x="328" y="433"/>
                        <a:pt x="328" y="433"/>
                        <a:pt x="330" y="431"/>
                      </a:cubicBezTo>
                      <a:cubicBezTo>
                        <a:pt x="330" y="431"/>
                        <a:pt x="330" y="431"/>
                        <a:pt x="331" y="428"/>
                      </a:cubicBezTo>
                      <a:cubicBezTo>
                        <a:pt x="331" y="428"/>
                        <a:pt x="331" y="428"/>
                        <a:pt x="334" y="429"/>
                      </a:cubicBezTo>
                      <a:cubicBezTo>
                        <a:pt x="334" y="429"/>
                        <a:pt x="334" y="429"/>
                        <a:pt x="336" y="433"/>
                      </a:cubicBezTo>
                      <a:cubicBezTo>
                        <a:pt x="336" y="433"/>
                        <a:pt x="336" y="433"/>
                        <a:pt x="336" y="443"/>
                      </a:cubicBezTo>
                      <a:cubicBezTo>
                        <a:pt x="336" y="443"/>
                        <a:pt x="336" y="443"/>
                        <a:pt x="335" y="448"/>
                      </a:cubicBezTo>
                      <a:cubicBezTo>
                        <a:pt x="335" y="448"/>
                        <a:pt x="335" y="448"/>
                        <a:pt x="339" y="450"/>
                      </a:cubicBezTo>
                      <a:cubicBezTo>
                        <a:pt x="339" y="450"/>
                        <a:pt x="339" y="450"/>
                        <a:pt x="344" y="450"/>
                      </a:cubicBezTo>
                      <a:cubicBezTo>
                        <a:pt x="344" y="450"/>
                        <a:pt x="344" y="450"/>
                        <a:pt x="348" y="452"/>
                      </a:cubicBezTo>
                      <a:cubicBezTo>
                        <a:pt x="348" y="452"/>
                        <a:pt x="348" y="452"/>
                        <a:pt x="353" y="456"/>
                      </a:cubicBezTo>
                      <a:cubicBezTo>
                        <a:pt x="353" y="456"/>
                        <a:pt x="353" y="456"/>
                        <a:pt x="357" y="457"/>
                      </a:cubicBezTo>
                      <a:cubicBezTo>
                        <a:pt x="357" y="457"/>
                        <a:pt x="357" y="457"/>
                        <a:pt x="356" y="467"/>
                      </a:cubicBezTo>
                      <a:cubicBezTo>
                        <a:pt x="356" y="467"/>
                        <a:pt x="356" y="467"/>
                        <a:pt x="356" y="472"/>
                      </a:cubicBezTo>
                      <a:cubicBezTo>
                        <a:pt x="356" y="472"/>
                        <a:pt x="356" y="472"/>
                        <a:pt x="352" y="473"/>
                      </a:cubicBezTo>
                      <a:cubicBezTo>
                        <a:pt x="352" y="473"/>
                        <a:pt x="352" y="473"/>
                        <a:pt x="354" y="478"/>
                      </a:cubicBezTo>
                      <a:cubicBezTo>
                        <a:pt x="354" y="478"/>
                        <a:pt x="354" y="478"/>
                        <a:pt x="351" y="482"/>
                      </a:cubicBezTo>
                      <a:cubicBezTo>
                        <a:pt x="351" y="482"/>
                        <a:pt x="351" y="482"/>
                        <a:pt x="353" y="483"/>
                      </a:cubicBezTo>
                      <a:cubicBezTo>
                        <a:pt x="353" y="483"/>
                        <a:pt x="353" y="483"/>
                        <a:pt x="356" y="482"/>
                      </a:cubicBezTo>
                      <a:cubicBezTo>
                        <a:pt x="356" y="482"/>
                        <a:pt x="356" y="482"/>
                        <a:pt x="361" y="485"/>
                      </a:cubicBezTo>
                      <a:cubicBezTo>
                        <a:pt x="361" y="485"/>
                        <a:pt x="361" y="485"/>
                        <a:pt x="364" y="483"/>
                      </a:cubicBezTo>
                      <a:cubicBezTo>
                        <a:pt x="364" y="483"/>
                        <a:pt x="364" y="483"/>
                        <a:pt x="369" y="485"/>
                      </a:cubicBezTo>
                      <a:cubicBezTo>
                        <a:pt x="369" y="485"/>
                        <a:pt x="369" y="485"/>
                        <a:pt x="372" y="485"/>
                      </a:cubicBezTo>
                      <a:cubicBezTo>
                        <a:pt x="372" y="485"/>
                        <a:pt x="372" y="485"/>
                        <a:pt x="377" y="489"/>
                      </a:cubicBezTo>
                      <a:cubicBezTo>
                        <a:pt x="377" y="489"/>
                        <a:pt x="377" y="489"/>
                        <a:pt x="381" y="492"/>
                      </a:cubicBezTo>
                      <a:cubicBezTo>
                        <a:pt x="381" y="492"/>
                        <a:pt x="381" y="492"/>
                        <a:pt x="383" y="496"/>
                      </a:cubicBezTo>
                      <a:cubicBezTo>
                        <a:pt x="383" y="496"/>
                        <a:pt x="383" y="496"/>
                        <a:pt x="385" y="499"/>
                      </a:cubicBezTo>
                      <a:cubicBezTo>
                        <a:pt x="385" y="499"/>
                        <a:pt x="385" y="499"/>
                        <a:pt x="390" y="496"/>
                      </a:cubicBezTo>
                      <a:cubicBezTo>
                        <a:pt x="390" y="496"/>
                        <a:pt x="390" y="496"/>
                        <a:pt x="394" y="494"/>
                      </a:cubicBezTo>
                      <a:cubicBezTo>
                        <a:pt x="394" y="494"/>
                        <a:pt x="394" y="494"/>
                        <a:pt x="398" y="496"/>
                      </a:cubicBezTo>
                      <a:cubicBezTo>
                        <a:pt x="398" y="496"/>
                        <a:pt x="398" y="496"/>
                        <a:pt x="399" y="501"/>
                      </a:cubicBezTo>
                      <a:cubicBezTo>
                        <a:pt x="399" y="501"/>
                        <a:pt x="399" y="501"/>
                        <a:pt x="395" y="505"/>
                      </a:cubicBezTo>
                      <a:cubicBezTo>
                        <a:pt x="395" y="505"/>
                        <a:pt x="395" y="505"/>
                        <a:pt x="395" y="509"/>
                      </a:cubicBezTo>
                      <a:cubicBezTo>
                        <a:pt x="395" y="509"/>
                        <a:pt x="395" y="509"/>
                        <a:pt x="392" y="513"/>
                      </a:cubicBezTo>
                      <a:cubicBezTo>
                        <a:pt x="392" y="513"/>
                        <a:pt x="392" y="513"/>
                        <a:pt x="392" y="516"/>
                      </a:cubicBezTo>
                      <a:cubicBezTo>
                        <a:pt x="392" y="516"/>
                        <a:pt x="392" y="516"/>
                        <a:pt x="386" y="519"/>
                      </a:cubicBezTo>
                      <a:cubicBezTo>
                        <a:pt x="386" y="519"/>
                        <a:pt x="386" y="519"/>
                        <a:pt x="384" y="528"/>
                      </a:cubicBezTo>
                      <a:cubicBezTo>
                        <a:pt x="384" y="528"/>
                        <a:pt x="384" y="528"/>
                        <a:pt x="379" y="531"/>
                      </a:cubicBezTo>
                      <a:cubicBezTo>
                        <a:pt x="379" y="531"/>
                        <a:pt x="379" y="531"/>
                        <a:pt x="376" y="535"/>
                      </a:cubicBezTo>
                      <a:cubicBezTo>
                        <a:pt x="376" y="535"/>
                        <a:pt x="376" y="535"/>
                        <a:pt x="376" y="542"/>
                      </a:cubicBezTo>
                      <a:cubicBezTo>
                        <a:pt x="432" y="535"/>
                        <a:pt x="432" y="535"/>
                        <a:pt x="432" y="535"/>
                      </a:cubicBezTo>
                      <a:cubicBezTo>
                        <a:pt x="453" y="535"/>
                        <a:pt x="453" y="535"/>
                        <a:pt x="453" y="535"/>
                      </a:cubicBezTo>
                      <a:cubicBezTo>
                        <a:pt x="453" y="492"/>
                        <a:pt x="453" y="492"/>
                        <a:pt x="453" y="492"/>
                      </a:cubicBezTo>
                      <a:cubicBezTo>
                        <a:pt x="442" y="481"/>
                        <a:pt x="442" y="481"/>
                        <a:pt x="442" y="481"/>
                      </a:cubicBezTo>
                      <a:cubicBezTo>
                        <a:pt x="442" y="470"/>
                        <a:pt x="442" y="470"/>
                        <a:pt x="442" y="470"/>
                      </a:cubicBezTo>
                      <a:cubicBezTo>
                        <a:pt x="486" y="470"/>
                        <a:pt x="486" y="470"/>
                        <a:pt x="486" y="470"/>
                      </a:cubicBezTo>
                      <a:cubicBezTo>
                        <a:pt x="496" y="460"/>
                        <a:pt x="496" y="460"/>
                        <a:pt x="496" y="460"/>
                      </a:cubicBezTo>
                      <a:cubicBezTo>
                        <a:pt x="496" y="417"/>
                        <a:pt x="496" y="417"/>
                        <a:pt x="496" y="417"/>
                      </a:cubicBezTo>
                      <a:lnTo>
                        <a:pt x="486" y="40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15" name="Freeform 342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9BFCB032-E413-5E7E-62DA-A06260C7818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268" y="1436"/>
                  <a:ext cx="121" cy="122"/>
                </a:xfrm>
                <a:custGeom>
                  <a:avLst/>
                  <a:gdLst/>
                  <a:ahLst/>
                  <a:cxnLst>
                    <a:cxn ang="0">
                      <a:pos x="6" y="75"/>
                    </a:cxn>
                    <a:cxn ang="0">
                      <a:pos x="0" y="72"/>
                    </a:cxn>
                    <a:cxn ang="0">
                      <a:pos x="227" y="122"/>
                    </a:cxn>
                    <a:cxn ang="0">
                      <a:pos x="218" y="127"/>
                    </a:cxn>
                    <a:cxn ang="0">
                      <a:pos x="214" y="120"/>
                    </a:cxn>
                    <a:cxn ang="0">
                      <a:pos x="206" y="113"/>
                    </a:cxn>
                    <a:cxn ang="0">
                      <a:pos x="197" y="111"/>
                    </a:cxn>
                    <a:cxn ang="0">
                      <a:pos x="190" y="110"/>
                    </a:cxn>
                    <a:cxn ang="0">
                      <a:pos x="185" y="110"/>
                    </a:cxn>
                    <a:cxn ang="0">
                      <a:pos x="185" y="101"/>
                    </a:cxn>
                    <a:cxn ang="0">
                      <a:pos x="189" y="95"/>
                    </a:cxn>
                    <a:cxn ang="0">
                      <a:pos x="187" y="84"/>
                    </a:cxn>
                    <a:cxn ang="0">
                      <a:pos x="177" y="78"/>
                    </a:cxn>
                    <a:cxn ang="0">
                      <a:pos x="169" y="76"/>
                    </a:cxn>
                    <a:cxn ang="0">
                      <a:pos x="170" y="61"/>
                    </a:cxn>
                    <a:cxn ang="0">
                      <a:pos x="165" y="56"/>
                    </a:cxn>
                    <a:cxn ang="0">
                      <a:pos x="161" y="61"/>
                    </a:cxn>
                    <a:cxn ang="0">
                      <a:pos x="157" y="53"/>
                    </a:cxn>
                    <a:cxn ang="0">
                      <a:pos x="158" y="35"/>
                    </a:cxn>
                    <a:cxn ang="0">
                      <a:pos x="154" y="32"/>
                    </a:cxn>
                    <a:cxn ang="0">
                      <a:pos x="147" y="32"/>
                    </a:cxn>
                    <a:cxn ang="0">
                      <a:pos x="137" y="32"/>
                    </a:cxn>
                    <a:cxn ang="0">
                      <a:pos x="126" y="27"/>
                    </a:cxn>
                    <a:cxn ang="0">
                      <a:pos x="131" y="20"/>
                    </a:cxn>
                    <a:cxn ang="0">
                      <a:pos x="130" y="12"/>
                    </a:cxn>
                    <a:cxn ang="0">
                      <a:pos x="122" y="0"/>
                    </a:cxn>
                    <a:cxn ang="0">
                      <a:pos x="115" y="6"/>
                    </a:cxn>
                    <a:cxn ang="0">
                      <a:pos x="104" y="13"/>
                    </a:cxn>
                    <a:cxn ang="0">
                      <a:pos x="96" y="15"/>
                    </a:cxn>
                    <a:cxn ang="0">
                      <a:pos x="89" y="13"/>
                    </a:cxn>
                    <a:cxn ang="0">
                      <a:pos x="91" y="22"/>
                    </a:cxn>
                    <a:cxn ang="0">
                      <a:pos x="101" y="27"/>
                    </a:cxn>
                    <a:cxn ang="0">
                      <a:pos x="97" y="33"/>
                    </a:cxn>
                    <a:cxn ang="0">
                      <a:pos x="100" y="40"/>
                    </a:cxn>
                    <a:cxn ang="0">
                      <a:pos x="99" y="46"/>
                    </a:cxn>
                    <a:cxn ang="0">
                      <a:pos x="92" y="49"/>
                    </a:cxn>
                    <a:cxn ang="0">
                      <a:pos x="88" y="45"/>
                    </a:cxn>
                    <a:cxn ang="0">
                      <a:pos x="70" y="59"/>
                    </a:cxn>
                    <a:cxn ang="0">
                      <a:pos x="73" y="71"/>
                    </a:cxn>
                    <a:cxn ang="0">
                      <a:pos x="45" y="74"/>
                    </a:cxn>
                    <a:cxn ang="0">
                      <a:pos x="14" y="72"/>
                    </a:cxn>
                    <a:cxn ang="0">
                      <a:pos x="6" y="75"/>
                    </a:cxn>
                    <a:cxn ang="0">
                      <a:pos x="6" y="141"/>
                    </a:cxn>
                    <a:cxn ang="0">
                      <a:pos x="14" y="155"/>
                    </a:cxn>
                    <a:cxn ang="0">
                      <a:pos x="27" y="173"/>
                    </a:cxn>
                    <a:cxn ang="0">
                      <a:pos x="50" y="175"/>
                    </a:cxn>
                    <a:cxn ang="0">
                      <a:pos x="60" y="211"/>
                    </a:cxn>
                    <a:cxn ang="0">
                      <a:pos x="60" y="237"/>
                    </a:cxn>
                    <a:cxn ang="0">
                      <a:pos x="92" y="226"/>
                    </a:cxn>
                    <a:cxn ang="0">
                      <a:pos x="138" y="205"/>
                    </a:cxn>
                    <a:cxn ang="0">
                      <a:pos x="146" y="184"/>
                    </a:cxn>
                    <a:cxn ang="0">
                      <a:pos x="189" y="173"/>
                    </a:cxn>
                    <a:cxn ang="0">
                      <a:pos x="209" y="163"/>
                    </a:cxn>
                    <a:cxn ang="0">
                      <a:pos x="217" y="156"/>
                    </a:cxn>
                    <a:cxn ang="0">
                      <a:pos x="225" y="144"/>
                    </a:cxn>
                    <a:cxn ang="0">
                      <a:pos x="228" y="137"/>
                    </a:cxn>
                    <a:cxn ang="0">
                      <a:pos x="232" y="129"/>
                    </a:cxn>
                  </a:cxnLst>
                  <a:rect l="0" t="0" r="r" b="b"/>
                  <a:pathLst>
                    <a:path w="232" h="237">
                      <a:moveTo>
                        <a:pt x="0" y="72"/>
                      </a:moveTo>
                      <a:cubicBezTo>
                        <a:pt x="1" y="72"/>
                        <a:pt x="2" y="73"/>
                        <a:pt x="6" y="75"/>
                      </a:cubicBezTo>
                      <a:cubicBezTo>
                        <a:pt x="6" y="66"/>
                        <a:pt x="6" y="66"/>
                        <a:pt x="6" y="66"/>
                      </a:cubicBezTo>
                      <a:lnTo>
                        <a:pt x="0" y="72"/>
                      </a:lnTo>
                      <a:close/>
                      <a:moveTo>
                        <a:pt x="231" y="124"/>
                      </a:moveTo>
                      <a:cubicBezTo>
                        <a:pt x="227" y="122"/>
                        <a:pt x="227" y="122"/>
                        <a:pt x="227" y="122"/>
                      </a:cubicBezTo>
                      <a:cubicBezTo>
                        <a:pt x="223" y="124"/>
                        <a:pt x="223" y="124"/>
                        <a:pt x="223" y="124"/>
                      </a:cubicBezTo>
                      <a:cubicBezTo>
                        <a:pt x="218" y="127"/>
                        <a:pt x="218" y="127"/>
                        <a:pt x="218" y="127"/>
                      </a:cubicBezTo>
                      <a:cubicBezTo>
                        <a:pt x="216" y="124"/>
                        <a:pt x="216" y="124"/>
                        <a:pt x="216" y="124"/>
                      </a:cubicBezTo>
                      <a:cubicBezTo>
                        <a:pt x="214" y="120"/>
                        <a:pt x="214" y="120"/>
                        <a:pt x="214" y="120"/>
                      </a:cubicBezTo>
                      <a:cubicBezTo>
                        <a:pt x="210" y="117"/>
                        <a:pt x="210" y="117"/>
                        <a:pt x="210" y="117"/>
                      </a:cubicBezTo>
                      <a:cubicBezTo>
                        <a:pt x="206" y="113"/>
                        <a:pt x="206" y="113"/>
                        <a:pt x="206" y="113"/>
                      </a:cubicBezTo>
                      <a:cubicBezTo>
                        <a:pt x="202" y="113"/>
                        <a:pt x="202" y="113"/>
                        <a:pt x="202" y="113"/>
                      </a:cubicBezTo>
                      <a:cubicBezTo>
                        <a:pt x="197" y="111"/>
                        <a:pt x="197" y="111"/>
                        <a:pt x="197" y="111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6" y="111"/>
                        <a:pt x="186" y="111"/>
                        <a:pt x="186" y="111"/>
                      </a:cubicBezTo>
                      <a:cubicBezTo>
                        <a:pt x="185" y="110"/>
                        <a:pt x="185" y="110"/>
                        <a:pt x="185" y="110"/>
                      </a:cubicBezTo>
                      <a:cubicBezTo>
                        <a:pt x="187" y="106"/>
                        <a:pt x="187" y="106"/>
                        <a:pt x="187" y="106"/>
                      </a:cubicBezTo>
                      <a:cubicBezTo>
                        <a:pt x="185" y="101"/>
                        <a:pt x="185" y="101"/>
                        <a:pt x="185" y="101"/>
                      </a:cubicBezTo>
                      <a:cubicBezTo>
                        <a:pt x="189" y="100"/>
                        <a:pt x="189" y="100"/>
                        <a:pt x="189" y="100"/>
                      </a:cubicBezTo>
                      <a:cubicBezTo>
                        <a:pt x="189" y="95"/>
                        <a:pt x="189" y="95"/>
                        <a:pt x="189" y="95"/>
                      </a:cubicBezTo>
                      <a:cubicBezTo>
                        <a:pt x="191" y="85"/>
                        <a:pt x="191" y="85"/>
                        <a:pt x="191" y="85"/>
                      </a:cubicBezTo>
                      <a:cubicBezTo>
                        <a:pt x="187" y="84"/>
                        <a:pt x="187" y="84"/>
                        <a:pt x="187" y="84"/>
                      </a:cubicBezTo>
                      <a:cubicBezTo>
                        <a:pt x="182" y="80"/>
                        <a:pt x="182" y="80"/>
                        <a:pt x="182" y="80"/>
                      </a:cubicBezTo>
                      <a:cubicBezTo>
                        <a:pt x="177" y="78"/>
                        <a:pt x="177" y="78"/>
                        <a:pt x="177" y="78"/>
                      </a:cubicBezTo>
                      <a:cubicBezTo>
                        <a:pt x="172" y="78"/>
                        <a:pt x="172" y="78"/>
                        <a:pt x="172" y="78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69" y="71"/>
                        <a:pt x="169" y="71"/>
                        <a:pt x="169" y="71"/>
                      </a:cubicBezTo>
                      <a:cubicBezTo>
                        <a:pt x="170" y="61"/>
                        <a:pt x="170" y="61"/>
                        <a:pt x="170" y="61"/>
                      </a:cubicBezTo>
                      <a:cubicBezTo>
                        <a:pt x="167" y="57"/>
                        <a:pt x="167" y="57"/>
                        <a:pt x="167" y="57"/>
                      </a:cubicBezTo>
                      <a:cubicBezTo>
                        <a:pt x="165" y="56"/>
                        <a:pt x="165" y="56"/>
                        <a:pt x="165" y="56"/>
                      </a:cubicBezTo>
                      <a:cubicBezTo>
                        <a:pt x="163" y="59"/>
                        <a:pt x="163" y="59"/>
                        <a:pt x="163" y="59"/>
                      </a:cubicBezTo>
                      <a:cubicBezTo>
                        <a:pt x="161" y="61"/>
                        <a:pt x="161" y="61"/>
                        <a:pt x="161" y="61"/>
                      </a:cubicBezTo>
                      <a:cubicBezTo>
                        <a:pt x="158" y="60"/>
                        <a:pt x="158" y="60"/>
                        <a:pt x="158" y="60"/>
                      </a:cubicBezTo>
                      <a:cubicBezTo>
                        <a:pt x="157" y="53"/>
                        <a:pt x="157" y="53"/>
                        <a:pt x="157" y="53"/>
                      </a:cubicBezTo>
                      <a:cubicBezTo>
                        <a:pt x="159" y="36"/>
                        <a:pt x="159" y="36"/>
                        <a:pt x="159" y="36"/>
                      </a:cubicBezTo>
                      <a:cubicBezTo>
                        <a:pt x="158" y="35"/>
                        <a:pt x="158" y="35"/>
                        <a:pt x="158" y="35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cubicBezTo>
                        <a:pt x="154" y="32"/>
                        <a:pt x="154" y="32"/>
                        <a:pt x="154" y="32"/>
                      </a:cubicBezTo>
                      <a:cubicBezTo>
                        <a:pt x="152" y="29"/>
                        <a:pt x="152" y="29"/>
                        <a:pt x="152" y="29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2" y="30"/>
                        <a:pt x="142" y="30"/>
                        <a:pt x="142" y="30"/>
                      </a:cubicBezTo>
                      <a:cubicBezTo>
                        <a:pt x="137" y="32"/>
                        <a:pt x="137" y="32"/>
                        <a:pt x="137" y="32"/>
                      </a:cubicBezTo>
                      <a:cubicBezTo>
                        <a:pt x="132" y="28"/>
                        <a:pt x="132" y="28"/>
                        <a:pt x="132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5" y="24"/>
                        <a:pt x="125" y="24"/>
                        <a:pt x="125" y="24"/>
                      </a:cubicBezTo>
                      <a:cubicBezTo>
                        <a:pt x="131" y="20"/>
                        <a:pt x="131" y="20"/>
                        <a:pt x="131" y="20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6" y="5"/>
                        <a:pt x="126" y="5"/>
                        <a:pt x="126" y="5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5" y="6"/>
                        <a:pt x="115" y="6"/>
                        <a:pt x="115" y="6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0" y="16"/>
                        <a:pt x="100" y="16"/>
                        <a:pt x="100" y="16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88" y="16"/>
                        <a:pt x="88" y="16"/>
                        <a:pt x="88" y="16"/>
                      </a:cubicBezTo>
                      <a:cubicBezTo>
                        <a:pt x="91" y="22"/>
                        <a:pt x="91" y="22"/>
                        <a:pt x="91" y="22"/>
                      </a:cubicBezTo>
                      <a:cubicBezTo>
                        <a:pt x="99" y="24"/>
                        <a:pt x="99" y="24"/>
                        <a:pt x="99" y="24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97" y="30"/>
                        <a:pt x="97" y="30"/>
                        <a:pt x="97" y="30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100" y="40"/>
                        <a:pt x="100" y="40"/>
                        <a:pt x="100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9" y="46"/>
                        <a:pt x="99" y="46"/>
                        <a:pt x="99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70" y="59"/>
                        <a:pt x="70" y="59"/>
                        <a:pt x="70" y="59"/>
                      </a:cubicBezTo>
                      <a:cubicBezTo>
                        <a:pt x="72" y="65"/>
                        <a:pt x="72" y="65"/>
                        <a:pt x="72" y="65"/>
                      </a:cubicBezTo>
                      <a:cubicBezTo>
                        <a:pt x="73" y="71"/>
                        <a:pt x="73" y="71"/>
                        <a:pt x="73" y="71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8" y="76"/>
                        <a:pt x="7" y="76"/>
                        <a:pt x="6" y="75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14" y="153"/>
                        <a:pt x="14" y="153"/>
                        <a:pt x="14" y="153"/>
                      </a:cubicBezTo>
                      <a:cubicBezTo>
                        <a:pt x="14" y="154"/>
                        <a:pt x="14" y="155"/>
                        <a:pt x="14" y="155"/>
                      </a:cubicBezTo>
                      <a:cubicBezTo>
                        <a:pt x="14" y="155"/>
                        <a:pt x="15" y="155"/>
                        <a:pt x="16" y="156"/>
                      </a:cubicBez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48" y="173"/>
                        <a:pt x="48" y="173"/>
                        <a:pt x="48" y="173"/>
                      </a:cubicBezTo>
                      <a:cubicBezTo>
                        <a:pt x="48" y="173"/>
                        <a:pt x="49" y="174"/>
                        <a:pt x="50" y="175"/>
                      </a:cubicBezTo>
                      <a:cubicBezTo>
                        <a:pt x="59" y="201"/>
                        <a:pt x="59" y="201"/>
                        <a:pt x="59" y="201"/>
                      </a:cubicBezTo>
                      <a:cubicBezTo>
                        <a:pt x="59" y="205"/>
                        <a:pt x="60" y="208"/>
                        <a:pt x="60" y="211"/>
                      </a:cubicBezTo>
                      <a:cubicBezTo>
                        <a:pt x="60" y="229"/>
                        <a:pt x="60" y="229"/>
                        <a:pt x="60" y="229"/>
                      </a:cubicBezTo>
                      <a:cubicBezTo>
                        <a:pt x="60" y="237"/>
                        <a:pt x="60" y="237"/>
                        <a:pt x="60" y="237"/>
                      </a:cubicBezTo>
                      <a:cubicBezTo>
                        <a:pt x="76" y="232"/>
                        <a:pt x="76" y="232"/>
                        <a:pt x="76" y="232"/>
                      </a:cubicBezTo>
                      <a:cubicBezTo>
                        <a:pt x="92" y="226"/>
                        <a:pt x="92" y="226"/>
                        <a:pt x="92" y="226"/>
                      </a:cubicBezTo>
                      <a:cubicBezTo>
                        <a:pt x="103" y="205"/>
                        <a:pt x="103" y="205"/>
                        <a:pt x="103" y="205"/>
                      </a:cubicBezTo>
                      <a:cubicBezTo>
                        <a:pt x="138" y="205"/>
                        <a:pt x="138" y="205"/>
                        <a:pt x="138" y="205"/>
                      </a:cubicBezTo>
                      <a:cubicBezTo>
                        <a:pt x="146" y="205"/>
                        <a:pt x="146" y="205"/>
                        <a:pt x="146" y="205"/>
                      </a:cubicBezTo>
                      <a:cubicBezTo>
                        <a:pt x="146" y="184"/>
                        <a:pt x="146" y="184"/>
                        <a:pt x="146" y="184"/>
                      </a:cubicBezTo>
                      <a:cubicBezTo>
                        <a:pt x="178" y="184"/>
                        <a:pt x="178" y="184"/>
                        <a:pt x="178" y="184"/>
                      </a:cubicBezTo>
                      <a:cubicBezTo>
                        <a:pt x="189" y="173"/>
                        <a:pt x="189" y="173"/>
                        <a:pt x="189" y="173"/>
                      </a:cubicBezTo>
                      <a:cubicBezTo>
                        <a:pt x="210" y="170"/>
                        <a:pt x="210" y="170"/>
                        <a:pt x="210" y="170"/>
                      </a:cubicBezTo>
                      <a:cubicBezTo>
                        <a:pt x="209" y="163"/>
                        <a:pt x="209" y="163"/>
                        <a:pt x="209" y="163"/>
                      </a:cubicBezTo>
                      <a:cubicBezTo>
                        <a:pt x="213" y="159"/>
                        <a:pt x="213" y="159"/>
                        <a:pt x="213" y="159"/>
                      </a:cubicBezTo>
                      <a:cubicBezTo>
                        <a:pt x="217" y="156"/>
                        <a:pt x="217" y="156"/>
                        <a:pt x="217" y="156"/>
                      </a:cubicBezTo>
                      <a:cubicBezTo>
                        <a:pt x="219" y="147"/>
                        <a:pt x="219" y="147"/>
                        <a:pt x="219" y="147"/>
                      </a:cubicBezTo>
                      <a:cubicBezTo>
                        <a:pt x="225" y="144"/>
                        <a:pt x="225" y="144"/>
                        <a:pt x="225" y="144"/>
                      </a:cubicBezTo>
                      <a:cubicBezTo>
                        <a:pt x="225" y="141"/>
                        <a:pt x="225" y="141"/>
                        <a:pt x="225" y="141"/>
                      </a:cubicBezTo>
                      <a:cubicBezTo>
                        <a:pt x="228" y="137"/>
                        <a:pt x="228" y="137"/>
                        <a:pt x="228" y="137"/>
                      </a:cubicBezTo>
                      <a:cubicBezTo>
                        <a:pt x="229" y="133"/>
                        <a:pt x="229" y="133"/>
                        <a:pt x="229" y="133"/>
                      </a:cubicBezTo>
                      <a:cubicBezTo>
                        <a:pt x="232" y="129"/>
                        <a:pt x="232" y="129"/>
                        <a:pt x="232" y="129"/>
                      </a:cubicBezTo>
                      <a:cubicBezTo>
                        <a:pt x="231" y="124"/>
                        <a:pt x="231" y="124"/>
                        <a:pt x="231" y="124"/>
                      </a:cubicBez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</p:grpSp>
          <p:grpSp>
            <p:nvGrpSpPr>
              <p:cNvPr id="297" name="Gruppieren 70">
                <a:extLst>
                  <a:ext uri="{FF2B5EF4-FFF2-40B4-BE49-F238E27FC236}">
                    <a16:creationId xmlns:a16="http://schemas.microsoft.com/office/drawing/2014/main" id="{06911849-6000-8243-3B2B-4C4B11D74164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913034" y="1944270"/>
                <a:ext cx="196076" cy="202747"/>
                <a:chOff x="4318001" y="1228725"/>
                <a:chExt cx="2952746" cy="3989388"/>
              </a:xfrm>
              <a:grpFill/>
              <a:effectLst/>
            </p:grpSpPr>
            <p:sp>
              <p:nvSpPr>
                <p:cNvPr id="299" name="Freeform 45">
                  <a:extLst>
                    <a:ext uri="{FF2B5EF4-FFF2-40B4-BE49-F238E27FC236}">
                      <a16:creationId xmlns:a16="http://schemas.microsoft.com/office/drawing/2014/main" id="{0DFD5D68-6EAE-D02C-7CF2-E6B15FC522A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318001" y="4873625"/>
                  <a:ext cx="457200" cy="344488"/>
                </a:xfrm>
                <a:custGeom>
                  <a:avLst/>
                  <a:gdLst>
                    <a:gd name="T0" fmla="*/ 260 w 288"/>
                    <a:gd name="T1" fmla="*/ 164 h 217"/>
                    <a:gd name="T2" fmla="*/ 279 w 288"/>
                    <a:gd name="T3" fmla="*/ 148 h 217"/>
                    <a:gd name="T4" fmla="*/ 282 w 288"/>
                    <a:gd name="T5" fmla="*/ 137 h 217"/>
                    <a:gd name="T6" fmla="*/ 288 w 288"/>
                    <a:gd name="T7" fmla="*/ 127 h 217"/>
                    <a:gd name="T8" fmla="*/ 288 w 288"/>
                    <a:gd name="T9" fmla="*/ 116 h 217"/>
                    <a:gd name="T10" fmla="*/ 264 w 288"/>
                    <a:gd name="T11" fmla="*/ 108 h 217"/>
                    <a:gd name="T12" fmla="*/ 260 w 288"/>
                    <a:gd name="T13" fmla="*/ 95 h 217"/>
                    <a:gd name="T14" fmla="*/ 245 w 288"/>
                    <a:gd name="T15" fmla="*/ 82 h 217"/>
                    <a:gd name="T16" fmla="*/ 260 w 288"/>
                    <a:gd name="T17" fmla="*/ 67 h 217"/>
                    <a:gd name="T18" fmla="*/ 258 w 288"/>
                    <a:gd name="T19" fmla="*/ 50 h 217"/>
                    <a:gd name="T20" fmla="*/ 252 w 288"/>
                    <a:gd name="T21" fmla="*/ 24 h 217"/>
                    <a:gd name="T22" fmla="*/ 237 w 288"/>
                    <a:gd name="T23" fmla="*/ 27 h 217"/>
                    <a:gd name="T24" fmla="*/ 229 w 288"/>
                    <a:gd name="T25" fmla="*/ 19 h 217"/>
                    <a:gd name="T26" fmla="*/ 207 w 288"/>
                    <a:gd name="T27" fmla="*/ 14 h 217"/>
                    <a:gd name="T28" fmla="*/ 195 w 288"/>
                    <a:gd name="T29" fmla="*/ 0 h 217"/>
                    <a:gd name="T30" fmla="*/ 165 w 288"/>
                    <a:gd name="T31" fmla="*/ 0 h 217"/>
                    <a:gd name="T32" fmla="*/ 136 w 288"/>
                    <a:gd name="T33" fmla="*/ 16 h 217"/>
                    <a:gd name="T34" fmla="*/ 101 w 288"/>
                    <a:gd name="T35" fmla="*/ 34 h 217"/>
                    <a:gd name="T36" fmla="*/ 69 w 288"/>
                    <a:gd name="T37" fmla="*/ 50 h 217"/>
                    <a:gd name="T38" fmla="*/ 43 w 288"/>
                    <a:gd name="T39" fmla="*/ 39 h 217"/>
                    <a:gd name="T40" fmla="*/ 1 w 288"/>
                    <a:gd name="T41" fmla="*/ 39 h 217"/>
                    <a:gd name="T42" fmla="*/ 0 w 288"/>
                    <a:gd name="T43" fmla="*/ 67 h 217"/>
                    <a:gd name="T44" fmla="*/ 22 w 288"/>
                    <a:gd name="T45" fmla="*/ 67 h 217"/>
                    <a:gd name="T46" fmla="*/ 56 w 288"/>
                    <a:gd name="T47" fmla="*/ 98 h 217"/>
                    <a:gd name="T48" fmla="*/ 67 w 288"/>
                    <a:gd name="T49" fmla="*/ 128 h 217"/>
                    <a:gd name="T50" fmla="*/ 81 w 288"/>
                    <a:gd name="T51" fmla="*/ 148 h 217"/>
                    <a:gd name="T52" fmla="*/ 96 w 288"/>
                    <a:gd name="T53" fmla="*/ 193 h 217"/>
                    <a:gd name="T54" fmla="*/ 110 w 288"/>
                    <a:gd name="T55" fmla="*/ 193 h 217"/>
                    <a:gd name="T56" fmla="*/ 131 w 288"/>
                    <a:gd name="T57" fmla="*/ 201 h 217"/>
                    <a:gd name="T58" fmla="*/ 131 w 288"/>
                    <a:gd name="T59" fmla="*/ 175 h 217"/>
                    <a:gd name="T60" fmla="*/ 162 w 288"/>
                    <a:gd name="T61" fmla="*/ 175 h 217"/>
                    <a:gd name="T62" fmla="*/ 181 w 288"/>
                    <a:gd name="T63" fmla="*/ 185 h 217"/>
                    <a:gd name="T64" fmla="*/ 187 w 288"/>
                    <a:gd name="T65" fmla="*/ 212 h 217"/>
                    <a:gd name="T66" fmla="*/ 205 w 288"/>
                    <a:gd name="T67" fmla="*/ 201 h 217"/>
                    <a:gd name="T68" fmla="*/ 218 w 288"/>
                    <a:gd name="T69" fmla="*/ 217 h 217"/>
                    <a:gd name="T70" fmla="*/ 253 w 288"/>
                    <a:gd name="T71" fmla="*/ 217 h 217"/>
                    <a:gd name="T72" fmla="*/ 272 w 288"/>
                    <a:gd name="T73" fmla="*/ 194 h 217"/>
                    <a:gd name="T74" fmla="*/ 260 w 288"/>
                    <a:gd name="T75" fmla="*/ 181 h 217"/>
                    <a:gd name="T76" fmla="*/ 260 w 288"/>
                    <a:gd name="T77" fmla="*/ 164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88" h="217">
                      <a:moveTo>
                        <a:pt x="260" y="164"/>
                      </a:moveTo>
                      <a:lnTo>
                        <a:pt x="279" y="148"/>
                      </a:lnTo>
                      <a:lnTo>
                        <a:pt x="282" y="137"/>
                      </a:lnTo>
                      <a:lnTo>
                        <a:pt x="288" y="127"/>
                      </a:lnTo>
                      <a:lnTo>
                        <a:pt x="288" y="116"/>
                      </a:lnTo>
                      <a:lnTo>
                        <a:pt x="264" y="108"/>
                      </a:lnTo>
                      <a:lnTo>
                        <a:pt x="260" y="95"/>
                      </a:lnTo>
                      <a:lnTo>
                        <a:pt x="245" y="82"/>
                      </a:lnTo>
                      <a:lnTo>
                        <a:pt x="260" y="67"/>
                      </a:lnTo>
                      <a:lnTo>
                        <a:pt x="258" y="50"/>
                      </a:lnTo>
                      <a:lnTo>
                        <a:pt x="252" y="24"/>
                      </a:lnTo>
                      <a:lnTo>
                        <a:pt x="237" y="27"/>
                      </a:lnTo>
                      <a:lnTo>
                        <a:pt x="229" y="19"/>
                      </a:lnTo>
                      <a:lnTo>
                        <a:pt x="207" y="14"/>
                      </a:lnTo>
                      <a:lnTo>
                        <a:pt x="195" y="0"/>
                      </a:lnTo>
                      <a:lnTo>
                        <a:pt x="165" y="0"/>
                      </a:lnTo>
                      <a:lnTo>
                        <a:pt x="136" y="16"/>
                      </a:lnTo>
                      <a:lnTo>
                        <a:pt x="101" y="34"/>
                      </a:lnTo>
                      <a:lnTo>
                        <a:pt x="69" y="50"/>
                      </a:lnTo>
                      <a:lnTo>
                        <a:pt x="43" y="39"/>
                      </a:lnTo>
                      <a:lnTo>
                        <a:pt x="1" y="39"/>
                      </a:lnTo>
                      <a:lnTo>
                        <a:pt x="0" y="67"/>
                      </a:lnTo>
                      <a:lnTo>
                        <a:pt x="22" y="67"/>
                      </a:lnTo>
                      <a:lnTo>
                        <a:pt x="56" y="98"/>
                      </a:lnTo>
                      <a:lnTo>
                        <a:pt x="67" y="128"/>
                      </a:lnTo>
                      <a:lnTo>
                        <a:pt x="81" y="148"/>
                      </a:lnTo>
                      <a:lnTo>
                        <a:pt x="96" y="193"/>
                      </a:lnTo>
                      <a:lnTo>
                        <a:pt x="110" y="193"/>
                      </a:lnTo>
                      <a:lnTo>
                        <a:pt x="131" y="201"/>
                      </a:lnTo>
                      <a:lnTo>
                        <a:pt x="131" y="175"/>
                      </a:lnTo>
                      <a:lnTo>
                        <a:pt x="162" y="175"/>
                      </a:lnTo>
                      <a:lnTo>
                        <a:pt x="181" y="185"/>
                      </a:lnTo>
                      <a:lnTo>
                        <a:pt x="187" y="212"/>
                      </a:lnTo>
                      <a:lnTo>
                        <a:pt x="205" y="201"/>
                      </a:lnTo>
                      <a:lnTo>
                        <a:pt x="218" y="217"/>
                      </a:lnTo>
                      <a:lnTo>
                        <a:pt x="253" y="217"/>
                      </a:lnTo>
                      <a:lnTo>
                        <a:pt x="272" y="194"/>
                      </a:lnTo>
                      <a:lnTo>
                        <a:pt x="260" y="181"/>
                      </a:lnTo>
                      <a:lnTo>
                        <a:pt x="260" y="164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grpSp>
              <p:nvGrpSpPr>
                <p:cNvPr id="300" name="Group 210">
                  <a:extLst>
                    <a:ext uri="{FF2B5EF4-FFF2-40B4-BE49-F238E27FC236}">
                      <a16:creationId xmlns:a16="http://schemas.microsoft.com/office/drawing/2014/main" id="{15868DE0-444A-0C00-CB9B-A61D0090ACE9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5149851" y="1228725"/>
                  <a:ext cx="1317625" cy="265113"/>
                  <a:chOff x="5149851" y="1228725"/>
                  <a:chExt cx="1317625" cy="265113"/>
                </a:xfrm>
                <a:grpFill/>
              </p:grpSpPr>
              <p:sp>
                <p:nvSpPr>
                  <p:cNvPr id="309" name="Freeform 53">
                    <a:extLst>
                      <a:ext uri="{FF2B5EF4-FFF2-40B4-BE49-F238E27FC236}">
                        <a16:creationId xmlns:a16="http://schemas.microsoft.com/office/drawing/2014/main" id="{60F1B668-AF48-AA54-6C6B-618F62870F07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86376" y="1379538"/>
                    <a:ext cx="44450" cy="50800"/>
                  </a:xfrm>
                  <a:custGeom>
                    <a:avLst/>
                    <a:gdLst>
                      <a:gd name="T0" fmla="*/ 1 w 28"/>
                      <a:gd name="T1" fmla="*/ 26 h 32"/>
                      <a:gd name="T2" fmla="*/ 8 w 28"/>
                      <a:gd name="T3" fmla="*/ 32 h 32"/>
                      <a:gd name="T4" fmla="*/ 28 w 28"/>
                      <a:gd name="T5" fmla="*/ 24 h 32"/>
                      <a:gd name="T6" fmla="*/ 28 w 28"/>
                      <a:gd name="T7" fmla="*/ 0 h 32"/>
                      <a:gd name="T8" fmla="*/ 8 w 28"/>
                      <a:gd name="T9" fmla="*/ 5 h 32"/>
                      <a:gd name="T10" fmla="*/ 0 w 28"/>
                      <a:gd name="T11" fmla="*/ 13 h 32"/>
                      <a:gd name="T12" fmla="*/ 1 w 28"/>
                      <a:gd name="T13" fmla="*/ 2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2">
                        <a:moveTo>
                          <a:pt x="1" y="26"/>
                        </a:moveTo>
                        <a:lnTo>
                          <a:pt x="8" y="32"/>
                        </a:lnTo>
                        <a:lnTo>
                          <a:pt x="28" y="24"/>
                        </a:lnTo>
                        <a:lnTo>
                          <a:pt x="28" y="0"/>
                        </a:lnTo>
                        <a:lnTo>
                          <a:pt x="8" y="5"/>
                        </a:lnTo>
                        <a:lnTo>
                          <a:pt x="0" y="13"/>
                        </a:lnTo>
                        <a:lnTo>
                          <a:pt x="1" y="26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10" name="Freeform 54">
                    <a:extLst>
                      <a:ext uri="{FF2B5EF4-FFF2-40B4-BE49-F238E27FC236}">
                        <a16:creationId xmlns:a16="http://schemas.microsoft.com/office/drawing/2014/main" id="{15EF9951-EA4C-A4A1-5159-72963E561D67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59388" y="1311275"/>
                    <a:ext cx="44450" cy="14288"/>
                  </a:xfrm>
                  <a:custGeom>
                    <a:avLst/>
                    <a:gdLst>
                      <a:gd name="T0" fmla="*/ 10 w 28"/>
                      <a:gd name="T1" fmla="*/ 0 h 9"/>
                      <a:gd name="T2" fmla="*/ 0 w 28"/>
                      <a:gd name="T3" fmla="*/ 9 h 9"/>
                      <a:gd name="T4" fmla="*/ 13 w 28"/>
                      <a:gd name="T5" fmla="*/ 9 h 9"/>
                      <a:gd name="T6" fmla="*/ 28 w 28"/>
                      <a:gd name="T7" fmla="*/ 0 h 9"/>
                      <a:gd name="T8" fmla="*/ 10 w 28"/>
                      <a:gd name="T9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" h="9">
                        <a:moveTo>
                          <a:pt x="10" y="0"/>
                        </a:moveTo>
                        <a:lnTo>
                          <a:pt x="0" y="9"/>
                        </a:lnTo>
                        <a:lnTo>
                          <a:pt x="13" y="9"/>
                        </a:lnTo>
                        <a:lnTo>
                          <a:pt x="28" y="0"/>
                        </a:lnTo>
                        <a:lnTo>
                          <a:pt x="10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11" name="Freeform 55">
                    <a:extLst>
                      <a:ext uri="{FF2B5EF4-FFF2-40B4-BE49-F238E27FC236}">
                        <a16:creationId xmlns:a16="http://schemas.microsoft.com/office/drawing/2014/main" id="{4580E760-FDA2-91FF-0776-EB38BB5B8686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149851" y="1270000"/>
                    <a:ext cx="49213" cy="68263"/>
                  </a:xfrm>
                  <a:custGeom>
                    <a:avLst/>
                    <a:gdLst>
                      <a:gd name="T0" fmla="*/ 21 w 31"/>
                      <a:gd name="T1" fmla="*/ 13 h 43"/>
                      <a:gd name="T2" fmla="*/ 17 w 31"/>
                      <a:gd name="T3" fmla="*/ 0 h 43"/>
                      <a:gd name="T4" fmla="*/ 0 w 31"/>
                      <a:gd name="T5" fmla="*/ 19 h 43"/>
                      <a:gd name="T6" fmla="*/ 10 w 31"/>
                      <a:gd name="T7" fmla="*/ 27 h 43"/>
                      <a:gd name="T8" fmla="*/ 21 w 31"/>
                      <a:gd name="T9" fmla="*/ 43 h 43"/>
                      <a:gd name="T10" fmla="*/ 31 w 31"/>
                      <a:gd name="T11" fmla="*/ 43 h 43"/>
                      <a:gd name="T12" fmla="*/ 25 w 31"/>
                      <a:gd name="T13" fmla="*/ 26 h 43"/>
                      <a:gd name="T14" fmla="*/ 21 w 31"/>
                      <a:gd name="T15" fmla="*/ 1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3">
                        <a:moveTo>
                          <a:pt x="21" y="13"/>
                        </a:moveTo>
                        <a:lnTo>
                          <a:pt x="17" y="0"/>
                        </a:lnTo>
                        <a:lnTo>
                          <a:pt x="0" y="19"/>
                        </a:lnTo>
                        <a:lnTo>
                          <a:pt x="10" y="27"/>
                        </a:lnTo>
                        <a:lnTo>
                          <a:pt x="21" y="43"/>
                        </a:lnTo>
                        <a:lnTo>
                          <a:pt x="31" y="43"/>
                        </a:lnTo>
                        <a:lnTo>
                          <a:pt x="25" y="26"/>
                        </a:lnTo>
                        <a:lnTo>
                          <a:pt x="21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12" name="Freeform 56">
                    <a:extLst>
                      <a:ext uri="{FF2B5EF4-FFF2-40B4-BE49-F238E27FC236}">
                        <a16:creationId xmlns:a16="http://schemas.microsoft.com/office/drawing/2014/main" id="{0CCFB8F3-7034-6D66-4D5D-CDF298D8A0C6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03826" y="1228725"/>
                    <a:ext cx="82550" cy="58738"/>
                  </a:xfrm>
                  <a:custGeom>
                    <a:avLst/>
                    <a:gdLst>
                      <a:gd name="T0" fmla="*/ 52 w 52"/>
                      <a:gd name="T1" fmla="*/ 8 h 37"/>
                      <a:gd name="T2" fmla="*/ 39 w 52"/>
                      <a:gd name="T3" fmla="*/ 0 h 37"/>
                      <a:gd name="T4" fmla="*/ 10 w 52"/>
                      <a:gd name="T5" fmla="*/ 0 h 37"/>
                      <a:gd name="T6" fmla="*/ 0 w 52"/>
                      <a:gd name="T7" fmla="*/ 10 h 37"/>
                      <a:gd name="T8" fmla="*/ 0 w 52"/>
                      <a:gd name="T9" fmla="*/ 21 h 37"/>
                      <a:gd name="T10" fmla="*/ 16 w 52"/>
                      <a:gd name="T11" fmla="*/ 37 h 37"/>
                      <a:gd name="T12" fmla="*/ 48 w 52"/>
                      <a:gd name="T13" fmla="*/ 34 h 37"/>
                      <a:gd name="T14" fmla="*/ 52 w 52"/>
                      <a:gd name="T15" fmla="*/ 8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2" h="37">
                        <a:moveTo>
                          <a:pt x="52" y="8"/>
                        </a:moveTo>
                        <a:lnTo>
                          <a:pt x="39" y="0"/>
                        </a:lnTo>
                        <a:lnTo>
                          <a:pt x="10" y="0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16" y="37"/>
                        </a:lnTo>
                        <a:lnTo>
                          <a:pt x="48" y="34"/>
                        </a:lnTo>
                        <a:lnTo>
                          <a:pt x="52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13" name="Freeform 57">
                    <a:extLst>
                      <a:ext uri="{FF2B5EF4-FFF2-40B4-BE49-F238E27FC236}">
                        <a16:creationId xmlns:a16="http://schemas.microsoft.com/office/drawing/2014/main" id="{EAC2542D-F3DC-7646-6CC9-16D078FA9F61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6340476" y="1395413"/>
                    <a:ext cx="127000" cy="98425"/>
                  </a:xfrm>
                  <a:custGeom>
                    <a:avLst/>
                    <a:gdLst>
                      <a:gd name="T0" fmla="*/ 74 w 80"/>
                      <a:gd name="T1" fmla="*/ 42 h 62"/>
                      <a:gd name="T2" fmla="*/ 64 w 80"/>
                      <a:gd name="T3" fmla="*/ 16 h 62"/>
                      <a:gd name="T4" fmla="*/ 34 w 80"/>
                      <a:gd name="T5" fmla="*/ 3 h 62"/>
                      <a:gd name="T6" fmla="*/ 11 w 80"/>
                      <a:gd name="T7" fmla="*/ 0 h 62"/>
                      <a:gd name="T8" fmla="*/ 0 w 80"/>
                      <a:gd name="T9" fmla="*/ 17 h 62"/>
                      <a:gd name="T10" fmla="*/ 0 w 80"/>
                      <a:gd name="T11" fmla="*/ 42 h 62"/>
                      <a:gd name="T12" fmla="*/ 19 w 80"/>
                      <a:gd name="T13" fmla="*/ 42 h 62"/>
                      <a:gd name="T14" fmla="*/ 23 w 80"/>
                      <a:gd name="T15" fmla="*/ 53 h 62"/>
                      <a:gd name="T16" fmla="*/ 32 w 80"/>
                      <a:gd name="T17" fmla="*/ 62 h 62"/>
                      <a:gd name="T18" fmla="*/ 47 w 80"/>
                      <a:gd name="T19" fmla="*/ 59 h 62"/>
                      <a:gd name="T20" fmla="*/ 58 w 80"/>
                      <a:gd name="T21" fmla="*/ 56 h 62"/>
                      <a:gd name="T22" fmla="*/ 80 w 80"/>
                      <a:gd name="T23" fmla="*/ 62 h 62"/>
                      <a:gd name="T24" fmla="*/ 74 w 80"/>
                      <a:gd name="T25" fmla="*/ 42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0" h="62">
                        <a:moveTo>
                          <a:pt x="74" y="42"/>
                        </a:moveTo>
                        <a:lnTo>
                          <a:pt x="64" y="16"/>
                        </a:lnTo>
                        <a:lnTo>
                          <a:pt x="34" y="3"/>
                        </a:lnTo>
                        <a:lnTo>
                          <a:pt x="11" y="0"/>
                        </a:lnTo>
                        <a:lnTo>
                          <a:pt x="0" y="17"/>
                        </a:lnTo>
                        <a:lnTo>
                          <a:pt x="0" y="42"/>
                        </a:lnTo>
                        <a:lnTo>
                          <a:pt x="19" y="42"/>
                        </a:lnTo>
                        <a:lnTo>
                          <a:pt x="23" y="53"/>
                        </a:lnTo>
                        <a:lnTo>
                          <a:pt x="32" y="62"/>
                        </a:lnTo>
                        <a:lnTo>
                          <a:pt x="47" y="59"/>
                        </a:lnTo>
                        <a:lnTo>
                          <a:pt x="58" y="56"/>
                        </a:lnTo>
                        <a:lnTo>
                          <a:pt x="80" y="62"/>
                        </a:lnTo>
                        <a:lnTo>
                          <a:pt x="74" y="42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grpSp>
              <p:nvGrpSpPr>
                <p:cNvPr id="301" name="Group 212">
                  <a:extLst>
                    <a:ext uri="{FF2B5EF4-FFF2-40B4-BE49-F238E27FC236}">
                      <a16:creationId xmlns:a16="http://schemas.microsoft.com/office/drawing/2014/main" id="{E3143AD1-B7B2-34EF-D54B-CA382C22196B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4446588" y="1955800"/>
                  <a:ext cx="504826" cy="157163"/>
                  <a:chOff x="4446588" y="1955800"/>
                  <a:chExt cx="504826" cy="157163"/>
                </a:xfrm>
                <a:grpFill/>
              </p:grpSpPr>
              <p:sp>
                <p:nvSpPr>
                  <p:cNvPr id="303" name="Freeform 60">
                    <a:extLst>
                      <a:ext uri="{FF2B5EF4-FFF2-40B4-BE49-F238E27FC236}">
                        <a16:creationId xmlns:a16="http://schemas.microsoft.com/office/drawing/2014/main" id="{5DDCAA73-85F3-7CF5-949F-4E939A6FD7AF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446588" y="2085975"/>
                    <a:ext cx="53975" cy="26988"/>
                  </a:xfrm>
                  <a:custGeom>
                    <a:avLst/>
                    <a:gdLst>
                      <a:gd name="T0" fmla="*/ 28 w 34"/>
                      <a:gd name="T1" fmla="*/ 17 h 17"/>
                      <a:gd name="T2" fmla="*/ 23 w 34"/>
                      <a:gd name="T3" fmla="*/ 8 h 17"/>
                      <a:gd name="T4" fmla="*/ 34 w 34"/>
                      <a:gd name="T5" fmla="*/ 0 h 17"/>
                      <a:gd name="T6" fmla="*/ 0 w 34"/>
                      <a:gd name="T7" fmla="*/ 0 h 17"/>
                      <a:gd name="T8" fmla="*/ 0 w 34"/>
                      <a:gd name="T9" fmla="*/ 13 h 17"/>
                      <a:gd name="T10" fmla="*/ 12 w 34"/>
                      <a:gd name="T11" fmla="*/ 17 h 17"/>
                      <a:gd name="T12" fmla="*/ 28 w 34"/>
                      <a:gd name="T13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" h="17">
                        <a:moveTo>
                          <a:pt x="28" y="17"/>
                        </a:moveTo>
                        <a:lnTo>
                          <a:pt x="23" y="8"/>
                        </a:lnTo>
                        <a:lnTo>
                          <a:pt x="34" y="0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12" y="17"/>
                        </a:lnTo>
                        <a:lnTo>
                          <a:pt x="28" y="17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04" name="Freeform 61">
                    <a:extLst>
                      <a:ext uri="{FF2B5EF4-FFF2-40B4-BE49-F238E27FC236}">
                        <a16:creationId xmlns:a16="http://schemas.microsoft.com/office/drawing/2014/main" id="{D8F3395B-B3CD-D172-8CF0-9B1D79BFE8D5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537076" y="2027238"/>
                    <a:ext cx="85725" cy="42863"/>
                  </a:xfrm>
                  <a:custGeom>
                    <a:avLst/>
                    <a:gdLst>
                      <a:gd name="T0" fmla="*/ 12 w 54"/>
                      <a:gd name="T1" fmla="*/ 13 h 27"/>
                      <a:gd name="T2" fmla="*/ 24 w 54"/>
                      <a:gd name="T3" fmla="*/ 6 h 27"/>
                      <a:gd name="T4" fmla="*/ 54 w 54"/>
                      <a:gd name="T5" fmla="*/ 0 h 27"/>
                      <a:gd name="T6" fmla="*/ 24 w 54"/>
                      <a:gd name="T7" fmla="*/ 0 h 27"/>
                      <a:gd name="T8" fmla="*/ 0 w 54"/>
                      <a:gd name="T9" fmla="*/ 8 h 27"/>
                      <a:gd name="T10" fmla="*/ 0 w 54"/>
                      <a:gd name="T11" fmla="*/ 18 h 27"/>
                      <a:gd name="T12" fmla="*/ 8 w 54"/>
                      <a:gd name="T13" fmla="*/ 27 h 27"/>
                      <a:gd name="T14" fmla="*/ 12 w 54"/>
                      <a:gd name="T15" fmla="*/ 13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4" h="27">
                        <a:moveTo>
                          <a:pt x="12" y="13"/>
                        </a:moveTo>
                        <a:lnTo>
                          <a:pt x="24" y="6"/>
                        </a:lnTo>
                        <a:lnTo>
                          <a:pt x="54" y="0"/>
                        </a:lnTo>
                        <a:lnTo>
                          <a:pt x="24" y="0"/>
                        </a:lnTo>
                        <a:lnTo>
                          <a:pt x="0" y="8"/>
                        </a:lnTo>
                        <a:lnTo>
                          <a:pt x="0" y="18"/>
                        </a:lnTo>
                        <a:lnTo>
                          <a:pt x="8" y="27"/>
                        </a:lnTo>
                        <a:lnTo>
                          <a:pt x="12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05" name="Freeform 62">
                    <a:extLst>
                      <a:ext uri="{FF2B5EF4-FFF2-40B4-BE49-F238E27FC236}">
                        <a16:creationId xmlns:a16="http://schemas.microsoft.com/office/drawing/2014/main" id="{FF96B378-166A-F0B5-EDA5-6638E09BD8BB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659313" y="1989138"/>
                    <a:ext cx="80963" cy="26988"/>
                  </a:xfrm>
                  <a:custGeom>
                    <a:avLst/>
                    <a:gdLst>
                      <a:gd name="T0" fmla="*/ 51 w 51"/>
                      <a:gd name="T1" fmla="*/ 8 h 17"/>
                      <a:gd name="T2" fmla="*/ 29 w 51"/>
                      <a:gd name="T3" fmla="*/ 0 h 17"/>
                      <a:gd name="T4" fmla="*/ 4 w 51"/>
                      <a:gd name="T5" fmla="*/ 3 h 17"/>
                      <a:gd name="T6" fmla="*/ 0 w 51"/>
                      <a:gd name="T7" fmla="*/ 17 h 17"/>
                      <a:gd name="T8" fmla="*/ 27 w 51"/>
                      <a:gd name="T9" fmla="*/ 14 h 17"/>
                      <a:gd name="T10" fmla="*/ 51 w 51"/>
                      <a:gd name="T11" fmla="*/ 8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1" h="17">
                        <a:moveTo>
                          <a:pt x="51" y="8"/>
                        </a:moveTo>
                        <a:lnTo>
                          <a:pt x="29" y="0"/>
                        </a:lnTo>
                        <a:lnTo>
                          <a:pt x="4" y="3"/>
                        </a:lnTo>
                        <a:lnTo>
                          <a:pt x="0" y="17"/>
                        </a:lnTo>
                        <a:lnTo>
                          <a:pt x="27" y="14"/>
                        </a:lnTo>
                        <a:lnTo>
                          <a:pt x="51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06" name="Freeform 63">
                    <a:extLst>
                      <a:ext uri="{FF2B5EF4-FFF2-40B4-BE49-F238E27FC236}">
                        <a16:creationId xmlns:a16="http://schemas.microsoft.com/office/drawing/2014/main" id="{6C37398E-5783-6E8E-7EB1-F32D55B7708C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883151" y="1955800"/>
                    <a:ext cx="68263" cy="22225"/>
                  </a:xfrm>
                  <a:custGeom>
                    <a:avLst/>
                    <a:gdLst>
                      <a:gd name="T0" fmla="*/ 43 w 43"/>
                      <a:gd name="T1" fmla="*/ 0 h 14"/>
                      <a:gd name="T2" fmla="*/ 6 w 43"/>
                      <a:gd name="T3" fmla="*/ 0 h 14"/>
                      <a:gd name="T4" fmla="*/ 0 w 43"/>
                      <a:gd name="T5" fmla="*/ 14 h 14"/>
                      <a:gd name="T6" fmla="*/ 21 w 43"/>
                      <a:gd name="T7" fmla="*/ 11 h 14"/>
                      <a:gd name="T8" fmla="*/ 43 w 43"/>
                      <a:gd name="T9" fmla="*/ 0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3" h="14">
                        <a:moveTo>
                          <a:pt x="43" y="0"/>
                        </a:moveTo>
                        <a:lnTo>
                          <a:pt x="6" y="0"/>
                        </a:lnTo>
                        <a:lnTo>
                          <a:pt x="0" y="14"/>
                        </a:lnTo>
                        <a:lnTo>
                          <a:pt x="21" y="11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07" name="Freeform 64">
                    <a:extLst>
                      <a:ext uri="{FF2B5EF4-FFF2-40B4-BE49-F238E27FC236}">
                        <a16:creationId xmlns:a16="http://schemas.microsoft.com/office/drawing/2014/main" id="{BA5DCDEF-64AA-AFB2-DC65-39089EE77343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60913" y="1989138"/>
                    <a:ext cx="17463" cy="9525"/>
                  </a:xfrm>
                  <a:custGeom>
                    <a:avLst/>
                    <a:gdLst>
                      <a:gd name="T0" fmla="*/ 11 w 11"/>
                      <a:gd name="T1" fmla="*/ 0 h 6"/>
                      <a:gd name="T2" fmla="*/ 0 w 11"/>
                      <a:gd name="T3" fmla="*/ 0 h 6"/>
                      <a:gd name="T4" fmla="*/ 0 w 11"/>
                      <a:gd name="T5" fmla="*/ 6 h 6"/>
                      <a:gd name="T6" fmla="*/ 11 w 11"/>
                      <a:gd name="T7" fmla="*/ 5 h 6"/>
                      <a:gd name="T8" fmla="*/ 11 w 11"/>
                      <a:gd name="T9" fmla="*/ 0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6">
                        <a:moveTo>
                          <a:pt x="11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308" name="Freeform 65">
                    <a:extLst>
                      <a:ext uri="{FF2B5EF4-FFF2-40B4-BE49-F238E27FC236}">
                        <a16:creationId xmlns:a16="http://schemas.microsoft.com/office/drawing/2014/main" id="{2628426E-3962-8D38-7667-43E2BE6CD65D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95838" y="1978025"/>
                    <a:ext cx="36513" cy="25400"/>
                  </a:xfrm>
                  <a:custGeom>
                    <a:avLst/>
                    <a:gdLst>
                      <a:gd name="T0" fmla="*/ 13 w 23"/>
                      <a:gd name="T1" fmla="*/ 13 h 16"/>
                      <a:gd name="T2" fmla="*/ 23 w 23"/>
                      <a:gd name="T3" fmla="*/ 4 h 16"/>
                      <a:gd name="T4" fmla="*/ 0 w 23"/>
                      <a:gd name="T5" fmla="*/ 0 h 16"/>
                      <a:gd name="T6" fmla="*/ 4 w 23"/>
                      <a:gd name="T7" fmla="*/ 16 h 16"/>
                      <a:gd name="T8" fmla="*/ 13 w 23"/>
                      <a:gd name="T9" fmla="*/ 13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16">
                        <a:moveTo>
                          <a:pt x="13" y="13"/>
                        </a:moveTo>
                        <a:lnTo>
                          <a:pt x="23" y="4"/>
                        </a:lnTo>
                        <a:lnTo>
                          <a:pt x="0" y="0"/>
                        </a:lnTo>
                        <a:lnTo>
                          <a:pt x="4" y="16"/>
                        </a:lnTo>
                        <a:lnTo>
                          <a:pt x="13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sp>
              <p:nvSpPr>
                <p:cNvPr id="302" name="Freeform 68">
                  <a:extLst>
                    <a:ext uri="{FF2B5EF4-FFF2-40B4-BE49-F238E27FC236}">
                      <a16:creationId xmlns:a16="http://schemas.microsoft.com/office/drawing/2014/main" id="{64E0DC02-108A-6D45-BA31-C634CDAC87C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7235824" y="1357321"/>
                  <a:ext cx="34923" cy="73024"/>
                </a:xfrm>
                <a:custGeom>
                  <a:avLst/>
                  <a:gdLst>
                    <a:gd name="T0" fmla="*/ 16 w 22"/>
                    <a:gd name="T1" fmla="*/ 6 h 46"/>
                    <a:gd name="T2" fmla="*/ 22 w 22"/>
                    <a:gd name="T3" fmla="*/ 0 h 46"/>
                    <a:gd name="T4" fmla="*/ 6 w 22"/>
                    <a:gd name="T5" fmla="*/ 0 h 46"/>
                    <a:gd name="T6" fmla="*/ 0 w 22"/>
                    <a:gd name="T7" fmla="*/ 35 h 46"/>
                    <a:gd name="T8" fmla="*/ 0 w 22"/>
                    <a:gd name="T9" fmla="*/ 46 h 46"/>
                    <a:gd name="T10" fmla="*/ 6 w 22"/>
                    <a:gd name="T11" fmla="*/ 24 h 46"/>
                    <a:gd name="T12" fmla="*/ 16 w 22"/>
                    <a:gd name="T13" fmla="*/ 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" h="46">
                      <a:moveTo>
                        <a:pt x="16" y="6"/>
                      </a:moveTo>
                      <a:lnTo>
                        <a:pt x="22" y="0"/>
                      </a:lnTo>
                      <a:lnTo>
                        <a:pt x="6" y="0"/>
                      </a:lnTo>
                      <a:lnTo>
                        <a:pt x="0" y="35"/>
                      </a:lnTo>
                      <a:lnTo>
                        <a:pt x="0" y="46"/>
                      </a:lnTo>
                      <a:lnTo>
                        <a:pt x="6" y="24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</p:grpSp>
      </p:grpSp>
      <p:sp>
        <p:nvSpPr>
          <p:cNvPr id="718" name="Rectangle 717">
            <a:extLst>
              <a:ext uri="{FF2B5EF4-FFF2-40B4-BE49-F238E27FC236}">
                <a16:creationId xmlns:a16="http://schemas.microsoft.com/office/drawing/2014/main" id="{472111FA-D319-8975-B8EA-C69135651B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01354" y="323401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7C851082-BC50-EAC3-1D4D-453F1A01721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03116" y="2348783"/>
            <a:ext cx="331005" cy="138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Rotterdam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B55032A7-B9EE-7475-1B89-2B9399821E1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955753" y="2908956"/>
            <a:ext cx="577835" cy="1454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ovorossiys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C8F7CF9C-F5DF-1C5E-5AA5-03720103FC9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586581" y="2364216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Ozink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42F87E5F-F895-A0F4-3284-103B4F3FF8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8508" y="266532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osty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4FE00505-0BDF-64E0-3794-BA2D634DD87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84703" y="228476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ulund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AD547E73-A702-8C83-5EC9-72FF1CE648A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61095" y="2957287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horgos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5" name="TextBox 724">
            <a:extLst>
              <a:ext uri="{FF2B5EF4-FFF2-40B4-BE49-F238E27FC236}">
                <a16:creationId xmlns:a16="http://schemas.microsoft.com/office/drawing/2014/main" id="{A2BC90DC-A490-9205-63F3-4F2BD0F24A9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43892" y="3359620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us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6" name="Rectangle 725">
            <a:extLst>
              <a:ext uri="{FF2B5EF4-FFF2-40B4-BE49-F238E27FC236}">
                <a16:creationId xmlns:a16="http://schemas.microsoft.com/office/drawing/2014/main" id="{D54540FD-42A6-0BE6-B4F2-E3ED622D21F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972228" y="285919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27" name="TextBox 726">
            <a:extLst>
              <a:ext uri="{FF2B5EF4-FFF2-40B4-BE49-F238E27FC236}">
                <a16:creationId xmlns:a16="http://schemas.microsoft.com/office/drawing/2014/main" id="{FD01D617-F67B-E172-1098-59705ED7B15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27879" y="3311371"/>
            <a:ext cx="651030" cy="132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Qingda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8" name="TextBox 727">
            <a:extLst>
              <a:ext uri="{FF2B5EF4-FFF2-40B4-BE49-F238E27FC236}">
                <a16:creationId xmlns:a16="http://schemas.microsoft.com/office/drawing/2014/main" id="{D6489EDF-64FD-B559-7A58-9823CBA8B62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27535" y="2240657"/>
            <a:ext cx="331005" cy="1344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mbur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29" name="TextBox 728">
            <a:extLst>
              <a:ext uri="{FF2B5EF4-FFF2-40B4-BE49-F238E27FC236}">
                <a16:creationId xmlns:a16="http://schemas.microsoft.com/office/drawing/2014/main" id="{BC5AC7A1-B40C-2A8F-CCDE-43A78EC5D4A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35659" y="2430256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ntwerp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02C60EFE-1D20-AFDC-400E-FCF92292D32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54394" y="2909161"/>
            <a:ext cx="438753" cy="153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lmaty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31" name="TextBox 730">
            <a:extLst>
              <a:ext uri="{FF2B5EF4-FFF2-40B4-BE49-F238E27FC236}">
                <a16:creationId xmlns:a16="http://schemas.microsoft.com/office/drawing/2014/main" id="{3870DCCE-3DE7-1847-854E-4F0A47E8889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89541" y="3168198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ashkent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32" name="Rectangle 731">
            <a:extLst>
              <a:ext uri="{FF2B5EF4-FFF2-40B4-BE49-F238E27FC236}">
                <a16:creationId xmlns:a16="http://schemas.microsoft.com/office/drawing/2014/main" id="{76F5749B-116D-493C-7D1A-39260FEF1B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02355" y="232034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33" name="Rectangle 732">
            <a:extLst>
              <a:ext uri="{FF2B5EF4-FFF2-40B4-BE49-F238E27FC236}">
                <a16:creationId xmlns:a16="http://schemas.microsoft.com/office/drawing/2014/main" id="{F7F344AE-2D40-9AF8-EB5B-FB4BC95C3E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502035" y="241018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34" name="TextBox 733">
            <a:extLst>
              <a:ext uri="{FF2B5EF4-FFF2-40B4-BE49-F238E27FC236}">
                <a16:creationId xmlns:a16="http://schemas.microsoft.com/office/drawing/2014/main" id="{9B77E466-FBDA-886E-8974-F8D5E375590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872414" y="2518033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unkir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DE75C8B6-DB26-2E91-432B-04B62E3E96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28025" y="205534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36" name="TextBox 735">
            <a:extLst>
              <a:ext uri="{FF2B5EF4-FFF2-40B4-BE49-F238E27FC236}">
                <a16:creationId xmlns:a16="http://schemas.microsoft.com/office/drawing/2014/main" id="{8764AE24-01CF-7784-6B84-BFD7C5F3137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48013" y="1922033"/>
            <a:ext cx="292706" cy="179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Rig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37" name="Rectangle: Rounded Corners 736">
            <a:extLst>
              <a:ext uri="{FF2B5EF4-FFF2-40B4-BE49-F238E27FC236}">
                <a16:creationId xmlns:a16="http://schemas.microsoft.com/office/drawing/2014/main" id="{A101DD6F-2937-FAF5-2934-4313FF0485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1504" y="3161184"/>
            <a:ext cx="1144327" cy="379091"/>
          </a:xfrm>
          <a:prstGeom prst="round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38" name="Freeform: Shape 737">
            <a:extLst>
              <a:ext uri="{FF2B5EF4-FFF2-40B4-BE49-F238E27FC236}">
                <a16:creationId xmlns:a16="http://schemas.microsoft.com/office/drawing/2014/main" id="{6B05960A-2876-E4D2-AD76-D818C3CFB8A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57288" y="2446421"/>
            <a:ext cx="912018" cy="769211"/>
          </a:xfrm>
          <a:custGeom>
            <a:avLst/>
            <a:gdLst>
              <a:gd name="connsiteX0" fmla="*/ 0 w 912018"/>
              <a:gd name="connsiteY0" fmla="*/ 769211 h 769211"/>
              <a:gd name="connsiteX1" fmla="*/ 61912 w 912018"/>
              <a:gd name="connsiteY1" fmla="*/ 709679 h 769211"/>
              <a:gd name="connsiteX2" fmla="*/ 152400 w 912018"/>
              <a:gd name="connsiteY2" fmla="*/ 566804 h 769211"/>
              <a:gd name="connsiteX3" fmla="*/ 285750 w 912018"/>
              <a:gd name="connsiteY3" fmla="*/ 416786 h 769211"/>
              <a:gd name="connsiteX4" fmla="*/ 381000 w 912018"/>
              <a:gd name="connsiteY4" fmla="*/ 245336 h 769211"/>
              <a:gd name="connsiteX5" fmla="*/ 490537 w 912018"/>
              <a:gd name="connsiteY5" fmla="*/ 159611 h 769211"/>
              <a:gd name="connsiteX6" fmla="*/ 602456 w 912018"/>
              <a:gd name="connsiteY6" fmla="*/ 92936 h 769211"/>
              <a:gd name="connsiteX7" fmla="*/ 795337 w 912018"/>
              <a:gd name="connsiteY7" fmla="*/ 61979 h 769211"/>
              <a:gd name="connsiteX8" fmla="*/ 788193 w 912018"/>
              <a:gd name="connsiteY8" fmla="*/ 35786 h 769211"/>
              <a:gd name="connsiteX9" fmla="*/ 840581 w 912018"/>
              <a:gd name="connsiteY9" fmla="*/ 67 h 769211"/>
              <a:gd name="connsiteX10" fmla="*/ 912018 w 912018"/>
              <a:gd name="connsiteY10" fmla="*/ 28642 h 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2018" h="769211">
                <a:moveTo>
                  <a:pt x="0" y="769211"/>
                </a:moveTo>
                <a:cubicBezTo>
                  <a:pt x="18256" y="756312"/>
                  <a:pt x="36512" y="743413"/>
                  <a:pt x="61912" y="709679"/>
                </a:cubicBezTo>
                <a:cubicBezTo>
                  <a:pt x="87312" y="675945"/>
                  <a:pt x="115094" y="615619"/>
                  <a:pt x="152400" y="566804"/>
                </a:cubicBezTo>
                <a:cubicBezTo>
                  <a:pt x="189706" y="517988"/>
                  <a:pt x="247650" y="470364"/>
                  <a:pt x="285750" y="416786"/>
                </a:cubicBezTo>
                <a:cubicBezTo>
                  <a:pt x="323850" y="363208"/>
                  <a:pt x="346869" y="288198"/>
                  <a:pt x="381000" y="245336"/>
                </a:cubicBezTo>
                <a:cubicBezTo>
                  <a:pt x="415131" y="202474"/>
                  <a:pt x="453628" y="185011"/>
                  <a:pt x="490537" y="159611"/>
                </a:cubicBezTo>
                <a:cubicBezTo>
                  <a:pt x="527446" y="134211"/>
                  <a:pt x="551656" y="109208"/>
                  <a:pt x="602456" y="92936"/>
                </a:cubicBezTo>
                <a:cubicBezTo>
                  <a:pt x="653256" y="76664"/>
                  <a:pt x="764381" y="71504"/>
                  <a:pt x="795337" y="61979"/>
                </a:cubicBezTo>
                <a:cubicBezTo>
                  <a:pt x="826293" y="52454"/>
                  <a:pt x="780652" y="46105"/>
                  <a:pt x="788193" y="35786"/>
                </a:cubicBezTo>
                <a:cubicBezTo>
                  <a:pt x="795734" y="25467"/>
                  <a:pt x="819944" y="1258"/>
                  <a:pt x="840581" y="67"/>
                </a:cubicBezTo>
                <a:cubicBezTo>
                  <a:pt x="861218" y="-1124"/>
                  <a:pt x="886618" y="13759"/>
                  <a:pt x="912018" y="28642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9" name="Freeform: Shape 738">
            <a:extLst>
              <a:ext uri="{FF2B5EF4-FFF2-40B4-BE49-F238E27FC236}">
                <a16:creationId xmlns:a16="http://schemas.microsoft.com/office/drawing/2014/main" id="{50CFDA12-DC7D-DAD9-8D76-5A684F69B5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69181" y="2002698"/>
            <a:ext cx="2078832" cy="1160546"/>
          </a:xfrm>
          <a:custGeom>
            <a:avLst/>
            <a:gdLst>
              <a:gd name="connsiteX0" fmla="*/ 0 w 2078832"/>
              <a:gd name="connsiteY0" fmla="*/ 1160546 h 1160546"/>
              <a:gd name="connsiteX1" fmla="*/ 271463 w 2078832"/>
              <a:gd name="connsiteY1" fmla="*/ 979571 h 1160546"/>
              <a:gd name="connsiteX2" fmla="*/ 531019 w 2078832"/>
              <a:gd name="connsiteY2" fmla="*/ 617621 h 1160546"/>
              <a:gd name="connsiteX3" fmla="*/ 814388 w 2078832"/>
              <a:gd name="connsiteY3" fmla="*/ 510465 h 1160546"/>
              <a:gd name="connsiteX4" fmla="*/ 883444 w 2078832"/>
              <a:gd name="connsiteY4" fmla="*/ 491415 h 1160546"/>
              <a:gd name="connsiteX5" fmla="*/ 1104900 w 2078832"/>
              <a:gd name="connsiteY5" fmla="*/ 148515 h 1160546"/>
              <a:gd name="connsiteX6" fmla="*/ 1354932 w 2078832"/>
              <a:gd name="connsiteY6" fmla="*/ 877 h 1160546"/>
              <a:gd name="connsiteX7" fmla="*/ 1500188 w 2078832"/>
              <a:gd name="connsiteY7" fmla="*/ 208046 h 1160546"/>
              <a:gd name="connsiteX8" fmla="*/ 1778794 w 2078832"/>
              <a:gd name="connsiteY8" fmla="*/ 148515 h 1160546"/>
              <a:gd name="connsiteX9" fmla="*/ 1909763 w 2078832"/>
              <a:gd name="connsiteY9" fmla="*/ 27071 h 1160546"/>
              <a:gd name="connsiteX10" fmla="*/ 2026444 w 2078832"/>
              <a:gd name="connsiteY10" fmla="*/ 24690 h 1160546"/>
              <a:gd name="connsiteX11" fmla="*/ 2078832 w 2078832"/>
              <a:gd name="connsiteY11" fmla="*/ 65171 h 1160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78832" h="1160546">
                <a:moveTo>
                  <a:pt x="0" y="1160546"/>
                </a:moveTo>
                <a:cubicBezTo>
                  <a:pt x="91480" y="1115302"/>
                  <a:pt x="182960" y="1070058"/>
                  <a:pt x="271463" y="979571"/>
                </a:cubicBezTo>
                <a:cubicBezTo>
                  <a:pt x="359966" y="889084"/>
                  <a:pt x="440532" y="695805"/>
                  <a:pt x="531019" y="617621"/>
                </a:cubicBezTo>
                <a:cubicBezTo>
                  <a:pt x="621507" y="539437"/>
                  <a:pt x="755651" y="531499"/>
                  <a:pt x="814388" y="510465"/>
                </a:cubicBezTo>
                <a:cubicBezTo>
                  <a:pt x="873125" y="489431"/>
                  <a:pt x="835025" y="551740"/>
                  <a:pt x="883444" y="491415"/>
                </a:cubicBezTo>
                <a:cubicBezTo>
                  <a:pt x="931863" y="431090"/>
                  <a:pt x="1026319" y="230271"/>
                  <a:pt x="1104900" y="148515"/>
                </a:cubicBezTo>
                <a:cubicBezTo>
                  <a:pt x="1183481" y="66759"/>
                  <a:pt x="1289051" y="-9045"/>
                  <a:pt x="1354932" y="877"/>
                </a:cubicBezTo>
                <a:cubicBezTo>
                  <a:pt x="1420813" y="10799"/>
                  <a:pt x="1429544" y="183440"/>
                  <a:pt x="1500188" y="208046"/>
                </a:cubicBezTo>
                <a:cubicBezTo>
                  <a:pt x="1570832" y="232652"/>
                  <a:pt x="1710532" y="178677"/>
                  <a:pt x="1778794" y="148515"/>
                </a:cubicBezTo>
                <a:cubicBezTo>
                  <a:pt x="1847056" y="118353"/>
                  <a:pt x="1868488" y="47708"/>
                  <a:pt x="1909763" y="27071"/>
                </a:cubicBezTo>
                <a:cubicBezTo>
                  <a:pt x="1951038" y="6433"/>
                  <a:pt x="1998266" y="18340"/>
                  <a:pt x="2026444" y="24690"/>
                </a:cubicBezTo>
                <a:cubicBezTo>
                  <a:pt x="2054622" y="31040"/>
                  <a:pt x="2066727" y="48105"/>
                  <a:pt x="2078832" y="65171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0" name="Rectangle: Rounded Corners 739">
            <a:extLst>
              <a:ext uri="{FF2B5EF4-FFF2-40B4-BE49-F238E27FC236}">
                <a16:creationId xmlns:a16="http://schemas.microsoft.com/office/drawing/2014/main" id="{4AABDA5A-81E1-D9C4-6C3A-24D5146747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287755" y="4561271"/>
            <a:ext cx="149465" cy="14169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1</a:t>
            </a:r>
          </a:p>
        </p:txBody>
      </p:sp>
      <p:sp>
        <p:nvSpPr>
          <p:cNvPr id="741" name="Rectangle: Rounded Corners 740">
            <a:extLst>
              <a:ext uri="{FF2B5EF4-FFF2-40B4-BE49-F238E27FC236}">
                <a16:creationId xmlns:a16="http://schemas.microsoft.com/office/drawing/2014/main" id="{F30CCE53-9F86-5A0D-33EA-CADF2816C3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405399" y="3363314"/>
            <a:ext cx="149465" cy="14169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2</a:t>
            </a:r>
          </a:p>
        </p:txBody>
      </p:sp>
      <p:sp>
        <p:nvSpPr>
          <p:cNvPr id="742" name="TextBox 741">
            <a:extLst>
              <a:ext uri="{FF2B5EF4-FFF2-40B4-BE49-F238E27FC236}">
                <a16:creationId xmlns:a16="http://schemas.microsoft.com/office/drawing/2014/main" id="{FB170C3A-7B6E-777F-0ED5-3A3ED68A451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495568" y="4876620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Черномор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43" name="Rectangle: Rounded Corners 742">
            <a:extLst>
              <a:ext uri="{FF2B5EF4-FFF2-40B4-BE49-F238E27FC236}">
                <a16:creationId xmlns:a16="http://schemas.microsoft.com/office/drawing/2014/main" id="{50B00BE5-7509-6486-75BD-A9BFCCF7CC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827016" y="4575486"/>
            <a:ext cx="149465" cy="141698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3</a:t>
            </a:r>
          </a:p>
        </p:txBody>
      </p:sp>
      <p:sp>
        <p:nvSpPr>
          <p:cNvPr id="744" name="Rectangle: Rounded Corners 743">
            <a:extLst>
              <a:ext uri="{FF2B5EF4-FFF2-40B4-BE49-F238E27FC236}">
                <a16:creationId xmlns:a16="http://schemas.microsoft.com/office/drawing/2014/main" id="{90624A77-81E5-0469-2737-84E432491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601211" y="3381486"/>
            <a:ext cx="1190739" cy="375159"/>
          </a:xfrm>
          <a:prstGeom prst="round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45" name="TextBox 744">
            <a:extLst>
              <a:ext uri="{FF2B5EF4-FFF2-40B4-BE49-F238E27FC236}">
                <a16:creationId xmlns:a16="http://schemas.microsoft.com/office/drawing/2014/main" id="{306041AA-6617-F5ED-B147-C716E48BB05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029612" y="4575486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Маршрут через Шёлковый путь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46" name="Rectangle: Rounded Corners 745">
            <a:extLst>
              <a:ext uri="{FF2B5EF4-FFF2-40B4-BE49-F238E27FC236}">
                <a16:creationId xmlns:a16="http://schemas.microsoft.com/office/drawing/2014/main" id="{1EAACFC7-A629-B4F5-0E0E-6D11145382F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05528" y="1991049"/>
            <a:ext cx="149465" cy="141698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4</a:t>
            </a:r>
          </a:p>
        </p:txBody>
      </p:sp>
      <p:sp>
        <p:nvSpPr>
          <p:cNvPr id="747" name="TextBox 746">
            <a:extLst>
              <a:ext uri="{FF2B5EF4-FFF2-40B4-BE49-F238E27FC236}">
                <a16:creationId xmlns:a16="http://schemas.microsoft.com/office/drawing/2014/main" id="{17F963E7-FA91-1665-82CB-B80842B212B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029612" y="4871369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Дальневосточны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48" name="Rectangle 747">
            <a:extLst>
              <a:ext uri="{FF2B5EF4-FFF2-40B4-BE49-F238E27FC236}">
                <a16:creationId xmlns:a16="http://schemas.microsoft.com/office/drawing/2014/main" id="{C94FE713-C4C4-81FE-FDF4-1FB3E01F4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39395" y="250110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49" name="TextBox 748">
            <a:extLst>
              <a:ext uri="{FF2B5EF4-FFF2-40B4-BE49-F238E27FC236}">
                <a16:creationId xmlns:a16="http://schemas.microsoft.com/office/drawing/2014/main" id="{4595C207-16BC-3DC0-2E3B-068D1E56BC0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826454" y="2440095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stana</a:t>
            </a:r>
          </a:p>
        </p:txBody>
      </p:sp>
      <p:sp>
        <p:nvSpPr>
          <p:cNvPr id="750" name="TextBox 749">
            <a:extLst>
              <a:ext uri="{FF2B5EF4-FFF2-40B4-BE49-F238E27FC236}">
                <a16:creationId xmlns:a16="http://schemas.microsoft.com/office/drawing/2014/main" id="{37C3F16B-4C05-8E2A-4C4A-F7514927929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125742" y="4470893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alcutt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1" name="TextBox 750">
            <a:extLst>
              <a:ext uri="{FF2B5EF4-FFF2-40B4-BE49-F238E27FC236}">
                <a16:creationId xmlns:a16="http://schemas.microsoft.com/office/drawing/2014/main" id="{B0764A85-0289-AF96-C2C2-E95230BDBD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374045" y="4536092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umb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8F68F058-D305-9076-17EC-CA56E85019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71281" y="4895485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henn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3" name="TextBox 752">
            <a:extLst>
              <a:ext uri="{FF2B5EF4-FFF2-40B4-BE49-F238E27FC236}">
                <a16:creationId xmlns:a16="http://schemas.microsoft.com/office/drawing/2014/main" id="{73BE9614-CC89-6BBB-2C74-4AD095957E9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874020" y="5433915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olomb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4" name="TextBox 753">
            <a:extLst>
              <a:ext uri="{FF2B5EF4-FFF2-40B4-BE49-F238E27FC236}">
                <a16:creationId xmlns:a16="http://schemas.microsoft.com/office/drawing/2014/main" id="{36B6BB4A-C3A1-C492-DFA0-8E91B932800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13887" y="5180924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ochi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5" name="TextBox 754">
            <a:extLst>
              <a:ext uri="{FF2B5EF4-FFF2-40B4-BE49-F238E27FC236}">
                <a16:creationId xmlns:a16="http://schemas.microsoft.com/office/drawing/2014/main" id="{7CC6E51C-163E-347E-0E02-17A311664F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996939" y="4846365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angko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6" name="Indonesia" descr="© INSCALE GmbH, 05.05.2010&#10;http://www.presentationload.com/">
            <a:extLst>
              <a:ext uri="{FF2B5EF4-FFF2-40B4-BE49-F238E27FC236}">
                <a16:creationId xmlns:a16="http://schemas.microsoft.com/office/drawing/2014/main" id="{4131C8AA-A767-6D7A-6837-5E9C297E0B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763577" y="5589859"/>
            <a:ext cx="2880201" cy="1114108"/>
          </a:xfrm>
          <a:custGeom>
            <a:avLst/>
            <a:gdLst>
              <a:gd name="T0" fmla="*/ 2147483647 w 3264"/>
              <a:gd name="T1" fmla="*/ 2147483647 h 1302"/>
              <a:gd name="T2" fmla="*/ 2147483647 w 3264"/>
              <a:gd name="T3" fmla="*/ 2147483647 h 1302"/>
              <a:gd name="T4" fmla="*/ 2147483647 w 3264"/>
              <a:gd name="T5" fmla="*/ 2147483647 h 1302"/>
              <a:gd name="T6" fmla="*/ 2147483647 w 3264"/>
              <a:gd name="T7" fmla="*/ 2147483647 h 1302"/>
              <a:gd name="T8" fmla="*/ 2147483647 w 3264"/>
              <a:gd name="T9" fmla="*/ 2147483647 h 1302"/>
              <a:gd name="T10" fmla="*/ 2147483647 w 3264"/>
              <a:gd name="T11" fmla="*/ 2147483647 h 1302"/>
              <a:gd name="T12" fmla="*/ 2147483647 w 3264"/>
              <a:gd name="T13" fmla="*/ 2147483647 h 1302"/>
              <a:gd name="T14" fmla="*/ 2147483647 w 3264"/>
              <a:gd name="T15" fmla="*/ 2147483647 h 1302"/>
              <a:gd name="T16" fmla="*/ 2147483647 w 3264"/>
              <a:gd name="T17" fmla="*/ 2147483647 h 1302"/>
              <a:gd name="T18" fmla="*/ 2147483647 w 3264"/>
              <a:gd name="T19" fmla="*/ 2147483647 h 1302"/>
              <a:gd name="T20" fmla="*/ 2147483647 w 3264"/>
              <a:gd name="T21" fmla="*/ 2147483647 h 1302"/>
              <a:gd name="T22" fmla="*/ 2147483647 w 3264"/>
              <a:gd name="T23" fmla="*/ 2147483647 h 1302"/>
              <a:gd name="T24" fmla="*/ 2147483647 w 3264"/>
              <a:gd name="T25" fmla="*/ 2147483647 h 1302"/>
              <a:gd name="T26" fmla="*/ 2147483647 w 3264"/>
              <a:gd name="T27" fmla="*/ 2147483647 h 1302"/>
              <a:gd name="T28" fmla="*/ 2147483647 w 3264"/>
              <a:gd name="T29" fmla="*/ 2147483647 h 1302"/>
              <a:gd name="T30" fmla="*/ 2147483647 w 3264"/>
              <a:gd name="T31" fmla="*/ 2147483647 h 1302"/>
              <a:gd name="T32" fmla="*/ 2147483647 w 3264"/>
              <a:gd name="T33" fmla="*/ 2147483647 h 1302"/>
              <a:gd name="T34" fmla="*/ 2147483647 w 3264"/>
              <a:gd name="T35" fmla="*/ 2147483647 h 1302"/>
              <a:gd name="T36" fmla="*/ 2147483647 w 3264"/>
              <a:gd name="T37" fmla="*/ 2147483647 h 1302"/>
              <a:gd name="T38" fmla="*/ 2147483647 w 3264"/>
              <a:gd name="T39" fmla="*/ 2147483647 h 1302"/>
              <a:gd name="T40" fmla="*/ 2147483647 w 3264"/>
              <a:gd name="T41" fmla="*/ 2147483647 h 1302"/>
              <a:gd name="T42" fmla="*/ 2147483647 w 3264"/>
              <a:gd name="T43" fmla="*/ 2147483647 h 1302"/>
              <a:gd name="T44" fmla="*/ 2147483647 w 3264"/>
              <a:gd name="T45" fmla="*/ 2147483647 h 1302"/>
              <a:gd name="T46" fmla="*/ 2147483647 w 3264"/>
              <a:gd name="T47" fmla="*/ 2147483647 h 1302"/>
              <a:gd name="T48" fmla="*/ 2147483647 w 3264"/>
              <a:gd name="T49" fmla="*/ 2147483647 h 1302"/>
              <a:gd name="T50" fmla="*/ 2147483647 w 3264"/>
              <a:gd name="T51" fmla="*/ 2147483647 h 1302"/>
              <a:gd name="T52" fmla="*/ 2147483647 w 3264"/>
              <a:gd name="T53" fmla="*/ 2147483647 h 1302"/>
              <a:gd name="T54" fmla="*/ 2147483647 w 3264"/>
              <a:gd name="T55" fmla="*/ 2147483647 h 1302"/>
              <a:gd name="T56" fmla="*/ 2147483647 w 3264"/>
              <a:gd name="T57" fmla="*/ 2147483647 h 1302"/>
              <a:gd name="T58" fmla="*/ 2147483647 w 3264"/>
              <a:gd name="T59" fmla="*/ 2147483647 h 1302"/>
              <a:gd name="T60" fmla="*/ 2147483647 w 3264"/>
              <a:gd name="T61" fmla="*/ 2147483647 h 1302"/>
              <a:gd name="T62" fmla="*/ 2147483647 w 3264"/>
              <a:gd name="T63" fmla="*/ 2147483647 h 1302"/>
              <a:gd name="T64" fmla="*/ 2147483647 w 3264"/>
              <a:gd name="T65" fmla="*/ 2147483647 h 1302"/>
              <a:gd name="T66" fmla="*/ 2147483647 w 3264"/>
              <a:gd name="T67" fmla="*/ 2147483647 h 1302"/>
              <a:gd name="T68" fmla="*/ 2147483647 w 3264"/>
              <a:gd name="T69" fmla="*/ 2147483647 h 1302"/>
              <a:gd name="T70" fmla="*/ 2147483647 w 3264"/>
              <a:gd name="T71" fmla="*/ 2147483647 h 1302"/>
              <a:gd name="T72" fmla="*/ 2147483647 w 3264"/>
              <a:gd name="T73" fmla="*/ 2147483647 h 1302"/>
              <a:gd name="T74" fmla="*/ 2147483647 w 3264"/>
              <a:gd name="T75" fmla="*/ 2147483647 h 1302"/>
              <a:gd name="T76" fmla="*/ 2147483647 w 3264"/>
              <a:gd name="T77" fmla="*/ 2147483647 h 1302"/>
              <a:gd name="T78" fmla="*/ 2147483647 w 3264"/>
              <a:gd name="T79" fmla="*/ 2147483647 h 1302"/>
              <a:gd name="T80" fmla="*/ 2147483647 w 3264"/>
              <a:gd name="T81" fmla="*/ 2147483647 h 1302"/>
              <a:gd name="T82" fmla="*/ 2147483647 w 3264"/>
              <a:gd name="T83" fmla="*/ 2147483647 h 1302"/>
              <a:gd name="T84" fmla="*/ 2147483647 w 3264"/>
              <a:gd name="T85" fmla="*/ 2147483647 h 1302"/>
              <a:gd name="T86" fmla="*/ 2147483647 w 3264"/>
              <a:gd name="T87" fmla="*/ 2147483647 h 1302"/>
              <a:gd name="T88" fmla="*/ 2147483647 w 3264"/>
              <a:gd name="T89" fmla="*/ 2147483647 h 1302"/>
              <a:gd name="T90" fmla="*/ 2147483647 w 3264"/>
              <a:gd name="T91" fmla="*/ 2147483647 h 1302"/>
              <a:gd name="T92" fmla="*/ 2147483647 w 3264"/>
              <a:gd name="T93" fmla="*/ 2147483647 h 1302"/>
              <a:gd name="T94" fmla="*/ 2147483647 w 3264"/>
              <a:gd name="T95" fmla="*/ 2147483647 h 1302"/>
              <a:gd name="T96" fmla="*/ 2147483647 w 3264"/>
              <a:gd name="T97" fmla="*/ 2147483647 h 1302"/>
              <a:gd name="T98" fmla="*/ 2147483647 w 3264"/>
              <a:gd name="T99" fmla="*/ 2147483647 h 1302"/>
              <a:gd name="T100" fmla="*/ 2147483647 w 3264"/>
              <a:gd name="T101" fmla="*/ 2147483647 h 1302"/>
              <a:gd name="T102" fmla="*/ 2147483647 w 3264"/>
              <a:gd name="T103" fmla="*/ 2147483647 h 1302"/>
              <a:gd name="T104" fmla="*/ 2147483647 w 3264"/>
              <a:gd name="T105" fmla="*/ 2147483647 h 1302"/>
              <a:gd name="T106" fmla="*/ 2147483647 w 3264"/>
              <a:gd name="T107" fmla="*/ 2147483647 h 1302"/>
              <a:gd name="T108" fmla="*/ 2147483647 w 3264"/>
              <a:gd name="T109" fmla="*/ 2147483647 h 1302"/>
              <a:gd name="T110" fmla="*/ 2147483647 w 3264"/>
              <a:gd name="T111" fmla="*/ 2147483647 h 1302"/>
              <a:gd name="T112" fmla="*/ 2147483647 w 3264"/>
              <a:gd name="T113" fmla="*/ 2147483647 h 1302"/>
              <a:gd name="T114" fmla="*/ 2147483647 w 3264"/>
              <a:gd name="T115" fmla="*/ 2147483647 h 1302"/>
              <a:gd name="T116" fmla="*/ 2147483647 w 3264"/>
              <a:gd name="T117" fmla="*/ 2147483647 h 1302"/>
              <a:gd name="T118" fmla="*/ 2147483647 w 3264"/>
              <a:gd name="T119" fmla="*/ 2147483647 h 1302"/>
              <a:gd name="T120" fmla="*/ 2147483647 w 3264"/>
              <a:gd name="T121" fmla="*/ 2147483647 h 1302"/>
              <a:gd name="T122" fmla="*/ 2147483647 w 3264"/>
              <a:gd name="T123" fmla="*/ 2147483647 h 1302"/>
              <a:gd name="T124" fmla="*/ 2147483647 w 3264"/>
              <a:gd name="T125" fmla="*/ 2147483647 h 13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264"/>
              <a:gd name="T190" fmla="*/ 0 h 1302"/>
              <a:gd name="T191" fmla="*/ 3264 w 3264"/>
              <a:gd name="T192" fmla="*/ 1302 h 13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264" h="1302">
                <a:moveTo>
                  <a:pt x="1788" y="984"/>
                </a:moveTo>
                <a:lnTo>
                  <a:pt x="1806" y="978"/>
                </a:lnTo>
                <a:lnTo>
                  <a:pt x="1818" y="954"/>
                </a:lnTo>
                <a:lnTo>
                  <a:pt x="1812" y="930"/>
                </a:lnTo>
                <a:lnTo>
                  <a:pt x="1788" y="984"/>
                </a:lnTo>
                <a:close/>
                <a:moveTo>
                  <a:pt x="672" y="462"/>
                </a:moveTo>
                <a:lnTo>
                  <a:pt x="702" y="480"/>
                </a:lnTo>
                <a:lnTo>
                  <a:pt x="702" y="450"/>
                </a:lnTo>
                <a:lnTo>
                  <a:pt x="672" y="426"/>
                </a:lnTo>
                <a:lnTo>
                  <a:pt x="672" y="462"/>
                </a:lnTo>
                <a:close/>
                <a:moveTo>
                  <a:pt x="678" y="492"/>
                </a:moveTo>
                <a:lnTo>
                  <a:pt x="654" y="516"/>
                </a:lnTo>
                <a:lnTo>
                  <a:pt x="678" y="546"/>
                </a:lnTo>
                <a:lnTo>
                  <a:pt x="678" y="492"/>
                </a:lnTo>
                <a:close/>
                <a:moveTo>
                  <a:pt x="906" y="714"/>
                </a:moveTo>
                <a:lnTo>
                  <a:pt x="930" y="732"/>
                </a:lnTo>
                <a:lnTo>
                  <a:pt x="936" y="708"/>
                </a:lnTo>
                <a:lnTo>
                  <a:pt x="936" y="702"/>
                </a:lnTo>
                <a:lnTo>
                  <a:pt x="930" y="696"/>
                </a:lnTo>
                <a:lnTo>
                  <a:pt x="930" y="690"/>
                </a:lnTo>
                <a:lnTo>
                  <a:pt x="912" y="672"/>
                </a:lnTo>
                <a:lnTo>
                  <a:pt x="900" y="666"/>
                </a:lnTo>
                <a:lnTo>
                  <a:pt x="888" y="666"/>
                </a:lnTo>
                <a:lnTo>
                  <a:pt x="882" y="672"/>
                </a:lnTo>
                <a:lnTo>
                  <a:pt x="876" y="684"/>
                </a:lnTo>
                <a:lnTo>
                  <a:pt x="882" y="696"/>
                </a:lnTo>
                <a:lnTo>
                  <a:pt x="882" y="708"/>
                </a:lnTo>
                <a:lnTo>
                  <a:pt x="888" y="720"/>
                </a:lnTo>
                <a:lnTo>
                  <a:pt x="906" y="714"/>
                </a:lnTo>
                <a:close/>
                <a:moveTo>
                  <a:pt x="684" y="372"/>
                </a:moveTo>
                <a:lnTo>
                  <a:pt x="672" y="360"/>
                </a:lnTo>
                <a:lnTo>
                  <a:pt x="660" y="372"/>
                </a:lnTo>
                <a:lnTo>
                  <a:pt x="672" y="396"/>
                </a:lnTo>
                <a:lnTo>
                  <a:pt x="684" y="396"/>
                </a:lnTo>
                <a:lnTo>
                  <a:pt x="684" y="372"/>
                </a:lnTo>
                <a:close/>
                <a:moveTo>
                  <a:pt x="750" y="624"/>
                </a:moveTo>
                <a:lnTo>
                  <a:pt x="750" y="630"/>
                </a:lnTo>
                <a:lnTo>
                  <a:pt x="756" y="636"/>
                </a:lnTo>
                <a:lnTo>
                  <a:pt x="756" y="648"/>
                </a:lnTo>
                <a:lnTo>
                  <a:pt x="774" y="684"/>
                </a:lnTo>
                <a:lnTo>
                  <a:pt x="786" y="690"/>
                </a:lnTo>
                <a:lnTo>
                  <a:pt x="804" y="696"/>
                </a:lnTo>
                <a:lnTo>
                  <a:pt x="816" y="702"/>
                </a:lnTo>
                <a:lnTo>
                  <a:pt x="834" y="702"/>
                </a:lnTo>
                <a:lnTo>
                  <a:pt x="828" y="660"/>
                </a:lnTo>
                <a:lnTo>
                  <a:pt x="810" y="648"/>
                </a:lnTo>
                <a:lnTo>
                  <a:pt x="810" y="618"/>
                </a:lnTo>
                <a:lnTo>
                  <a:pt x="804" y="606"/>
                </a:lnTo>
                <a:lnTo>
                  <a:pt x="792" y="600"/>
                </a:lnTo>
                <a:lnTo>
                  <a:pt x="786" y="588"/>
                </a:lnTo>
                <a:lnTo>
                  <a:pt x="768" y="582"/>
                </a:lnTo>
                <a:lnTo>
                  <a:pt x="756" y="576"/>
                </a:lnTo>
                <a:lnTo>
                  <a:pt x="732" y="576"/>
                </a:lnTo>
                <a:lnTo>
                  <a:pt x="732" y="582"/>
                </a:lnTo>
                <a:lnTo>
                  <a:pt x="726" y="588"/>
                </a:lnTo>
                <a:lnTo>
                  <a:pt x="726" y="600"/>
                </a:lnTo>
                <a:lnTo>
                  <a:pt x="714" y="600"/>
                </a:lnTo>
                <a:lnTo>
                  <a:pt x="714" y="606"/>
                </a:lnTo>
                <a:lnTo>
                  <a:pt x="708" y="612"/>
                </a:lnTo>
                <a:lnTo>
                  <a:pt x="714" y="624"/>
                </a:lnTo>
                <a:lnTo>
                  <a:pt x="750" y="624"/>
                </a:lnTo>
                <a:close/>
                <a:moveTo>
                  <a:pt x="246" y="438"/>
                </a:moveTo>
                <a:lnTo>
                  <a:pt x="222" y="462"/>
                </a:lnTo>
                <a:lnTo>
                  <a:pt x="234" y="492"/>
                </a:lnTo>
                <a:lnTo>
                  <a:pt x="234" y="498"/>
                </a:lnTo>
                <a:lnTo>
                  <a:pt x="228" y="504"/>
                </a:lnTo>
                <a:lnTo>
                  <a:pt x="228" y="510"/>
                </a:lnTo>
                <a:lnTo>
                  <a:pt x="240" y="510"/>
                </a:lnTo>
                <a:lnTo>
                  <a:pt x="246" y="504"/>
                </a:lnTo>
                <a:lnTo>
                  <a:pt x="246" y="468"/>
                </a:lnTo>
                <a:lnTo>
                  <a:pt x="252" y="456"/>
                </a:lnTo>
                <a:lnTo>
                  <a:pt x="246" y="438"/>
                </a:lnTo>
                <a:close/>
                <a:moveTo>
                  <a:pt x="264" y="534"/>
                </a:moveTo>
                <a:lnTo>
                  <a:pt x="258" y="546"/>
                </a:lnTo>
                <a:lnTo>
                  <a:pt x="258" y="588"/>
                </a:lnTo>
                <a:lnTo>
                  <a:pt x="264" y="600"/>
                </a:lnTo>
                <a:lnTo>
                  <a:pt x="276" y="612"/>
                </a:lnTo>
                <a:lnTo>
                  <a:pt x="288" y="612"/>
                </a:lnTo>
                <a:lnTo>
                  <a:pt x="294" y="606"/>
                </a:lnTo>
                <a:lnTo>
                  <a:pt x="294" y="588"/>
                </a:lnTo>
                <a:lnTo>
                  <a:pt x="288" y="576"/>
                </a:lnTo>
                <a:lnTo>
                  <a:pt x="282" y="558"/>
                </a:lnTo>
                <a:lnTo>
                  <a:pt x="282" y="546"/>
                </a:lnTo>
                <a:lnTo>
                  <a:pt x="276" y="534"/>
                </a:lnTo>
                <a:lnTo>
                  <a:pt x="264" y="534"/>
                </a:lnTo>
                <a:close/>
                <a:moveTo>
                  <a:pt x="48" y="222"/>
                </a:moveTo>
                <a:lnTo>
                  <a:pt x="42" y="228"/>
                </a:lnTo>
                <a:lnTo>
                  <a:pt x="42" y="246"/>
                </a:lnTo>
                <a:lnTo>
                  <a:pt x="48" y="258"/>
                </a:lnTo>
                <a:lnTo>
                  <a:pt x="66" y="258"/>
                </a:lnTo>
                <a:lnTo>
                  <a:pt x="84" y="276"/>
                </a:lnTo>
                <a:lnTo>
                  <a:pt x="90" y="270"/>
                </a:lnTo>
                <a:lnTo>
                  <a:pt x="90" y="252"/>
                </a:lnTo>
                <a:lnTo>
                  <a:pt x="78" y="246"/>
                </a:lnTo>
                <a:lnTo>
                  <a:pt x="72" y="234"/>
                </a:lnTo>
                <a:lnTo>
                  <a:pt x="60" y="228"/>
                </a:lnTo>
                <a:lnTo>
                  <a:pt x="54" y="222"/>
                </a:lnTo>
                <a:lnTo>
                  <a:pt x="48" y="222"/>
                </a:lnTo>
                <a:close/>
                <a:moveTo>
                  <a:pt x="162" y="330"/>
                </a:moveTo>
                <a:lnTo>
                  <a:pt x="156" y="330"/>
                </a:lnTo>
                <a:lnTo>
                  <a:pt x="144" y="342"/>
                </a:lnTo>
                <a:lnTo>
                  <a:pt x="144" y="354"/>
                </a:lnTo>
                <a:lnTo>
                  <a:pt x="156" y="366"/>
                </a:lnTo>
                <a:lnTo>
                  <a:pt x="162" y="378"/>
                </a:lnTo>
                <a:lnTo>
                  <a:pt x="174" y="390"/>
                </a:lnTo>
                <a:lnTo>
                  <a:pt x="180" y="402"/>
                </a:lnTo>
                <a:lnTo>
                  <a:pt x="192" y="414"/>
                </a:lnTo>
                <a:lnTo>
                  <a:pt x="198" y="408"/>
                </a:lnTo>
                <a:lnTo>
                  <a:pt x="198" y="402"/>
                </a:lnTo>
                <a:lnTo>
                  <a:pt x="204" y="390"/>
                </a:lnTo>
                <a:lnTo>
                  <a:pt x="204" y="384"/>
                </a:lnTo>
                <a:lnTo>
                  <a:pt x="198" y="372"/>
                </a:lnTo>
                <a:lnTo>
                  <a:pt x="198" y="366"/>
                </a:lnTo>
                <a:lnTo>
                  <a:pt x="192" y="360"/>
                </a:lnTo>
                <a:lnTo>
                  <a:pt x="186" y="348"/>
                </a:lnTo>
                <a:lnTo>
                  <a:pt x="180" y="342"/>
                </a:lnTo>
                <a:lnTo>
                  <a:pt x="168" y="336"/>
                </a:lnTo>
                <a:lnTo>
                  <a:pt x="162" y="330"/>
                </a:lnTo>
                <a:close/>
                <a:moveTo>
                  <a:pt x="2574" y="486"/>
                </a:moveTo>
                <a:lnTo>
                  <a:pt x="2574" y="474"/>
                </a:lnTo>
                <a:lnTo>
                  <a:pt x="2568" y="474"/>
                </a:lnTo>
                <a:lnTo>
                  <a:pt x="2556" y="468"/>
                </a:lnTo>
                <a:lnTo>
                  <a:pt x="2520" y="468"/>
                </a:lnTo>
                <a:lnTo>
                  <a:pt x="2514" y="474"/>
                </a:lnTo>
                <a:lnTo>
                  <a:pt x="2520" y="498"/>
                </a:lnTo>
                <a:lnTo>
                  <a:pt x="2526" y="498"/>
                </a:lnTo>
                <a:lnTo>
                  <a:pt x="2538" y="492"/>
                </a:lnTo>
                <a:lnTo>
                  <a:pt x="2562" y="492"/>
                </a:lnTo>
                <a:lnTo>
                  <a:pt x="2568" y="486"/>
                </a:lnTo>
                <a:lnTo>
                  <a:pt x="2574" y="486"/>
                </a:lnTo>
                <a:close/>
                <a:moveTo>
                  <a:pt x="336" y="648"/>
                </a:moveTo>
                <a:lnTo>
                  <a:pt x="342" y="648"/>
                </a:lnTo>
                <a:lnTo>
                  <a:pt x="342" y="636"/>
                </a:lnTo>
                <a:lnTo>
                  <a:pt x="330" y="624"/>
                </a:lnTo>
                <a:lnTo>
                  <a:pt x="318" y="624"/>
                </a:lnTo>
                <a:lnTo>
                  <a:pt x="318" y="636"/>
                </a:lnTo>
                <a:lnTo>
                  <a:pt x="330" y="648"/>
                </a:lnTo>
                <a:lnTo>
                  <a:pt x="336" y="648"/>
                </a:lnTo>
                <a:close/>
                <a:moveTo>
                  <a:pt x="2472" y="654"/>
                </a:moveTo>
                <a:lnTo>
                  <a:pt x="2484" y="648"/>
                </a:lnTo>
                <a:lnTo>
                  <a:pt x="2502" y="630"/>
                </a:lnTo>
                <a:lnTo>
                  <a:pt x="2502" y="618"/>
                </a:lnTo>
                <a:lnTo>
                  <a:pt x="2430" y="612"/>
                </a:lnTo>
                <a:lnTo>
                  <a:pt x="2430" y="624"/>
                </a:lnTo>
                <a:lnTo>
                  <a:pt x="2436" y="630"/>
                </a:lnTo>
                <a:lnTo>
                  <a:pt x="2442" y="642"/>
                </a:lnTo>
                <a:lnTo>
                  <a:pt x="2448" y="648"/>
                </a:lnTo>
                <a:lnTo>
                  <a:pt x="2460" y="654"/>
                </a:lnTo>
                <a:lnTo>
                  <a:pt x="2472" y="654"/>
                </a:lnTo>
                <a:close/>
                <a:moveTo>
                  <a:pt x="2406" y="288"/>
                </a:moveTo>
                <a:lnTo>
                  <a:pt x="2418" y="276"/>
                </a:lnTo>
                <a:lnTo>
                  <a:pt x="2418" y="264"/>
                </a:lnTo>
                <a:lnTo>
                  <a:pt x="2412" y="258"/>
                </a:lnTo>
                <a:lnTo>
                  <a:pt x="2400" y="252"/>
                </a:lnTo>
                <a:lnTo>
                  <a:pt x="2376" y="252"/>
                </a:lnTo>
                <a:lnTo>
                  <a:pt x="2370" y="258"/>
                </a:lnTo>
                <a:lnTo>
                  <a:pt x="2370" y="264"/>
                </a:lnTo>
                <a:lnTo>
                  <a:pt x="2394" y="288"/>
                </a:lnTo>
                <a:lnTo>
                  <a:pt x="2406" y="288"/>
                </a:lnTo>
                <a:close/>
                <a:moveTo>
                  <a:pt x="2868" y="528"/>
                </a:moveTo>
                <a:lnTo>
                  <a:pt x="2886" y="534"/>
                </a:lnTo>
                <a:lnTo>
                  <a:pt x="2892" y="534"/>
                </a:lnTo>
                <a:lnTo>
                  <a:pt x="2898" y="528"/>
                </a:lnTo>
                <a:lnTo>
                  <a:pt x="2898" y="522"/>
                </a:lnTo>
                <a:lnTo>
                  <a:pt x="2874" y="510"/>
                </a:lnTo>
                <a:lnTo>
                  <a:pt x="2868" y="516"/>
                </a:lnTo>
                <a:lnTo>
                  <a:pt x="2862" y="516"/>
                </a:lnTo>
                <a:lnTo>
                  <a:pt x="2862" y="522"/>
                </a:lnTo>
                <a:lnTo>
                  <a:pt x="2868" y="528"/>
                </a:lnTo>
                <a:close/>
                <a:moveTo>
                  <a:pt x="2916" y="618"/>
                </a:moveTo>
                <a:lnTo>
                  <a:pt x="2928" y="618"/>
                </a:lnTo>
                <a:lnTo>
                  <a:pt x="2940" y="612"/>
                </a:lnTo>
                <a:lnTo>
                  <a:pt x="2958" y="612"/>
                </a:lnTo>
                <a:lnTo>
                  <a:pt x="2964" y="606"/>
                </a:lnTo>
                <a:lnTo>
                  <a:pt x="2970" y="606"/>
                </a:lnTo>
                <a:lnTo>
                  <a:pt x="2964" y="606"/>
                </a:lnTo>
                <a:lnTo>
                  <a:pt x="2958" y="600"/>
                </a:lnTo>
                <a:lnTo>
                  <a:pt x="2946" y="594"/>
                </a:lnTo>
                <a:lnTo>
                  <a:pt x="2934" y="594"/>
                </a:lnTo>
                <a:lnTo>
                  <a:pt x="2928" y="588"/>
                </a:lnTo>
                <a:lnTo>
                  <a:pt x="2922" y="588"/>
                </a:lnTo>
                <a:lnTo>
                  <a:pt x="2910" y="594"/>
                </a:lnTo>
                <a:lnTo>
                  <a:pt x="2892" y="594"/>
                </a:lnTo>
                <a:lnTo>
                  <a:pt x="2886" y="600"/>
                </a:lnTo>
                <a:lnTo>
                  <a:pt x="2880" y="600"/>
                </a:lnTo>
                <a:lnTo>
                  <a:pt x="2892" y="606"/>
                </a:lnTo>
                <a:lnTo>
                  <a:pt x="2898" y="612"/>
                </a:lnTo>
                <a:lnTo>
                  <a:pt x="2910" y="618"/>
                </a:lnTo>
                <a:lnTo>
                  <a:pt x="2916" y="618"/>
                </a:lnTo>
                <a:close/>
                <a:moveTo>
                  <a:pt x="1710" y="552"/>
                </a:moveTo>
                <a:lnTo>
                  <a:pt x="1710" y="564"/>
                </a:lnTo>
                <a:lnTo>
                  <a:pt x="1716" y="570"/>
                </a:lnTo>
                <a:lnTo>
                  <a:pt x="1716" y="582"/>
                </a:lnTo>
                <a:lnTo>
                  <a:pt x="1722" y="594"/>
                </a:lnTo>
                <a:lnTo>
                  <a:pt x="1722" y="612"/>
                </a:lnTo>
                <a:lnTo>
                  <a:pt x="1716" y="618"/>
                </a:lnTo>
                <a:lnTo>
                  <a:pt x="1692" y="630"/>
                </a:lnTo>
                <a:lnTo>
                  <a:pt x="1686" y="636"/>
                </a:lnTo>
                <a:lnTo>
                  <a:pt x="1674" y="642"/>
                </a:lnTo>
                <a:lnTo>
                  <a:pt x="1674" y="678"/>
                </a:lnTo>
                <a:lnTo>
                  <a:pt x="1680" y="684"/>
                </a:lnTo>
                <a:lnTo>
                  <a:pt x="1686" y="696"/>
                </a:lnTo>
                <a:lnTo>
                  <a:pt x="1674" y="708"/>
                </a:lnTo>
                <a:lnTo>
                  <a:pt x="1674" y="720"/>
                </a:lnTo>
                <a:lnTo>
                  <a:pt x="1680" y="726"/>
                </a:lnTo>
                <a:lnTo>
                  <a:pt x="1692" y="732"/>
                </a:lnTo>
                <a:lnTo>
                  <a:pt x="1698" y="726"/>
                </a:lnTo>
                <a:lnTo>
                  <a:pt x="1722" y="726"/>
                </a:lnTo>
                <a:lnTo>
                  <a:pt x="1728" y="732"/>
                </a:lnTo>
                <a:lnTo>
                  <a:pt x="1728" y="756"/>
                </a:lnTo>
                <a:lnTo>
                  <a:pt x="1722" y="762"/>
                </a:lnTo>
                <a:lnTo>
                  <a:pt x="1740" y="780"/>
                </a:lnTo>
                <a:lnTo>
                  <a:pt x="1728" y="846"/>
                </a:lnTo>
                <a:lnTo>
                  <a:pt x="1710" y="864"/>
                </a:lnTo>
                <a:lnTo>
                  <a:pt x="1704" y="876"/>
                </a:lnTo>
                <a:lnTo>
                  <a:pt x="1704" y="888"/>
                </a:lnTo>
                <a:lnTo>
                  <a:pt x="1710" y="906"/>
                </a:lnTo>
                <a:lnTo>
                  <a:pt x="1722" y="924"/>
                </a:lnTo>
                <a:lnTo>
                  <a:pt x="1746" y="936"/>
                </a:lnTo>
                <a:lnTo>
                  <a:pt x="1764" y="930"/>
                </a:lnTo>
                <a:lnTo>
                  <a:pt x="1788" y="906"/>
                </a:lnTo>
                <a:lnTo>
                  <a:pt x="1788" y="864"/>
                </a:lnTo>
                <a:lnTo>
                  <a:pt x="1782" y="858"/>
                </a:lnTo>
                <a:lnTo>
                  <a:pt x="1776" y="846"/>
                </a:lnTo>
                <a:lnTo>
                  <a:pt x="1800" y="822"/>
                </a:lnTo>
                <a:lnTo>
                  <a:pt x="1806" y="804"/>
                </a:lnTo>
                <a:lnTo>
                  <a:pt x="1806" y="774"/>
                </a:lnTo>
                <a:lnTo>
                  <a:pt x="1812" y="756"/>
                </a:lnTo>
                <a:lnTo>
                  <a:pt x="1812" y="726"/>
                </a:lnTo>
                <a:lnTo>
                  <a:pt x="1806" y="714"/>
                </a:lnTo>
                <a:lnTo>
                  <a:pt x="1800" y="696"/>
                </a:lnTo>
                <a:lnTo>
                  <a:pt x="1794" y="684"/>
                </a:lnTo>
                <a:lnTo>
                  <a:pt x="1794" y="636"/>
                </a:lnTo>
                <a:lnTo>
                  <a:pt x="1800" y="630"/>
                </a:lnTo>
                <a:lnTo>
                  <a:pt x="1800" y="624"/>
                </a:lnTo>
                <a:lnTo>
                  <a:pt x="1806" y="618"/>
                </a:lnTo>
                <a:lnTo>
                  <a:pt x="1812" y="618"/>
                </a:lnTo>
                <a:lnTo>
                  <a:pt x="1818" y="624"/>
                </a:lnTo>
                <a:lnTo>
                  <a:pt x="1824" y="642"/>
                </a:lnTo>
                <a:lnTo>
                  <a:pt x="1830" y="666"/>
                </a:lnTo>
                <a:lnTo>
                  <a:pt x="1836" y="684"/>
                </a:lnTo>
                <a:lnTo>
                  <a:pt x="1836" y="702"/>
                </a:lnTo>
                <a:lnTo>
                  <a:pt x="1866" y="738"/>
                </a:lnTo>
                <a:lnTo>
                  <a:pt x="1866" y="792"/>
                </a:lnTo>
                <a:lnTo>
                  <a:pt x="1890" y="822"/>
                </a:lnTo>
                <a:lnTo>
                  <a:pt x="1890" y="858"/>
                </a:lnTo>
                <a:lnTo>
                  <a:pt x="1902" y="930"/>
                </a:lnTo>
                <a:lnTo>
                  <a:pt x="1920" y="918"/>
                </a:lnTo>
                <a:lnTo>
                  <a:pt x="1962" y="930"/>
                </a:lnTo>
                <a:lnTo>
                  <a:pt x="1962" y="870"/>
                </a:lnTo>
                <a:lnTo>
                  <a:pt x="1968" y="864"/>
                </a:lnTo>
                <a:lnTo>
                  <a:pt x="1974" y="852"/>
                </a:lnTo>
                <a:lnTo>
                  <a:pt x="1980" y="876"/>
                </a:lnTo>
                <a:lnTo>
                  <a:pt x="1998" y="876"/>
                </a:lnTo>
                <a:lnTo>
                  <a:pt x="2004" y="870"/>
                </a:lnTo>
                <a:lnTo>
                  <a:pt x="2010" y="858"/>
                </a:lnTo>
                <a:lnTo>
                  <a:pt x="2010" y="828"/>
                </a:lnTo>
                <a:lnTo>
                  <a:pt x="2004" y="822"/>
                </a:lnTo>
                <a:lnTo>
                  <a:pt x="2004" y="816"/>
                </a:lnTo>
                <a:lnTo>
                  <a:pt x="1992" y="810"/>
                </a:lnTo>
                <a:lnTo>
                  <a:pt x="1986" y="798"/>
                </a:lnTo>
                <a:lnTo>
                  <a:pt x="1974" y="792"/>
                </a:lnTo>
                <a:lnTo>
                  <a:pt x="1962" y="780"/>
                </a:lnTo>
                <a:lnTo>
                  <a:pt x="1956" y="768"/>
                </a:lnTo>
                <a:lnTo>
                  <a:pt x="1944" y="756"/>
                </a:lnTo>
                <a:lnTo>
                  <a:pt x="1944" y="750"/>
                </a:lnTo>
                <a:lnTo>
                  <a:pt x="1956" y="726"/>
                </a:lnTo>
                <a:lnTo>
                  <a:pt x="1968" y="720"/>
                </a:lnTo>
                <a:lnTo>
                  <a:pt x="1968" y="708"/>
                </a:lnTo>
                <a:lnTo>
                  <a:pt x="1962" y="696"/>
                </a:lnTo>
                <a:lnTo>
                  <a:pt x="1938" y="684"/>
                </a:lnTo>
                <a:lnTo>
                  <a:pt x="1932" y="672"/>
                </a:lnTo>
                <a:lnTo>
                  <a:pt x="1932" y="642"/>
                </a:lnTo>
                <a:lnTo>
                  <a:pt x="1938" y="636"/>
                </a:lnTo>
                <a:lnTo>
                  <a:pt x="1938" y="630"/>
                </a:lnTo>
                <a:lnTo>
                  <a:pt x="1926" y="618"/>
                </a:lnTo>
                <a:lnTo>
                  <a:pt x="1914" y="612"/>
                </a:lnTo>
                <a:lnTo>
                  <a:pt x="1896" y="594"/>
                </a:lnTo>
                <a:lnTo>
                  <a:pt x="1884" y="588"/>
                </a:lnTo>
                <a:lnTo>
                  <a:pt x="1878" y="582"/>
                </a:lnTo>
                <a:lnTo>
                  <a:pt x="1914" y="582"/>
                </a:lnTo>
                <a:lnTo>
                  <a:pt x="1926" y="576"/>
                </a:lnTo>
                <a:lnTo>
                  <a:pt x="1932" y="570"/>
                </a:lnTo>
                <a:lnTo>
                  <a:pt x="1944" y="546"/>
                </a:lnTo>
                <a:lnTo>
                  <a:pt x="1950" y="540"/>
                </a:lnTo>
                <a:lnTo>
                  <a:pt x="1956" y="528"/>
                </a:lnTo>
                <a:lnTo>
                  <a:pt x="1992" y="528"/>
                </a:lnTo>
                <a:lnTo>
                  <a:pt x="2004" y="522"/>
                </a:lnTo>
                <a:lnTo>
                  <a:pt x="2010" y="522"/>
                </a:lnTo>
                <a:lnTo>
                  <a:pt x="2016" y="516"/>
                </a:lnTo>
                <a:lnTo>
                  <a:pt x="2016" y="504"/>
                </a:lnTo>
                <a:lnTo>
                  <a:pt x="1998" y="486"/>
                </a:lnTo>
                <a:lnTo>
                  <a:pt x="1986" y="480"/>
                </a:lnTo>
                <a:lnTo>
                  <a:pt x="1974" y="486"/>
                </a:lnTo>
                <a:lnTo>
                  <a:pt x="1956" y="504"/>
                </a:lnTo>
                <a:lnTo>
                  <a:pt x="1956" y="510"/>
                </a:lnTo>
                <a:lnTo>
                  <a:pt x="1944" y="510"/>
                </a:lnTo>
                <a:lnTo>
                  <a:pt x="1932" y="504"/>
                </a:lnTo>
                <a:lnTo>
                  <a:pt x="1896" y="504"/>
                </a:lnTo>
                <a:lnTo>
                  <a:pt x="1890" y="510"/>
                </a:lnTo>
                <a:lnTo>
                  <a:pt x="1884" y="522"/>
                </a:lnTo>
                <a:lnTo>
                  <a:pt x="1854" y="552"/>
                </a:lnTo>
                <a:lnTo>
                  <a:pt x="1848" y="546"/>
                </a:lnTo>
                <a:lnTo>
                  <a:pt x="1836" y="540"/>
                </a:lnTo>
                <a:lnTo>
                  <a:pt x="1824" y="516"/>
                </a:lnTo>
                <a:lnTo>
                  <a:pt x="1788" y="498"/>
                </a:lnTo>
                <a:lnTo>
                  <a:pt x="1776" y="498"/>
                </a:lnTo>
                <a:lnTo>
                  <a:pt x="1776" y="486"/>
                </a:lnTo>
                <a:lnTo>
                  <a:pt x="1782" y="468"/>
                </a:lnTo>
                <a:lnTo>
                  <a:pt x="1782" y="456"/>
                </a:lnTo>
                <a:lnTo>
                  <a:pt x="1794" y="420"/>
                </a:lnTo>
                <a:lnTo>
                  <a:pt x="1806" y="408"/>
                </a:lnTo>
                <a:lnTo>
                  <a:pt x="1824" y="408"/>
                </a:lnTo>
                <a:lnTo>
                  <a:pt x="1842" y="414"/>
                </a:lnTo>
                <a:lnTo>
                  <a:pt x="1896" y="414"/>
                </a:lnTo>
                <a:lnTo>
                  <a:pt x="1902" y="408"/>
                </a:lnTo>
                <a:lnTo>
                  <a:pt x="1908" y="408"/>
                </a:lnTo>
                <a:lnTo>
                  <a:pt x="1908" y="402"/>
                </a:lnTo>
                <a:lnTo>
                  <a:pt x="1914" y="396"/>
                </a:lnTo>
                <a:lnTo>
                  <a:pt x="1920" y="396"/>
                </a:lnTo>
                <a:lnTo>
                  <a:pt x="1944" y="402"/>
                </a:lnTo>
                <a:lnTo>
                  <a:pt x="1980" y="420"/>
                </a:lnTo>
                <a:lnTo>
                  <a:pt x="2010" y="432"/>
                </a:lnTo>
                <a:lnTo>
                  <a:pt x="2034" y="438"/>
                </a:lnTo>
                <a:lnTo>
                  <a:pt x="2040" y="438"/>
                </a:lnTo>
                <a:lnTo>
                  <a:pt x="2052" y="432"/>
                </a:lnTo>
                <a:lnTo>
                  <a:pt x="2064" y="420"/>
                </a:lnTo>
                <a:lnTo>
                  <a:pt x="2082" y="420"/>
                </a:lnTo>
                <a:lnTo>
                  <a:pt x="2094" y="414"/>
                </a:lnTo>
                <a:lnTo>
                  <a:pt x="2106" y="414"/>
                </a:lnTo>
                <a:lnTo>
                  <a:pt x="2112" y="408"/>
                </a:lnTo>
                <a:lnTo>
                  <a:pt x="2112" y="402"/>
                </a:lnTo>
                <a:lnTo>
                  <a:pt x="2106" y="396"/>
                </a:lnTo>
                <a:lnTo>
                  <a:pt x="2106" y="390"/>
                </a:lnTo>
                <a:lnTo>
                  <a:pt x="2118" y="378"/>
                </a:lnTo>
                <a:lnTo>
                  <a:pt x="2142" y="366"/>
                </a:lnTo>
                <a:lnTo>
                  <a:pt x="2148" y="360"/>
                </a:lnTo>
                <a:lnTo>
                  <a:pt x="2160" y="354"/>
                </a:lnTo>
                <a:lnTo>
                  <a:pt x="2148" y="324"/>
                </a:lnTo>
                <a:lnTo>
                  <a:pt x="2070" y="360"/>
                </a:lnTo>
                <a:lnTo>
                  <a:pt x="2076" y="366"/>
                </a:lnTo>
                <a:lnTo>
                  <a:pt x="2076" y="372"/>
                </a:lnTo>
                <a:lnTo>
                  <a:pt x="2070" y="378"/>
                </a:lnTo>
                <a:lnTo>
                  <a:pt x="2046" y="378"/>
                </a:lnTo>
                <a:lnTo>
                  <a:pt x="2022" y="366"/>
                </a:lnTo>
                <a:lnTo>
                  <a:pt x="2004" y="366"/>
                </a:lnTo>
                <a:lnTo>
                  <a:pt x="1968" y="384"/>
                </a:lnTo>
                <a:lnTo>
                  <a:pt x="1950" y="384"/>
                </a:lnTo>
                <a:lnTo>
                  <a:pt x="1938" y="378"/>
                </a:lnTo>
                <a:lnTo>
                  <a:pt x="1926" y="378"/>
                </a:lnTo>
                <a:lnTo>
                  <a:pt x="1902" y="366"/>
                </a:lnTo>
                <a:lnTo>
                  <a:pt x="1860" y="366"/>
                </a:lnTo>
                <a:lnTo>
                  <a:pt x="1872" y="348"/>
                </a:lnTo>
                <a:lnTo>
                  <a:pt x="1860" y="348"/>
                </a:lnTo>
                <a:lnTo>
                  <a:pt x="1848" y="342"/>
                </a:lnTo>
                <a:lnTo>
                  <a:pt x="1824" y="342"/>
                </a:lnTo>
                <a:lnTo>
                  <a:pt x="1824" y="366"/>
                </a:lnTo>
                <a:lnTo>
                  <a:pt x="1812" y="378"/>
                </a:lnTo>
                <a:lnTo>
                  <a:pt x="1788" y="390"/>
                </a:lnTo>
                <a:lnTo>
                  <a:pt x="1764" y="390"/>
                </a:lnTo>
                <a:lnTo>
                  <a:pt x="1758" y="396"/>
                </a:lnTo>
                <a:lnTo>
                  <a:pt x="1758" y="426"/>
                </a:lnTo>
                <a:lnTo>
                  <a:pt x="1740" y="432"/>
                </a:lnTo>
                <a:lnTo>
                  <a:pt x="1752" y="498"/>
                </a:lnTo>
                <a:lnTo>
                  <a:pt x="1740" y="498"/>
                </a:lnTo>
                <a:lnTo>
                  <a:pt x="1734" y="510"/>
                </a:lnTo>
                <a:lnTo>
                  <a:pt x="1728" y="516"/>
                </a:lnTo>
                <a:lnTo>
                  <a:pt x="1710" y="552"/>
                </a:lnTo>
                <a:close/>
                <a:moveTo>
                  <a:pt x="1986" y="576"/>
                </a:moveTo>
                <a:lnTo>
                  <a:pt x="1986" y="594"/>
                </a:lnTo>
                <a:lnTo>
                  <a:pt x="1992" y="600"/>
                </a:lnTo>
                <a:lnTo>
                  <a:pt x="2004" y="600"/>
                </a:lnTo>
                <a:lnTo>
                  <a:pt x="2016" y="588"/>
                </a:lnTo>
                <a:lnTo>
                  <a:pt x="2016" y="576"/>
                </a:lnTo>
                <a:lnTo>
                  <a:pt x="1986" y="576"/>
                </a:lnTo>
                <a:close/>
                <a:moveTo>
                  <a:pt x="1686" y="1110"/>
                </a:moveTo>
                <a:lnTo>
                  <a:pt x="1674" y="1110"/>
                </a:lnTo>
                <a:lnTo>
                  <a:pt x="1668" y="1116"/>
                </a:lnTo>
                <a:lnTo>
                  <a:pt x="1662" y="1116"/>
                </a:lnTo>
                <a:lnTo>
                  <a:pt x="1614" y="1104"/>
                </a:lnTo>
                <a:lnTo>
                  <a:pt x="1644" y="1146"/>
                </a:lnTo>
                <a:lnTo>
                  <a:pt x="1650" y="1152"/>
                </a:lnTo>
                <a:lnTo>
                  <a:pt x="1662" y="1158"/>
                </a:lnTo>
                <a:lnTo>
                  <a:pt x="1668" y="1164"/>
                </a:lnTo>
                <a:lnTo>
                  <a:pt x="1680" y="1170"/>
                </a:lnTo>
                <a:lnTo>
                  <a:pt x="1692" y="1158"/>
                </a:lnTo>
                <a:lnTo>
                  <a:pt x="1698" y="1140"/>
                </a:lnTo>
                <a:lnTo>
                  <a:pt x="1698" y="1128"/>
                </a:lnTo>
                <a:lnTo>
                  <a:pt x="1692" y="1116"/>
                </a:lnTo>
                <a:lnTo>
                  <a:pt x="1686" y="1110"/>
                </a:lnTo>
                <a:close/>
                <a:moveTo>
                  <a:pt x="2094" y="1104"/>
                </a:moveTo>
                <a:lnTo>
                  <a:pt x="2064" y="1128"/>
                </a:lnTo>
                <a:lnTo>
                  <a:pt x="2094" y="1134"/>
                </a:lnTo>
                <a:lnTo>
                  <a:pt x="2094" y="1104"/>
                </a:lnTo>
                <a:close/>
                <a:moveTo>
                  <a:pt x="486" y="294"/>
                </a:moveTo>
                <a:lnTo>
                  <a:pt x="474" y="288"/>
                </a:lnTo>
                <a:lnTo>
                  <a:pt x="468" y="288"/>
                </a:lnTo>
                <a:lnTo>
                  <a:pt x="456" y="294"/>
                </a:lnTo>
                <a:lnTo>
                  <a:pt x="456" y="312"/>
                </a:lnTo>
                <a:lnTo>
                  <a:pt x="468" y="324"/>
                </a:lnTo>
                <a:lnTo>
                  <a:pt x="474" y="318"/>
                </a:lnTo>
                <a:lnTo>
                  <a:pt x="486" y="318"/>
                </a:lnTo>
                <a:lnTo>
                  <a:pt x="486" y="312"/>
                </a:lnTo>
                <a:lnTo>
                  <a:pt x="492" y="300"/>
                </a:lnTo>
                <a:lnTo>
                  <a:pt x="486" y="294"/>
                </a:lnTo>
                <a:close/>
                <a:moveTo>
                  <a:pt x="2346" y="588"/>
                </a:moveTo>
                <a:lnTo>
                  <a:pt x="2340" y="576"/>
                </a:lnTo>
                <a:lnTo>
                  <a:pt x="2328" y="570"/>
                </a:lnTo>
                <a:lnTo>
                  <a:pt x="2310" y="552"/>
                </a:lnTo>
                <a:lnTo>
                  <a:pt x="2304" y="552"/>
                </a:lnTo>
                <a:lnTo>
                  <a:pt x="2304" y="600"/>
                </a:lnTo>
                <a:lnTo>
                  <a:pt x="2316" y="600"/>
                </a:lnTo>
                <a:lnTo>
                  <a:pt x="2328" y="606"/>
                </a:lnTo>
                <a:lnTo>
                  <a:pt x="2334" y="606"/>
                </a:lnTo>
                <a:lnTo>
                  <a:pt x="2346" y="600"/>
                </a:lnTo>
                <a:lnTo>
                  <a:pt x="2346" y="588"/>
                </a:lnTo>
                <a:close/>
                <a:moveTo>
                  <a:pt x="2310" y="474"/>
                </a:moveTo>
                <a:lnTo>
                  <a:pt x="2340" y="504"/>
                </a:lnTo>
                <a:lnTo>
                  <a:pt x="2358" y="516"/>
                </a:lnTo>
                <a:lnTo>
                  <a:pt x="2382" y="528"/>
                </a:lnTo>
                <a:lnTo>
                  <a:pt x="2400" y="528"/>
                </a:lnTo>
                <a:lnTo>
                  <a:pt x="2400" y="522"/>
                </a:lnTo>
                <a:lnTo>
                  <a:pt x="2358" y="480"/>
                </a:lnTo>
                <a:lnTo>
                  <a:pt x="2358" y="468"/>
                </a:lnTo>
                <a:lnTo>
                  <a:pt x="2364" y="456"/>
                </a:lnTo>
                <a:lnTo>
                  <a:pt x="2376" y="450"/>
                </a:lnTo>
                <a:lnTo>
                  <a:pt x="2394" y="450"/>
                </a:lnTo>
                <a:lnTo>
                  <a:pt x="2406" y="456"/>
                </a:lnTo>
                <a:lnTo>
                  <a:pt x="2424" y="444"/>
                </a:lnTo>
                <a:lnTo>
                  <a:pt x="2400" y="432"/>
                </a:lnTo>
                <a:lnTo>
                  <a:pt x="2412" y="426"/>
                </a:lnTo>
                <a:lnTo>
                  <a:pt x="2424" y="402"/>
                </a:lnTo>
                <a:lnTo>
                  <a:pt x="2412" y="378"/>
                </a:lnTo>
                <a:lnTo>
                  <a:pt x="2400" y="372"/>
                </a:lnTo>
                <a:lnTo>
                  <a:pt x="2382" y="372"/>
                </a:lnTo>
                <a:lnTo>
                  <a:pt x="2358" y="396"/>
                </a:lnTo>
                <a:lnTo>
                  <a:pt x="2346" y="402"/>
                </a:lnTo>
                <a:lnTo>
                  <a:pt x="2340" y="408"/>
                </a:lnTo>
                <a:lnTo>
                  <a:pt x="2334" y="408"/>
                </a:lnTo>
                <a:lnTo>
                  <a:pt x="2328" y="402"/>
                </a:lnTo>
                <a:lnTo>
                  <a:pt x="2328" y="366"/>
                </a:lnTo>
                <a:lnTo>
                  <a:pt x="2334" y="360"/>
                </a:lnTo>
                <a:lnTo>
                  <a:pt x="2346" y="336"/>
                </a:lnTo>
                <a:lnTo>
                  <a:pt x="2346" y="318"/>
                </a:lnTo>
                <a:lnTo>
                  <a:pt x="2340" y="312"/>
                </a:lnTo>
                <a:lnTo>
                  <a:pt x="2358" y="276"/>
                </a:lnTo>
                <a:lnTo>
                  <a:pt x="2316" y="312"/>
                </a:lnTo>
                <a:lnTo>
                  <a:pt x="2316" y="342"/>
                </a:lnTo>
                <a:lnTo>
                  <a:pt x="2304" y="348"/>
                </a:lnTo>
                <a:lnTo>
                  <a:pt x="2298" y="354"/>
                </a:lnTo>
                <a:lnTo>
                  <a:pt x="2286" y="378"/>
                </a:lnTo>
                <a:lnTo>
                  <a:pt x="2286" y="408"/>
                </a:lnTo>
                <a:lnTo>
                  <a:pt x="2298" y="420"/>
                </a:lnTo>
                <a:lnTo>
                  <a:pt x="2304" y="432"/>
                </a:lnTo>
                <a:lnTo>
                  <a:pt x="2310" y="438"/>
                </a:lnTo>
                <a:lnTo>
                  <a:pt x="2310" y="444"/>
                </a:lnTo>
                <a:lnTo>
                  <a:pt x="2304" y="450"/>
                </a:lnTo>
                <a:lnTo>
                  <a:pt x="2304" y="468"/>
                </a:lnTo>
                <a:lnTo>
                  <a:pt x="2310" y="474"/>
                </a:lnTo>
                <a:close/>
                <a:moveTo>
                  <a:pt x="2250" y="708"/>
                </a:moveTo>
                <a:lnTo>
                  <a:pt x="2238" y="696"/>
                </a:lnTo>
                <a:lnTo>
                  <a:pt x="2214" y="708"/>
                </a:lnTo>
                <a:lnTo>
                  <a:pt x="2214" y="732"/>
                </a:lnTo>
                <a:lnTo>
                  <a:pt x="2220" y="744"/>
                </a:lnTo>
                <a:lnTo>
                  <a:pt x="2226" y="750"/>
                </a:lnTo>
                <a:lnTo>
                  <a:pt x="2250" y="762"/>
                </a:lnTo>
                <a:lnTo>
                  <a:pt x="2274" y="762"/>
                </a:lnTo>
                <a:lnTo>
                  <a:pt x="2280" y="750"/>
                </a:lnTo>
                <a:lnTo>
                  <a:pt x="2280" y="738"/>
                </a:lnTo>
                <a:lnTo>
                  <a:pt x="2274" y="726"/>
                </a:lnTo>
                <a:lnTo>
                  <a:pt x="2274" y="714"/>
                </a:lnTo>
                <a:lnTo>
                  <a:pt x="2268" y="708"/>
                </a:lnTo>
                <a:lnTo>
                  <a:pt x="2268" y="702"/>
                </a:lnTo>
                <a:lnTo>
                  <a:pt x="2250" y="708"/>
                </a:lnTo>
                <a:close/>
                <a:moveTo>
                  <a:pt x="2148" y="1104"/>
                </a:moveTo>
                <a:lnTo>
                  <a:pt x="2226" y="1092"/>
                </a:lnTo>
                <a:lnTo>
                  <a:pt x="2166" y="1074"/>
                </a:lnTo>
                <a:lnTo>
                  <a:pt x="2148" y="1104"/>
                </a:lnTo>
                <a:close/>
                <a:moveTo>
                  <a:pt x="2544" y="750"/>
                </a:moveTo>
                <a:lnTo>
                  <a:pt x="2520" y="732"/>
                </a:lnTo>
                <a:lnTo>
                  <a:pt x="2526" y="714"/>
                </a:lnTo>
                <a:lnTo>
                  <a:pt x="2514" y="702"/>
                </a:lnTo>
                <a:lnTo>
                  <a:pt x="2508" y="690"/>
                </a:lnTo>
                <a:lnTo>
                  <a:pt x="2490" y="684"/>
                </a:lnTo>
                <a:lnTo>
                  <a:pt x="2472" y="672"/>
                </a:lnTo>
                <a:lnTo>
                  <a:pt x="2442" y="666"/>
                </a:lnTo>
                <a:lnTo>
                  <a:pt x="2424" y="666"/>
                </a:lnTo>
                <a:lnTo>
                  <a:pt x="2388" y="684"/>
                </a:lnTo>
                <a:lnTo>
                  <a:pt x="2358" y="684"/>
                </a:lnTo>
                <a:lnTo>
                  <a:pt x="2346" y="696"/>
                </a:lnTo>
                <a:lnTo>
                  <a:pt x="2340" y="708"/>
                </a:lnTo>
                <a:lnTo>
                  <a:pt x="2340" y="726"/>
                </a:lnTo>
                <a:lnTo>
                  <a:pt x="2346" y="732"/>
                </a:lnTo>
                <a:lnTo>
                  <a:pt x="2364" y="714"/>
                </a:lnTo>
                <a:lnTo>
                  <a:pt x="2364" y="726"/>
                </a:lnTo>
                <a:lnTo>
                  <a:pt x="2370" y="738"/>
                </a:lnTo>
                <a:lnTo>
                  <a:pt x="2376" y="744"/>
                </a:lnTo>
                <a:lnTo>
                  <a:pt x="2388" y="738"/>
                </a:lnTo>
                <a:lnTo>
                  <a:pt x="2394" y="732"/>
                </a:lnTo>
                <a:lnTo>
                  <a:pt x="2394" y="726"/>
                </a:lnTo>
                <a:lnTo>
                  <a:pt x="2400" y="720"/>
                </a:lnTo>
                <a:lnTo>
                  <a:pt x="2400" y="714"/>
                </a:lnTo>
                <a:lnTo>
                  <a:pt x="2406" y="726"/>
                </a:lnTo>
                <a:lnTo>
                  <a:pt x="2418" y="732"/>
                </a:lnTo>
                <a:lnTo>
                  <a:pt x="2430" y="732"/>
                </a:lnTo>
                <a:lnTo>
                  <a:pt x="2442" y="720"/>
                </a:lnTo>
                <a:lnTo>
                  <a:pt x="2454" y="714"/>
                </a:lnTo>
                <a:lnTo>
                  <a:pt x="2460" y="708"/>
                </a:lnTo>
                <a:lnTo>
                  <a:pt x="2472" y="762"/>
                </a:lnTo>
                <a:lnTo>
                  <a:pt x="2502" y="738"/>
                </a:lnTo>
                <a:lnTo>
                  <a:pt x="2538" y="774"/>
                </a:lnTo>
                <a:lnTo>
                  <a:pt x="2544" y="750"/>
                </a:lnTo>
                <a:close/>
                <a:moveTo>
                  <a:pt x="3264" y="678"/>
                </a:moveTo>
                <a:lnTo>
                  <a:pt x="3222" y="648"/>
                </a:lnTo>
                <a:lnTo>
                  <a:pt x="3210" y="648"/>
                </a:lnTo>
                <a:lnTo>
                  <a:pt x="3198" y="654"/>
                </a:lnTo>
                <a:lnTo>
                  <a:pt x="3180" y="654"/>
                </a:lnTo>
                <a:lnTo>
                  <a:pt x="3162" y="648"/>
                </a:lnTo>
                <a:lnTo>
                  <a:pt x="3126" y="630"/>
                </a:lnTo>
                <a:lnTo>
                  <a:pt x="3096" y="612"/>
                </a:lnTo>
                <a:lnTo>
                  <a:pt x="3060" y="594"/>
                </a:lnTo>
                <a:lnTo>
                  <a:pt x="3042" y="582"/>
                </a:lnTo>
                <a:lnTo>
                  <a:pt x="3030" y="582"/>
                </a:lnTo>
                <a:lnTo>
                  <a:pt x="3006" y="594"/>
                </a:lnTo>
                <a:lnTo>
                  <a:pt x="3000" y="600"/>
                </a:lnTo>
                <a:lnTo>
                  <a:pt x="2988" y="606"/>
                </a:lnTo>
                <a:lnTo>
                  <a:pt x="3006" y="630"/>
                </a:lnTo>
                <a:lnTo>
                  <a:pt x="2928" y="642"/>
                </a:lnTo>
                <a:lnTo>
                  <a:pt x="2934" y="666"/>
                </a:lnTo>
                <a:lnTo>
                  <a:pt x="2928" y="678"/>
                </a:lnTo>
                <a:lnTo>
                  <a:pt x="2922" y="684"/>
                </a:lnTo>
                <a:lnTo>
                  <a:pt x="2916" y="696"/>
                </a:lnTo>
                <a:lnTo>
                  <a:pt x="2880" y="720"/>
                </a:lnTo>
                <a:lnTo>
                  <a:pt x="2862" y="726"/>
                </a:lnTo>
                <a:lnTo>
                  <a:pt x="2844" y="726"/>
                </a:lnTo>
                <a:lnTo>
                  <a:pt x="2832" y="720"/>
                </a:lnTo>
                <a:lnTo>
                  <a:pt x="2826" y="714"/>
                </a:lnTo>
                <a:lnTo>
                  <a:pt x="2820" y="702"/>
                </a:lnTo>
                <a:lnTo>
                  <a:pt x="2820" y="678"/>
                </a:lnTo>
                <a:lnTo>
                  <a:pt x="2814" y="672"/>
                </a:lnTo>
                <a:lnTo>
                  <a:pt x="2814" y="660"/>
                </a:lnTo>
                <a:lnTo>
                  <a:pt x="2808" y="666"/>
                </a:lnTo>
                <a:lnTo>
                  <a:pt x="2808" y="672"/>
                </a:lnTo>
                <a:lnTo>
                  <a:pt x="2802" y="684"/>
                </a:lnTo>
                <a:lnTo>
                  <a:pt x="2796" y="690"/>
                </a:lnTo>
                <a:lnTo>
                  <a:pt x="2796" y="696"/>
                </a:lnTo>
                <a:lnTo>
                  <a:pt x="2796" y="690"/>
                </a:lnTo>
                <a:lnTo>
                  <a:pt x="2790" y="684"/>
                </a:lnTo>
                <a:lnTo>
                  <a:pt x="2790" y="672"/>
                </a:lnTo>
                <a:lnTo>
                  <a:pt x="2784" y="660"/>
                </a:lnTo>
                <a:lnTo>
                  <a:pt x="2784" y="576"/>
                </a:lnTo>
                <a:lnTo>
                  <a:pt x="2778" y="558"/>
                </a:lnTo>
                <a:lnTo>
                  <a:pt x="2760" y="522"/>
                </a:lnTo>
                <a:lnTo>
                  <a:pt x="2724" y="522"/>
                </a:lnTo>
                <a:lnTo>
                  <a:pt x="2718" y="510"/>
                </a:lnTo>
                <a:lnTo>
                  <a:pt x="2694" y="498"/>
                </a:lnTo>
                <a:lnTo>
                  <a:pt x="2676" y="486"/>
                </a:lnTo>
                <a:lnTo>
                  <a:pt x="2652" y="486"/>
                </a:lnTo>
                <a:lnTo>
                  <a:pt x="2634" y="498"/>
                </a:lnTo>
                <a:lnTo>
                  <a:pt x="2628" y="504"/>
                </a:lnTo>
                <a:lnTo>
                  <a:pt x="2616" y="510"/>
                </a:lnTo>
                <a:lnTo>
                  <a:pt x="2610" y="522"/>
                </a:lnTo>
                <a:lnTo>
                  <a:pt x="2586" y="528"/>
                </a:lnTo>
                <a:lnTo>
                  <a:pt x="2580" y="546"/>
                </a:lnTo>
                <a:lnTo>
                  <a:pt x="2562" y="558"/>
                </a:lnTo>
                <a:lnTo>
                  <a:pt x="2562" y="540"/>
                </a:lnTo>
                <a:lnTo>
                  <a:pt x="2556" y="534"/>
                </a:lnTo>
                <a:lnTo>
                  <a:pt x="2532" y="534"/>
                </a:lnTo>
                <a:lnTo>
                  <a:pt x="2532" y="546"/>
                </a:lnTo>
                <a:lnTo>
                  <a:pt x="2544" y="570"/>
                </a:lnTo>
                <a:lnTo>
                  <a:pt x="2568" y="582"/>
                </a:lnTo>
                <a:lnTo>
                  <a:pt x="2604" y="582"/>
                </a:lnTo>
                <a:lnTo>
                  <a:pt x="2616" y="588"/>
                </a:lnTo>
                <a:lnTo>
                  <a:pt x="2622" y="594"/>
                </a:lnTo>
                <a:lnTo>
                  <a:pt x="2628" y="594"/>
                </a:lnTo>
                <a:lnTo>
                  <a:pt x="2628" y="618"/>
                </a:lnTo>
                <a:lnTo>
                  <a:pt x="2634" y="630"/>
                </a:lnTo>
                <a:lnTo>
                  <a:pt x="2640" y="636"/>
                </a:lnTo>
                <a:lnTo>
                  <a:pt x="2652" y="642"/>
                </a:lnTo>
                <a:lnTo>
                  <a:pt x="2694" y="642"/>
                </a:lnTo>
                <a:lnTo>
                  <a:pt x="2712" y="636"/>
                </a:lnTo>
                <a:lnTo>
                  <a:pt x="2754" y="636"/>
                </a:lnTo>
                <a:lnTo>
                  <a:pt x="2760" y="642"/>
                </a:lnTo>
                <a:lnTo>
                  <a:pt x="2760" y="660"/>
                </a:lnTo>
                <a:lnTo>
                  <a:pt x="2700" y="660"/>
                </a:lnTo>
                <a:lnTo>
                  <a:pt x="2688" y="666"/>
                </a:lnTo>
                <a:lnTo>
                  <a:pt x="2676" y="678"/>
                </a:lnTo>
                <a:lnTo>
                  <a:pt x="2640" y="678"/>
                </a:lnTo>
                <a:lnTo>
                  <a:pt x="2616" y="690"/>
                </a:lnTo>
                <a:lnTo>
                  <a:pt x="2616" y="696"/>
                </a:lnTo>
                <a:lnTo>
                  <a:pt x="2622" y="696"/>
                </a:lnTo>
                <a:lnTo>
                  <a:pt x="2646" y="708"/>
                </a:lnTo>
                <a:lnTo>
                  <a:pt x="2658" y="708"/>
                </a:lnTo>
                <a:lnTo>
                  <a:pt x="2676" y="726"/>
                </a:lnTo>
                <a:lnTo>
                  <a:pt x="2682" y="738"/>
                </a:lnTo>
                <a:lnTo>
                  <a:pt x="2688" y="744"/>
                </a:lnTo>
                <a:lnTo>
                  <a:pt x="2682" y="750"/>
                </a:lnTo>
                <a:lnTo>
                  <a:pt x="2676" y="762"/>
                </a:lnTo>
                <a:lnTo>
                  <a:pt x="2676" y="774"/>
                </a:lnTo>
                <a:lnTo>
                  <a:pt x="2670" y="780"/>
                </a:lnTo>
                <a:lnTo>
                  <a:pt x="2676" y="792"/>
                </a:lnTo>
                <a:lnTo>
                  <a:pt x="2682" y="798"/>
                </a:lnTo>
                <a:lnTo>
                  <a:pt x="2694" y="792"/>
                </a:lnTo>
                <a:lnTo>
                  <a:pt x="2706" y="780"/>
                </a:lnTo>
                <a:lnTo>
                  <a:pt x="2712" y="768"/>
                </a:lnTo>
                <a:lnTo>
                  <a:pt x="2718" y="762"/>
                </a:lnTo>
                <a:lnTo>
                  <a:pt x="2718" y="750"/>
                </a:lnTo>
                <a:lnTo>
                  <a:pt x="2724" y="744"/>
                </a:lnTo>
                <a:lnTo>
                  <a:pt x="2736" y="720"/>
                </a:lnTo>
                <a:lnTo>
                  <a:pt x="2742" y="714"/>
                </a:lnTo>
                <a:lnTo>
                  <a:pt x="2748" y="702"/>
                </a:lnTo>
                <a:lnTo>
                  <a:pt x="2748" y="744"/>
                </a:lnTo>
                <a:lnTo>
                  <a:pt x="2754" y="750"/>
                </a:lnTo>
                <a:lnTo>
                  <a:pt x="2766" y="756"/>
                </a:lnTo>
                <a:lnTo>
                  <a:pt x="2772" y="768"/>
                </a:lnTo>
                <a:lnTo>
                  <a:pt x="2784" y="774"/>
                </a:lnTo>
                <a:lnTo>
                  <a:pt x="2790" y="780"/>
                </a:lnTo>
                <a:lnTo>
                  <a:pt x="2814" y="780"/>
                </a:lnTo>
                <a:lnTo>
                  <a:pt x="2820" y="774"/>
                </a:lnTo>
                <a:lnTo>
                  <a:pt x="2826" y="774"/>
                </a:lnTo>
                <a:lnTo>
                  <a:pt x="2814" y="792"/>
                </a:lnTo>
                <a:lnTo>
                  <a:pt x="2844" y="822"/>
                </a:lnTo>
                <a:lnTo>
                  <a:pt x="2904" y="822"/>
                </a:lnTo>
                <a:lnTo>
                  <a:pt x="2940" y="846"/>
                </a:lnTo>
                <a:lnTo>
                  <a:pt x="2976" y="864"/>
                </a:lnTo>
                <a:lnTo>
                  <a:pt x="3006" y="876"/>
                </a:lnTo>
                <a:lnTo>
                  <a:pt x="3036" y="894"/>
                </a:lnTo>
                <a:lnTo>
                  <a:pt x="3066" y="924"/>
                </a:lnTo>
                <a:lnTo>
                  <a:pt x="3066" y="972"/>
                </a:lnTo>
                <a:lnTo>
                  <a:pt x="3090" y="996"/>
                </a:lnTo>
                <a:lnTo>
                  <a:pt x="3102" y="1002"/>
                </a:lnTo>
                <a:lnTo>
                  <a:pt x="3096" y="1002"/>
                </a:lnTo>
                <a:lnTo>
                  <a:pt x="3084" y="1008"/>
                </a:lnTo>
                <a:lnTo>
                  <a:pt x="3078" y="1014"/>
                </a:lnTo>
                <a:lnTo>
                  <a:pt x="3078" y="1020"/>
                </a:lnTo>
                <a:lnTo>
                  <a:pt x="3090" y="1032"/>
                </a:lnTo>
                <a:lnTo>
                  <a:pt x="3114" y="1032"/>
                </a:lnTo>
                <a:lnTo>
                  <a:pt x="3090" y="1044"/>
                </a:lnTo>
                <a:lnTo>
                  <a:pt x="3090" y="1056"/>
                </a:lnTo>
                <a:lnTo>
                  <a:pt x="3102" y="1062"/>
                </a:lnTo>
                <a:lnTo>
                  <a:pt x="3108" y="1092"/>
                </a:lnTo>
                <a:lnTo>
                  <a:pt x="3096" y="1122"/>
                </a:lnTo>
                <a:lnTo>
                  <a:pt x="3120" y="1122"/>
                </a:lnTo>
                <a:lnTo>
                  <a:pt x="3126" y="1116"/>
                </a:lnTo>
                <a:lnTo>
                  <a:pt x="3138" y="1116"/>
                </a:lnTo>
                <a:lnTo>
                  <a:pt x="3150" y="1110"/>
                </a:lnTo>
                <a:lnTo>
                  <a:pt x="3162" y="1110"/>
                </a:lnTo>
                <a:lnTo>
                  <a:pt x="3168" y="1104"/>
                </a:lnTo>
                <a:lnTo>
                  <a:pt x="3174" y="1104"/>
                </a:lnTo>
                <a:lnTo>
                  <a:pt x="3174" y="1134"/>
                </a:lnTo>
                <a:lnTo>
                  <a:pt x="3234" y="1194"/>
                </a:lnTo>
                <a:lnTo>
                  <a:pt x="3240" y="1194"/>
                </a:lnTo>
                <a:lnTo>
                  <a:pt x="3240" y="1146"/>
                </a:lnTo>
                <a:lnTo>
                  <a:pt x="3234" y="1122"/>
                </a:lnTo>
                <a:lnTo>
                  <a:pt x="3234" y="1116"/>
                </a:lnTo>
                <a:lnTo>
                  <a:pt x="3240" y="1110"/>
                </a:lnTo>
                <a:lnTo>
                  <a:pt x="3240" y="1098"/>
                </a:lnTo>
                <a:lnTo>
                  <a:pt x="3246" y="1086"/>
                </a:lnTo>
                <a:lnTo>
                  <a:pt x="3246" y="1062"/>
                </a:lnTo>
                <a:lnTo>
                  <a:pt x="3252" y="1050"/>
                </a:lnTo>
                <a:lnTo>
                  <a:pt x="3252" y="1020"/>
                </a:lnTo>
                <a:lnTo>
                  <a:pt x="3240" y="1020"/>
                </a:lnTo>
                <a:lnTo>
                  <a:pt x="3228" y="1014"/>
                </a:lnTo>
                <a:lnTo>
                  <a:pt x="3222" y="1008"/>
                </a:lnTo>
                <a:lnTo>
                  <a:pt x="3222" y="1002"/>
                </a:lnTo>
                <a:lnTo>
                  <a:pt x="3234" y="990"/>
                </a:lnTo>
                <a:lnTo>
                  <a:pt x="3246" y="984"/>
                </a:lnTo>
                <a:lnTo>
                  <a:pt x="3252" y="978"/>
                </a:lnTo>
                <a:lnTo>
                  <a:pt x="3252" y="864"/>
                </a:lnTo>
                <a:lnTo>
                  <a:pt x="3258" y="846"/>
                </a:lnTo>
                <a:lnTo>
                  <a:pt x="3258" y="708"/>
                </a:lnTo>
                <a:lnTo>
                  <a:pt x="3264" y="678"/>
                </a:lnTo>
                <a:close/>
                <a:moveTo>
                  <a:pt x="336" y="666"/>
                </a:moveTo>
                <a:lnTo>
                  <a:pt x="330" y="672"/>
                </a:lnTo>
                <a:lnTo>
                  <a:pt x="354" y="696"/>
                </a:lnTo>
                <a:lnTo>
                  <a:pt x="360" y="708"/>
                </a:lnTo>
                <a:lnTo>
                  <a:pt x="366" y="714"/>
                </a:lnTo>
                <a:lnTo>
                  <a:pt x="378" y="714"/>
                </a:lnTo>
                <a:lnTo>
                  <a:pt x="378" y="696"/>
                </a:lnTo>
                <a:lnTo>
                  <a:pt x="366" y="690"/>
                </a:lnTo>
                <a:lnTo>
                  <a:pt x="360" y="678"/>
                </a:lnTo>
                <a:lnTo>
                  <a:pt x="348" y="672"/>
                </a:lnTo>
                <a:lnTo>
                  <a:pt x="342" y="666"/>
                </a:lnTo>
                <a:lnTo>
                  <a:pt x="336" y="666"/>
                </a:lnTo>
                <a:close/>
                <a:moveTo>
                  <a:pt x="2526" y="1104"/>
                </a:moveTo>
                <a:lnTo>
                  <a:pt x="2544" y="1116"/>
                </a:lnTo>
                <a:lnTo>
                  <a:pt x="2574" y="1092"/>
                </a:lnTo>
                <a:lnTo>
                  <a:pt x="2592" y="1092"/>
                </a:lnTo>
                <a:lnTo>
                  <a:pt x="2604" y="1080"/>
                </a:lnTo>
                <a:lnTo>
                  <a:pt x="2604" y="1062"/>
                </a:lnTo>
                <a:lnTo>
                  <a:pt x="2592" y="1056"/>
                </a:lnTo>
                <a:lnTo>
                  <a:pt x="2586" y="1056"/>
                </a:lnTo>
                <a:lnTo>
                  <a:pt x="2574" y="1062"/>
                </a:lnTo>
                <a:lnTo>
                  <a:pt x="2556" y="1068"/>
                </a:lnTo>
                <a:lnTo>
                  <a:pt x="2526" y="1098"/>
                </a:lnTo>
                <a:lnTo>
                  <a:pt x="2526" y="1104"/>
                </a:lnTo>
                <a:close/>
                <a:moveTo>
                  <a:pt x="3096" y="1068"/>
                </a:moveTo>
                <a:lnTo>
                  <a:pt x="3090" y="1068"/>
                </a:lnTo>
                <a:lnTo>
                  <a:pt x="3090" y="1062"/>
                </a:lnTo>
                <a:lnTo>
                  <a:pt x="3084" y="1062"/>
                </a:lnTo>
                <a:lnTo>
                  <a:pt x="3078" y="1056"/>
                </a:lnTo>
                <a:lnTo>
                  <a:pt x="3066" y="1056"/>
                </a:lnTo>
                <a:lnTo>
                  <a:pt x="3048" y="1062"/>
                </a:lnTo>
                <a:lnTo>
                  <a:pt x="3024" y="1086"/>
                </a:lnTo>
                <a:lnTo>
                  <a:pt x="3012" y="1122"/>
                </a:lnTo>
                <a:lnTo>
                  <a:pt x="3012" y="1134"/>
                </a:lnTo>
                <a:lnTo>
                  <a:pt x="3072" y="1128"/>
                </a:lnTo>
                <a:lnTo>
                  <a:pt x="3084" y="1128"/>
                </a:lnTo>
                <a:lnTo>
                  <a:pt x="3090" y="1122"/>
                </a:lnTo>
                <a:lnTo>
                  <a:pt x="3102" y="1092"/>
                </a:lnTo>
                <a:lnTo>
                  <a:pt x="3096" y="1068"/>
                </a:lnTo>
                <a:close/>
                <a:moveTo>
                  <a:pt x="2778" y="942"/>
                </a:moveTo>
                <a:lnTo>
                  <a:pt x="2766" y="960"/>
                </a:lnTo>
                <a:lnTo>
                  <a:pt x="2766" y="1014"/>
                </a:lnTo>
                <a:lnTo>
                  <a:pt x="2784" y="1014"/>
                </a:lnTo>
                <a:lnTo>
                  <a:pt x="2778" y="996"/>
                </a:lnTo>
                <a:lnTo>
                  <a:pt x="2790" y="990"/>
                </a:lnTo>
                <a:lnTo>
                  <a:pt x="2790" y="972"/>
                </a:lnTo>
                <a:lnTo>
                  <a:pt x="2778" y="972"/>
                </a:lnTo>
                <a:lnTo>
                  <a:pt x="2796" y="936"/>
                </a:lnTo>
                <a:lnTo>
                  <a:pt x="2814" y="906"/>
                </a:lnTo>
                <a:lnTo>
                  <a:pt x="2784" y="912"/>
                </a:lnTo>
                <a:lnTo>
                  <a:pt x="2778" y="942"/>
                </a:lnTo>
                <a:close/>
                <a:moveTo>
                  <a:pt x="2136" y="600"/>
                </a:moveTo>
                <a:lnTo>
                  <a:pt x="2124" y="594"/>
                </a:lnTo>
                <a:lnTo>
                  <a:pt x="2118" y="594"/>
                </a:lnTo>
                <a:lnTo>
                  <a:pt x="2106" y="588"/>
                </a:lnTo>
                <a:lnTo>
                  <a:pt x="2088" y="588"/>
                </a:lnTo>
                <a:lnTo>
                  <a:pt x="2082" y="594"/>
                </a:lnTo>
                <a:lnTo>
                  <a:pt x="2082" y="600"/>
                </a:lnTo>
                <a:lnTo>
                  <a:pt x="2076" y="606"/>
                </a:lnTo>
                <a:lnTo>
                  <a:pt x="2082" y="612"/>
                </a:lnTo>
                <a:lnTo>
                  <a:pt x="2094" y="618"/>
                </a:lnTo>
                <a:lnTo>
                  <a:pt x="2136" y="618"/>
                </a:lnTo>
                <a:lnTo>
                  <a:pt x="2214" y="606"/>
                </a:lnTo>
                <a:lnTo>
                  <a:pt x="2136" y="600"/>
                </a:lnTo>
                <a:close/>
                <a:moveTo>
                  <a:pt x="1308" y="1038"/>
                </a:moveTo>
                <a:lnTo>
                  <a:pt x="1368" y="1002"/>
                </a:lnTo>
                <a:lnTo>
                  <a:pt x="1362" y="990"/>
                </a:lnTo>
                <a:lnTo>
                  <a:pt x="1350" y="990"/>
                </a:lnTo>
                <a:lnTo>
                  <a:pt x="1332" y="996"/>
                </a:lnTo>
                <a:lnTo>
                  <a:pt x="1320" y="996"/>
                </a:lnTo>
                <a:lnTo>
                  <a:pt x="1302" y="1002"/>
                </a:lnTo>
                <a:lnTo>
                  <a:pt x="1290" y="1008"/>
                </a:lnTo>
                <a:lnTo>
                  <a:pt x="1284" y="1014"/>
                </a:lnTo>
                <a:lnTo>
                  <a:pt x="1284" y="1032"/>
                </a:lnTo>
                <a:lnTo>
                  <a:pt x="1290" y="1038"/>
                </a:lnTo>
                <a:lnTo>
                  <a:pt x="1308" y="1038"/>
                </a:lnTo>
                <a:close/>
                <a:moveTo>
                  <a:pt x="1428" y="1116"/>
                </a:moveTo>
                <a:lnTo>
                  <a:pt x="1392" y="1116"/>
                </a:lnTo>
                <a:lnTo>
                  <a:pt x="1386" y="1146"/>
                </a:lnTo>
                <a:lnTo>
                  <a:pt x="1386" y="1152"/>
                </a:lnTo>
                <a:lnTo>
                  <a:pt x="1404" y="1170"/>
                </a:lnTo>
                <a:lnTo>
                  <a:pt x="1416" y="1176"/>
                </a:lnTo>
                <a:lnTo>
                  <a:pt x="1428" y="1164"/>
                </a:lnTo>
                <a:lnTo>
                  <a:pt x="1440" y="1140"/>
                </a:lnTo>
                <a:lnTo>
                  <a:pt x="1440" y="1128"/>
                </a:lnTo>
                <a:lnTo>
                  <a:pt x="1428" y="1116"/>
                </a:lnTo>
                <a:close/>
                <a:moveTo>
                  <a:pt x="708" y="930"/>
                </a:moveTo>
                <a:lnTo>
                  <a:pt x="714" y="924"/>
                </a:lnTo>
                <a:lnTo>
                  <a:pt x="714" y="900"/>
                </a:lnTo>
                <a:lnTo>
                  <a:pt x="744" y="924"/>
                </a:lnTo>
                <a:lnTo>
                  <a:pt x="744" y="918"/>
                </a:lnTo>
                <a:lnTo>
                  <a:pt x="750" y="912"/>
                </a:lnTo>
                <a:lnTo>
                  <a:pt x="750" y="900"/>
                </a:lnTo>
                <a:lnTo>
                  <a:pt x="756" y="882"/>
                </a:lnTo>
                <a:lnTo>
                  <a:pt x="756" y="840"/>
                </a:lnTo>
                <a:lnTo>
                  <a:pt x="762" y="822"/>
                </a:lnTo>
                <a:lnTo>
                  <a:pt x="762" y="810"/>
                </a:lnTo>
                <a:lnTo>
                  <a:pt x="768" y="792"/>
                </a:lnTo>
                <a:lnTo>
                  <a:pt x="768" y="780"/>
                </a:lnTo>
                <a:lnTo>
                  <a:pt x="762" y="774"/>
                </a:lnTo>
                <a:lnTo>
                  <a:pt x="756" y="762"/>
                </a:lnTo>
                <a:lnTo>
                  <a:pt x="756" y="750"/>
                </a:lnTo>
                <a:lnTo>
                  <a:pt x="768" y="726"/>
                </a:lnTo>
                <a:lnTo>
                  <a:pt x="774" y="720"/>
                </a:lnTo>
                <a:lnTo>
                  <a:pt x="774" y="714"/>
                </a:lnTo>
                <a:lnTo>
                  <a:pt x="756" y="696"/>
                </a:lnTo>
                <a:lnTo>
                  <a:pt x="744" y="654"/>
                </a:lnTo>
                <a:lnTo>
                  <a:pt x="702" y="654"/>
                </a:lnTo>
                <a:lnTo>
                  <a:pt x="702" y="618"/>
                </a:lnTo>
                <a:lnTo>
                  <a:pt x="666" y="618"/>
                </a:lnTo>
                <a:lnTo>
                  <a:pt x="660" y="546"/>
                </a:lnTo>
                <a:lnTo>
                  <a:pt x="606" y="546"/>
                </a:lnTo>
                <a:lnTo>
                  <a:pt x="594" y="534"/>
                </a:lnTo>
                <a:lnTo>
                  <a:pt x="594" y="504"/>
                </a:lnTo>
                <a:lnTo>
                  <a:pt x="600" y="498"/>
                </a:lnTo>
                <a:lnTo>
                  <a:pt x="606" y="486"/>
                </a:lnTo>
                <a:lnTo>
                  <a:pt x="582" y="486"/>
                </a:lnTo>
                <a:lnTo>
                  <a:pt x="600" y="468"/>
                </a:lnTo>
                <a:lnTo>
                  <a:pt x="606" y="456"/>
                </a:lnTo>
                <a:lnTo>
                  <a:pt x="612" y="450"/>
                </a:lnTo>
                <a:lnTo>
                  <a:pt x="612" y="438"/>
                </a:lnTo>
                <a:lnTo>
                  <a:pt x="600" y="426"/>
                </a:lnTo>
                <a:lnTo>
                  <a:pt x="588" y="432"/>
                </a:lnTo>
                <a:lnTo>
                  <a:pt x="570" y="432"/>
                </a:lnTo>
                <a:lnTo>
                  <a:pt x="552" y="438"/>
                </a:lnTo>
                <a:lnTo>
                  <a:pt x="540" y="438"/>
                </a:lnTo>
                <a:lnTo>
                  <a:pt x="534" y="444"/>
                </a:lnTo>
                <a:lnTo>
                  <a:pt x="528" y="444"/>
                </a:lnTo>
                <a:lnTo>
                  <a:pt x="534" y="438"/>
                </a:lnTo>
                <a:lnTo>
                  <a:pt x="546" y="432"/>
                </a:lnTo>
                <a:lnTo>
                  <a:pt x="552" y="420"/>
                </a:lnTo>
                <a:lnTo>
                  <a:pt x="558" y="414"/>
                </a:lnTo>
                <a:lnTo>
                  <a:pt x="558" y="402"/>
                </a:lnTo>
                <a:lnTo>
                  <a:pt x="546" y="396"/>
                </a:lnTo>
                <a:lnTo>
                  <a:pt x="534" y="396"/>
                </a:lnTo>
                <a:lnTo>
                  <a:pt x="522" y="390"/>
                </a:lnTo>
                <a:lnTo>
                  <a:pt x="510" y="390"/>
                </a:lnTo>
                <a:lnTo>
                  <a:pt x="516" y="384"/>
                </a:lnTo>
                <a:lnTo>
                  <a:pt x="516" y="378"/>
                </a:lnTo>
                <a:lnTo>
                  <a:pt x="504" y="354"/>
                </a:lnTo>
                <a:lnTo>
                  <a:pt x="492" y="342"/>
                </a:lnTo>
                <a:lnTo>
                  <a:pt x="480" y="336"/>
                </a:lnTo>
                <a:lnTo>
                  <a:pt x="462" y="330"/>
                </a:lnTo>
                <a:lnTo>
                  <a:pt x="456" y="324"/>
                </a:lnTo>
                <a:lnTo>
                  <a:pt x="450" y="324"/>
                </a:lnTo>
                <a:lnTo>
                  <a:pt x="450" y="318"/>
                </a:lnTo>
                <a:lnTo>
                  <a:pt x="444" y="312"/>
                </a:lnTo>
                <a:lnTo>
                  <a:pt x="438" y="300"/>
                </a:lnTo>
                <a:lnTo>
                  <a:pt x="438" y="288"/>
                </a:lnTo>
                <a:lnTo>
                  <a:pt x="426" y="276"/>
                </a:lnTo>
                <a:lnTo>
                  <a:pt x="414" y="276"/>
                </a:lnTo>
                <a:lnTo>
                  <a:pt x="408" y="282"/>
                </a:lnTo>
                <a:lnTo>
                  <a:pt x="414" y="306"/>
                </a:lnTo>
                <a:lnTo>
                  <a:pt x="408" y="300"/>
                </a:lnTo>
                <a:lnTo>
                  <a:pt x="396" y="294"/>
                </a:lnTo>
                <a:lnTo>
                  <a:pt x="360" y="258"/>
                </a:lnTo>
                <a:lnTo>
                  <a:pt x="360" y="246"/>
                </a:lnTo>
                <a:lnTo>
                  <a:pt x="354" y="240"/>
                </a:lnTo>
                <a:lnTo>
                  <a:pt x="348" y="228"/>
                </a:lnTo>
                <a:lnTo>
                  <a:pt x="342" y="222"/>
                </a:lnTo>
                <a:lnTo>
                  <a:pt x="342" y="216"/>
                </a:lnTo>
                <a:lnTo>
                  <a:pt x="330" y="210"/>
                </a:lnTo>
                <a:lnTo>
                  <a:pt x="312" y="192"/>
                </a:lnTo>
                <a:lnTo>
                  <a:pt x="294" y="186"/>
                </a:lnTo>
                <a:lnTo>
                  <a:pt x="288" y="174"/>
                </a:lnTo>
                <a:lnTo>
                  <a:pt x="276" y="168"/>
                </a:lnTo>
                <a:lnTo>
                  <a:pt x="264" y="156"/>
                </a:lnTo>
                <a:lnTo>
                  <a:pt x="252" y="150"/>
                </a:lnTo>
                <a:lnTo>
                  <a:pt x="240" y="138"/>
                </a:lnTo>
                <a:lnTo>
                  <a:pt x="234" y="126"/>
                </a:lnTo>
                <a:lnTo>
                  <a:pt x="222" y="120"/>
                </a:lnTo>
                <a:lnTo>
                  <a:pt x="222" y="102"/>
                </a:lnTo>
                <a:lnTo>
                  <a:pt x="204" y="84"/>
                </a:lnTo>
                <a:lnTo>
                  <a:pt x="198" y="72"/>
                </a:lnTo>
                <a:lnTo>
                  <a:pt x="168" y="42"/>
                </a:lnTo>
                <a:lnTo>
                  <a:pt x="150" y="42"/>
                </a:lnTo>
                <a:lnTo>
                  <a:pt x="66" y="36"/>
                </a:lnTo>
                <a:lnTo>
                  <a:pt x="42" y="12"/>
                </a:lnTo>
                <a:lnTo>
                  <a:pt x="30" y="6"/>
                </a:lnTo>
                <a:lnTo>
                  <a:pt x="24" y="0"/>
                </a:lnTo>
                <a:lnTo>
                  <a:pt x="18" y="0"/>
                </a:lnTo>
                <a:lnTo>
                  <a:pt x="6" y="6"/>
                </a:lnTo>
                <a:lnTo>
                  <a:pt x="0" y="18"/>
                </a:lnTo>
                <a:lnTo>
                  <a:pt x="0" y="48"/>
                </a:lnTo>
                <a:lnTo>
                  <a:pt x="6" y="60"/>
                </a:lnTo>
                <a:lnTo>
                  <a:pt x="18" y="78"/>
                </a:lnTo>
                <a:lnTo>
                  <a:pt x="66" y="126"/>
                </a:lnTo>
                <a:lnTo>
                  <a:pt x="96" y="150"/>
                </a:lnTo>
                <a:lnTo>
                  <a:pt x="126" y="180"/>
                </a:lnTo>
                <a:lnTo>
                  <a:pt x="162" y="234"/>
                </a:lnTo>
                <a:lnTo>
                  <a:pt x="174" y="228"/>
                </a:lnTo>
                <a:lnTo>
                  <a:pt x="174" y="252"/>
                </a:lnTo>
                <a:lnTo>
                  <a:pt x="180" y="264"/>
                </a:lnTo>
                <a:lnTo>
                  <a:pt x="186" y="270"/>
                </a:lnTo>
                <a:lnTo>
                  <a:pt x="198" y="276"/>
                </a:lnTo>
                <a:lnTo>
                  <a:pt x="216" y="288"/>
                </a:lnTo>
                <a:lnTo>
                  <a:pt x="228" y="300"/>
                </a:lnTo>
                <a:lnTo>
                  <a:pt x="246" y="312"/>
                </a:lnTo>
                <a:lnTo>
                  <a:pt x="258" y="324"/>
                </a:lnTo>
                <a:lnTo>
                  <a:pt x="264" y="336"/>
                </a:lnTo>
                <a:lnTo>
                  <a:pt x="276" y="372"/>
                </a:lnTo>
                <a:lnTo>
                  <a:pt x="276" y="384"/>
                </a:lnTo>
                <a:lnTo>
                  <a:pt x="282" y="390"/>
                </a:lnTo>
                <a:lnTo>
                  <a:pt x="282" y="426"/>
                </a:lnTo>
                <a:lnTo>
                  <a:pt x="288" y="438"/>
                </a:lnTo>
                <a:lnTo>
                  <a:pt x="288" y="444"/>
                </a:lnTo>
                <a:lnTo>
                  <a:pt x="294" y="450"/>
                </a:lnTo>
                <a:lnTo>
                  <a:pt x="300" y="450"/>
                </a:lnTo>
                <a:lnTo>
                  <a:pt x="312" y="444"/>
                </a:lnTo>
                <a:lnTo>
                  <a:pt x="324" y="444"/>
                </a:lnTo>
                <a:lnTo>
                  <a:pt x="324" y="450"/>
                </a:lnTo>
                <a:lnTo>
                  <a:pt x="330" y="462"/>
                </a:lnTo>
                <a:lnTo>
                  <a:pt x="330" y="474"/>
                </a:lnTo>
                <a:lnTo>
                  <a:pt x="336" y="480"/>
                </a:lnTo>
                <a:lnTo>
                  <a:pt x="336" y="486"/>
                </a:lnTo>
                <a:lnTo>
                  <a:pt x="378" y="522"/>
                </a:lnTo>
                <a:lnTo>
                  <a:pt x="372" y="546"/>
                </a:lnTo>
                <a:lnTo>
                  <a:pt x="408" y="606"/>
                </a:lnTo>
                <a:lnTo>
                  <a:pt x="402" y="618"/>
                </a:lnTo>
                <a:lnTo>
                  <a:pt x="402" y="636"/>
                </a:lnTo>
                <a:lnTo>
                  <a:pt x="408" y="648"/>
                </a:lnTo>
                <a:lnTo>
                  <a:pt x="438" y="678"/>
                </a:lnTo>
                <a:lnTo>
                  <a:pt x="438" y="684"/>
                </a:lnTo>
                <a:lnTo>
                  <a:pt x="444" y="690"/>
                </a:lnTo>
                <a:lnTo>
                  <a:pt x="462" y="726"/>
                </a:lnTo>
                <a:lnTo>
                  <a:pt x="498" y="744"/>
                </a:lnTo>
                <a:lnTo>
                  <a:pt x="504" y="750"/>
                </a:lnTo>
                <a:lnTo>
                  <a:pt x="510" y="750"/>
                </a:lnTo>
                <a:lnTo>
                  <a:pt x="510" y="786"/>
                </a:lnTo>
                <a:lnTo>
                  <a:pt x="522" y="792"/>
                </a:lnTo>
                <a:lnTo>
                  <a:pt x="528" y="804"/>
                </a:lnTo>
                <a:lnTo>
                  <a:pt x="540" y="810"/>
                </a:lnTo>
                <a:lnTo>
                  <a:pt x="564" y="834"/>
                </a:lnTo>
                <a:lnTo>
                  <a:pt x="576" y="840"/>
                </a:lnTo>
                <a:lnTo>
                  <a:pt x="594" y="858"/>
                </a:lnTo>
                <a:lnTo>
                  <a:pt x="600" y="858"/>
                </a:lnTo>
                <a:lnTo>
                  <a:pt x="606" y="864"/>
                </a:lnTo>
                <a:lnTo>
                  <a:pt x="612" y="864"/>
                </a:lnTo>
                <a:lnTo>
                  <a:pt x="612" y="870"/>
                </a:lnTo>
                <a:lnTo>
                  <a:pt x="618" y="876"/>
                </a:lnTo>
                <a:lnTo>
                  <a:pt x="630" y="900"/>
                </a:lnTo>
                <a:lnTo>
                  <a:pt x="642" y="912"/>
                </a:lnTo>
                <a:lnTo>
                  <a:pt x="654" y="936"/>
                </a:lnTo>
                <a:lnTo>
                  <a:pt x="660" y="942"/>
                </a:lnTo>
                <a:lnTo>
                  <a:pt x="660" y="906"/>
                </a:lnTo>
                <a:lnTo>
                  <a:pt x="672" y="906"/>
                </a:lnTo>
                <a:lnTo>
                  <a:pt x="684" y="918"/>
                </a:lnTo>
                <a:lnTo>
                  <a:pt x="696" y="924"/>
                </a:lnTo>
                <a:lnTo>
                  <a:pt x="702" y="930"/>
                </a:lnTo>
                <a:lnTo>
                  <a:pt x="708" y="930"/>
                </a:lnTo>
                <a:close/>
                <a:moveTo>
                  <a:pt x="2118" y="1194"/>
                </a:moveTo>
                <a:lnTo>
                  <a:pt x="2106" y="1176"/>
                </a:lnTo>
                <a:lnTo>
                  <a:pt x="2088" y="1176"/>
                </a:lnTo>
                <a:lnTo>
                  <a:pt x="2064" y="1200"/>
                </a:lnTo>
                <a:lnTo>
                  <a:pt x="2064" y="1212"/>
                </a:lnTo>
                <a:lnTo>
                  <a:pt x="2052" y="1212"/>
                </a:lnTo>
                <a:lnTo>
                  <a:pt x="2040" y="1218"/>
                </a:lnTo>
                <a:lnTo>
                  <a:pt x="2010" y="1248"/>
                </a:lnTo>
                <a:lnTo>
                  <a:pt x="1998" y="1272"/>
                </a:lnTo>
                <a:lnTo>
                  <a:pt x="1992" y="1278"/>
                </a:lnTo>
                <a:lnTo>
                  <a:pt x="1992" y="1290"/>
                </a:lnTo>
                <a:lnTo>
                  <a:pt x="2004" y="1302"/>
                </a:lnTo>
                <a:lnTo>
                  <a:pt x="2022" y="1302"/>
                </a:lnTo>
                <a:lnTo>
                  <a:pt x="2052" y="1284"/>
                </a:lnTo>
                <a:lnTo>
                  <a:pt x="2082" y="1260"/>
                </a:lnTo>
                <a:lnTo>
                  <a:pt x="2106" y="1242"/>
                </a:lnTo>
                <a:lnTo>
                  <a:pt x="2100" y="1236"/>
                </a:lnTo>
                <a:lnTo>
                  <a:pt x="2100" y="1224"/>
                </a:lnTo>
                <a:lnTo>
                  <a:pt x="2112" y="1200"/>
                </a:lnTo>
                <a:lnTo>
                  <a:pt x="2118" y="1194"/>
                </a:lnTo>
                <a:close/>
                <a:moveTo>
                  <a:pt x="1374" y="1128"/>
                </a:moveTo>
                <a:lnTo>
                  <a:pt x="1374" y="1116"/>
                </a:lnTo>
                <a:lnTo>
                  <a:pt x="1368" y="1110"/>
                </a:lnTo>
                <a:lnTo>
                  <a:pt x="1344" y="1098"/>
                </a:lnTo>
                <a:lnTo>
                  <a:pt x="1332" y="1098"/>
                </a:lnTo>
                <a:lnTo>
                  <a:pt x="1320" y="1092"/>
                </a:lnTo>
                <a:lnTo>
                  <a:pt x="1314" y="1092"/>
                </a:lnTo>
                <a:lnTo>
                  <a:pt x="1302" y="1098"/>
                </a:lnTo>
                <a:lnTo>
                  <a:pt x="1296" y="1104"/>
                </a:lnTo>
                <a:lnTo>
                  <a:pt x="1296" y="1116"/>
                </a:lnTo>
                <a:lnTo>
                  <a:pt x="1290" y="1122"/>
                </a:lnTo>
                <a:lnTo>
                  <a:pt x="1290" y="1134"/>
                </a:lnTo>
                <a:lnTo>
                  <a:pt x="1254" y="1104"/>
                </a:lnTo>
                <a:lnTo>
                  <a:pt x="1260" y="1092"/>
                </a:lnTo>
                <a:lnTo>
                  <a:pt x="1260" y="1080"/>
                </a:lnTo>
                <a:lnTo>
                  <a:pt x="1266" y="1068"/>
                </a:lnTo>
                <a:lnTo>
                  <a:pt x="1266" y="1050"/>
                </a:lnTo>
                <a:lnTo>
                  <a:pt x="1260" y="1038"/>
                </a:lnTo>
                <a:lnTo>
                  <a:pt x="1254" y="1032"/>
                </a:lnTo>
                <a:lnTo>
                  <a:pt x="1242" y="1026"/>
                </a:lnTo>
                <a:lnTo>
                  <a:pt x="1188" y="1026"/>
                </a:lnTo>
                <a:lnTo>
                  <a:pt x="1158" y="1008"/>
                </a:lnTo>
                <a:lnTo>
                  <a:pt x="1158" y="984"/>
                </a:lnTo>
                <a:lnTo>
                  <a:pt x="1116" y="984"/>
                </a:lnTo>
                <a:lnTo>
                  <a:pt x="1116" y="996"/>
                </a:lnTo>
                <a:lnTo>
                  <a:pt x="1110" y="1008"/>
                </a:lnTo>
                <a:lnTo>
                  <a:pt x="1110" y="1026"/>
                </a:lnTo>
                <a:lnTo>
                  <a:pt x="1086" y="1026"/>
                </a:lnTo>
                <a:lnTo>
                  <a:pt x="1074" y="1020"/>
                </a:lnTo>
                <a:lnTo>
                  <a:pt x="1056" y="1014"/>
                </a:lnTo>
                <a:lnTo>
                  <a:pt x="1044" y="1014"/>
                </a:lnTo>
                <a:lnTo>
                  <a:pt x="1032" y="1008"/>
                </a:lnTo>
                <a:lnTo>
                  <a:pt x="966" y="1008"/>
                </a:lnTo>
                <a:lnTo>
                  <a:pt x="960" y="996"/>
                </a:lnTo>
                <a:lnTo>
                  <a:pt x="948" y="990"/>
                </a:lnTo>
                <a:lnTo>
                  <a:pt x="942" y="978"/>
                </a:lnTo>
                <a:lnTo>
                  <a:pt x="918" y="954"/>
                </a:lnTo>
                <a:lnTo>
                  <a:pt x="900" y="954"/>
                </a:lnTo>
                <a:lnTo>
                  <a:pt x="888" y="960"/>
                </a:lnTo>
                <a:lnTo>
                  <a:pt x="876" y="954"/>
                </a:lnTo>
                <a:lnTo>
                  <a:pt x="870" y="948"/>
                </a:lnTo>
                <a:lnTo>
                  <a:pt x="858" y="942"/>
                </a:lnTo>
                <a:lnTo>
                  <a:pt x="846" y="942"/>
                </a:lnTo>
                <a:lnTo>
                  <a:pt x="840" y="936"/>
                </a:lnTo>
                <a:lnTo>
                  <a:pt x="822" y="936"/>
                </a:lnTo>
                <a:lnTo>
                  <a:pt x="810" y="930"/>
                </a:lnTo>
                <a:lnTo>
                  <a:pt x="792" y="930"/>
                </a:lnTo>
                <a:lnTo>
                  <a:pt x="786" y="924"/>
                </a:lnTo>
                <a:lnTo>
                  <a:pt x="762" y="924"/>
                </a:lnTo>
                <a:lnTo>
                  <a:pt x="750" y="930"/>
                </a:lnTo>
                <a:lnTo>
                  <a:pt x="738" y="954"/>
                </a:lnTo>
                <a:lnTo>
                  <a:pt x="738" y="966"/>
                </a:lnTo>
                <a:lnTo>
                  <a:pt x="732" y="978"/>
                </a:lnTo>
                <a:lnTo>
                  <a:pt x="720" y="990"/>
                </a:lnTo>
                <a:lnTo>
                  <a:pt x="714" y="990"/>
                </a:lnTo>
                <a:lnTo>
                  <a:pt x="702" y="1002"/>
                </a:lnTo>
                <a:lnTo>
                  <a:pt x="702" y="1014"/>
                </a:lnTo>
                <a:lnTo>
                  <a:pt x="738" y="1008"/>
                </a:lnTo>
                <a:lnTo>
                  <a:pt x="786" y="1008"/>
                </a:lnTo>
                <a:lnTo>
                  <a:pt x="780" y="1014"/>
                </a:lnTo>
                <a:lnTo>
                  <a:pt x="768" y="1020"/>
                </a:lnTo>
                <a:lnTo>
                  <a:pt x="762" y="1032"/>
                </a:lnTo>
                <a:lnTo>
                  <a:pt x="762" y="1044"/>
                </a:lnTo>
                <a:lnTo>
                  <a:pt x="774" y="1050"/>
                </a:lnTo>
                <a:lnTo>
                  <a:pt x="780" y="1050"/>
                </a:lnTo>
                <a:lnTo>
                  <a:pt x="798" y="1044"/>
                </a:lnTo>
                <a:lnTo>
                  <a:pt x="810" y="1044"/>
                </a:lnTo>
                <a:lnTo>
                  <a:pt x="816" y="1038"/>
                </a:lnTo>
                <a:lnTo>
                  <a:pt x="828" y="1032"/>
                </a:lnTo>
                <a:lnTo>
                  <a:pt x="840" y="1038"/>
                </a:lnTo>
                <a:lnTo>
                  <a:pt x="870" y="1056"/>
                </a:lnTo>
                <a:lnTo>
                  <a:pt x="900" y="1068"/>
                </a:lnTo>
                <a:lnTo>
                  <a:pt x="924" y="1080"/>
                </a:lnTo>
                <a:lnTo>
                  <a:pt x="960" y="1086"/>
                </a:lnTo>
                <a:lnTo>
                  <a:pt x="1014" y="1092"/>
                </a:lnTo>
                <a:lnTo>
                  <a:pt x="1062" y="1092"/>
                </a:lnTo>
                <a:lnTo>
                  <a:pt x="1080" y="1110"/>
                </a:lnTo>
                <a:lnTo>
                  <a:pt x="1086" y="1122"/>
                </a:lnTo>
                <a:lnTo>
                  <a:pt x="1098" y="1128"/>
                </a:lnTo>
                <a:lnTo>
                  <a:pt x="1110" y="1140"/>
                </a:lnTo>
                <a:lnTo>
                  <a:pt x="1128" y="1146"/>
                </a:lnTo>
                <a:lnTo>
                  <a:pt x="1152" y="1152"/>
                </a:lnTo>
                <a:lnTo>
                  <a:pt x="1170" y="1152"/>
                </a:lnTo>
                <a:lnTo>
                  <a:pt x="1182" y="1158"/>
                </a:lnTo>
                <a:lnTo>
                  <a:pt x="1248" y="1158"/>
                </a:lnTo>
                <a:lnTo>
                  <a:pt x="1260" y="1164"/>
                </a:lnTo>
                <a:lnTo>
                  <a:pt x="1278" y="1170"/>
                </a:lnTo>
                <a:lnTo>
                  <a:pt x="1290" y="1182"/>
                </a:lnTo>
                <a:lnTo>
                  <a:pt x="1302" y="1188"/>
                </a:lnTo>
                <a:lnTo>
                  <a:pt x="1320" y="1206"/>
                </a:lnTo>
                <a:lnTo>
                  <a:pt x="1338" y="1206"/>
                </a:lnTo>
                <a:lnTo>
                  <a:pt x="1350" y="1200"/>
                </a:lnTo>
                <a:lnTo>
                  <a:pt x="1356" y="1206"/>
                </a:lnTo>
                <a:lnTo>
                  <a:pt x="1374" y="1206"/>
                </a:lnTo>
                <a:lnTo>
                  <a:pt x="1374" y="1194"/>
                </a:lnTo>
                <a:lnTo>
                  <a:pt x="1368" y="1182"/>
                </a:lnTo>
                <a:lnTo>
                  <a:pt x="1362" y="1176"/>
                </a:lnTo>
                <a:lnTo>
                  <a:pt x="1356" y="1164"/>
                </a:lnTo>
                <a:lnTo>
                  <a:pt x="1374" y="1146"/>
                </a:lnTo>
                <a:lnTo>
                  <a:pt x="1374" y="1128"/>
                </a:lnTo>
                <a:close/>
                <a:moveTo>
                  <a:pt x="1500" y="726"/>
                </a:moveTo>
                <a:lnTo>
                  <a:pt x="1542" y="684"/>
                </a:lnTo>
                <a:lnTo>
                  <a:pt x="1548" y="672"/>
                </a:lnTo>
                <a:lnTo>
                  <a:pt x="1554" y="654"/>
                </a:lnTo>
                <a:lnTo>
                  <a:pt x="1560" y="642"/>
                </a:lnTo>
                <a:lnTo>
                  <a:pt x="1566" y="624"/>
                </a:lnTo>
                <a:lnTo>
                  <a:pt x="1566" y="612"/>
                </a:lnTo>
                <a:lnTo>
                  <a:pt x="1572" y="606"/>
                </a:lnTo>
                <a:lnTo>
                  <a:pt x="1572" y="600"/>
                </a:lnTo>
                <a:lnTo>
                  <a:pt x="1566" y="600"/>
                </a:lnTo>
                <a:lnTo>
                  <a:pt x="1554" y="594"/>
                </a:lnTo>
                <a:lnTo>
                  <a:pt x="1542" y="582"/>
                </a:lnTo>
                <a:lnTo>
                  <a:pt x="1542" y="564"/>
                </a:lnTo>
                <a:lnTo>
                  <a:pt x="1554" y="516"/>
                </a:lnTo>
                <a:lnTo>
                  <a:pt x="1590" y="498"/>
                </a:lnTo>
                <a:lnTo>
                  <a:pt x="1626" y="498"/>
                </a:lnTo>
                <a:lnTo>
                  <a:pt x="1632" y="486"/>
                </a:lnTo>
                <a:lnTo>
                  <a:pt x="1638" y="480"/>
                </a:lnTo>
                <a:lnTo>
                  <a:pt x="1644" y="468"/>
                </a:lnTo>
                <a:lnTo>
                  <a:pt x="1644" y="444"/>
                </a:lnTo>
                <a:lnTo>
                  <a:pt x="1626" y="444"/>
                </a:lnTo>
                <a:lnTo>
                  <a:pt x="1620" y="450"/>
                </a:lnTo>
                <a:lnTo>
                  <a:pt x="1608" y="450"/>
                </a:lnTo>
                <a:lnTo>
                  <a:pt x="1608" y="438"/>
                </a:lnTo>
                <a:lnTo>
                  <a:pt x="1614" y="420"/>
                </a:lnTo>
                <a:lnTo>
                  <a:pt x="1626" y="408"/>
                </a:lnTo>
                <a:lnTo>
                  <a:pt x="1650" y="396"/>
                </a:lnTo>
                <a:lnTo>
                  <a:pt x="1662" y="396"/>
                </a:lnTo>
                <a:lnTo>
                  <a:pt x="1680" y="402"/>
                </a:lnTo>
                <a:lnTo>
                  <a:pt x="1704" y="402"/>
                </a:lnTo>
                <a:lnTo>
                  <a:pt x="1716" y="390"/>
                </a:lnTo>
                <a:lnTo>
                  <a:pt x="1716" y="384"/>
                </a:lnTo>
                <a:lnTo>
                  <a:pt x="1680" y="348"/>
                </a:lnTo>
                <a:lnTo>
                  <a:pt x="1680" y="312"/>
                </a:lnTo>
                <a:lnTo>
                  <a:pt x="1668" y="312"/>
                </a:lnTo>
                <a:lnTo>
                  <a:pt x="1650" y="294"/>
                </a:lnTo>
                <a:lnTo>
                  <a:pt x="1650" y="282"/>
                </a:lnTo>
                <a:lnTo>
                  <a:pt x="1662" y="270"/>
                </a:lnTo>
                <a:lnTo>
                  <a:pt x="1668" y="258"/>
                </a:lnTo>
                <a:lnTo>
                  <a:pt x="1668" y="246"/>
                </a:lnTo>
                <a:lnTo>
                  <a:pt x="1662" y="240"/>
                </a:lnTo>
                <a:lnTo>
                  <a:pt x="1638" y="228"/>
                </a:lnTo>
                <a:lnTo>
                  <a:pt x="1614" y="228"/>
                </a:lnTo>
                <a:lnTo>
                  <a:pt x="1632" y="198"/>
                </a:lnTo>
                <a:lnTo>
                  <a:pt x="1614" y="192"/>
                </a:lnTo>
                <a:lnTo>
                  <a:pt x="1620" y="162"/>
                </a:lnTo>
                <a:lnTo>
                  <a:pt x="1608" y="144"/>
                </a:lnTo>
                <a:lnTo>
                  <a:pt x="1602" y="138"/>
                </a:lnTo>
                <a:lnTo>
                  <a:pt x="1590" y="132"/>
                </a:lnTo>
                <a:lnTo>
                  <a:pt x="1566" y="108"/>
                </a:lnTo>
                <a:lnTo>
                  <a:pt x="1470" y="108"/>
                </a:lnTo>
                <a:lnTo>
                  <a:pt x="1464" y="114"/>
                </a:lnTo>
                <a:lnTo>
                  <a:pt x="1458" y="126"/>
                </a:lnTo>
                <a:lnTo>
                  <a:pt x="1458" y="180"/>
                </a:lnTo>
                <a:lnTo>
                  <a:pt x="1452" y="198"/>
                </a:lnTo>
                <a:lnTo>
                  <a:pt x="1452" y="204"/>
                </a:lnTo>
                <a:lnTo>
                  <a:pt x="1446" y="216"/>
                </a:lnTo>
                <a:lnTo>
                  <a:pt x="1428" y="216"/>
                </a:lnTo>
                <a:lnTo>
                  <a:pt x="1422" y="222"/>
                </a:lnTo>
                <a:lnTo>
                  <a:pt x="1422" y="246"/>
                </a:lnTo>
                <a:lnTo>
                  <a:pt x="1428" y="252"/>
                </a:lnTo>
                <a:lnTo>
                  <a:pt x="1434" y="264"/>
                </a:lnTo>
                <a:lnTo>
                  <a:pt x="1398" y="294"/>
                </a:lnTo>
                <a:lnTo>
                  <a:pt x="1404" y="306"/>
                </a:lnTo>
                <a:lnTo>
                  <a:pt x="1374" y="342"/>
                </a:lnTo>
                <a:lnTo>
                  <a:pt x="1350" y="342"/>
                </a:lnTo>
                <a:lnTo>
                  <a:pt x="1344" y="348"/>
                </a:lnTo>
                <a:lnTo>
                  <a:pt x="1332" y="354"/>
                </a:lnTo>
                <a:lnTo>
                  <a:pt x="1320" y="366"/>
                </a:lnTo>
                <a:lnTo>
                  <a:pt x="1314" y="366"/>
                </a:lnTo>
                <a:lnTo>
                  <a:pt x="1308" y="360"/>
                </a:lnTo>
                <a:lnTo>
                  <a:pt x="1284" y="348"/>
                </a:lnTo>
                <a:lnTo>
                  <a:pt x="1272" y="336"/>
                </a:lnTo>
                <a:lnTo>
                  <a:pt x="1230" y="336"/>
                </a:lnTo>
                <a:lnTo>
                  <a:pt x="1224" y="348"/>
                </a:lnTo>
                <a:lnTo>
                  <a:pt x="1194" y="378"/>
                </a:lnTo>
                <a:lnTo>
                  <a:pt x="1170" y="378"/>
                </a:lnTo>
                <a:lnTo>
                  <a:pt x="1152" y="372"/>
                </a:lnTo>
                <a:lnTo>
                  <a:pt x="1128" y="372"/>
                </a:lnTo>
                <a:lnTo>
                  <a:pt x="1110" y="390"/>
                </a:lnTo>
                <a:lnTo>
                  <a:pt x="1104" y="390"/>
                </a:lnTo>
                <a:lnTo>
                  <a:pt x="1080" y="378"/>
                </a:lnTo>
                <a:lnTo>
                  <a:pt x="1074" y="372"/>
                </a:lnTo>
                <a:lnTo>
                  <a:pt x="1062" y="366"/>
                </a:lnTo>
                <a:lnTo>
                  <a:pt x="1050" y="354"/>
                </a:lnTo>
                <a:lnTo>
                  <a:pt x="1050" y="342"/>
                </a:lnTo>
                <a:lnTo>
                  <a:pt x="1044" y="336"/>
                </a:lnTo>
                <a:lnTo>
                  <a:pt x="1032" y="330"/>
                </a:lnTo>
                <a:lnTo>
                  <a:pt x="1008" y="330"/>
                </a:lnTo>
                <a:lnTo>
                  <a:pt x="996" y="336"/>
                </a:lnTo>
                <a:lnTo>
                  <a:pt x="990" y="348"/>
                </a:lnTo>
                <a:lnTo>
                  <a:pt x="978" y="366"/>
                </a:lnTo>
                <a:lnTo>
                  <a:pt x="972" y="384"/>
                </a:lnTo>
                <a:lnTo>
                  <a:pt x="972" y="402"/>
                </a:lnTo>
                <a:lnTo>
                  <a:pt x="966" y="408"/>
                </a:lnTo>
                <a:lnTo>
                  <a:pt x="966" y="414"/>
                </a:lnTo>
                <a:lnTo>
                  <a:pt x="990" y="444"/>
                </a:lnTo>
                <a:lnTo>
                  <a:pt x="1002" y="498"/>
                </a:lnTo>
                <a:lnTo>
                  <a:pt x="1050" y="528"/>
                </a:lnTo>
                <a:lnTo>
                  <a:pt x="1038" y="564"/>
                </a:lnTo>
                <a:lnTo>
                  <a:pt x="1068" y="582"/>
                </a:lnTo>
                <a:lnTo>
                  <a:pt x="1050" y="606"/>
                </a:lnTo>
                <a:lnTo>
                  <a:pt x="1068" y="636"/>
                </a:lnTo>
                <a:lnTo>
                  <a:pt x="1056" y="648"/>
                </a:lnTo>
                <a:lnTo>
                  <a:pt x="1068" y="702"/>
                </a:lnTo>
                <a:lnTo>
                  <a:pt x="1110" y="696"/>
                </a:lnTo>
                <a:lnTo>
                  <a:pt x="1140" y="708"/>
                </a:lnTo>
                <a:lnTo>
                  <a:pt x="1146" y="696"/>
                </a:lnTo>
                <a:lnTo>
                  <a:pt x="1170" y="672"/>
                </a:lnTo>
                <a:lnTo>
                  <a:pt x="1182" y="672"/>
                </a:lnTo>
                <a:lnTo>
                  <a:pt x="1182" y="690"/>
                </a:lnTo>
                <a:lnTo>
                  <a:pt x="1188" y="702"/>
                </a:lnTo>
                <a:lnTo>
                  <a:pt x="1188" y="726"/>
                </a:lnTo>
                <a:lnTo>
                  <a:pt x="1194" y="738"/>
                </a:lnTo>
                <a:lnTo>
                  <a:pt x="1212" y="738"/>
                </a:lnTo>
                <a:lnTo>
                  <a:pt x="1218" y="726"/>
                </a:lnTo>
                <a:lnTo>
                  <a:pt x="1218" y="720"/>
                </a:lnTo>
                <a:lnTo>
                  <a:pt x="1224" y="714"/>
                </a:lnTo>
                <a:lnTo>
                  <a:pt x="1224" y="708"/>
                </a:lnTo>
                <a:lnTo>
                  <a:pt x="1254" y="726"/>
                </a:lnTo>
                <a:lnTo>
                  <a:pt x="1266" y="720"/>
                </a:lnTo>
                <a:lnTo>
                  <a:pt x="1272" y="708"/>
                </a:lnTo>
                <a:lnTo>
                  <a:pt x="1284" y="702"/>
                </a:lnTo>
                <a:lnTo>
                  <a:pt x="1296" y="702"/>
                </a:lnTo>
                <a:lnTo>
                  <a:pt x="1296" y="714"/>
                </a:lnTo>
                <a:lnTo>
                  <a:pt x="1302" y="720"/>
                </a:lnTo>
                <a:lnTo>
                  <a:pt x="1302" y="738"/>
                </a:lnTo>
                <a:lnTo>
                  <a:pt x="1308" y="744"/>
                </a:lnTo>
                <a:lnTo>
                  <a:pt x="1332" y="744"/>
                </a:lnTo>
                <a:lnTo>
                  <a:pt x="1350" y="738"/>
                </a:lnTo>
                <a:lnTo>
                  <a:pt x="1362" y="732"/>
                </a:lnTo>
                <a:lnTo>
                  <a:pt x="1392" y="732"/>
                </a:lnTo>
                <a:lnTo>
                  <a:pt x="1404" y="744"/>
                </a:lnTo>
                <a:lnTo>
                  <a:pt x="1404" y="786"/>
                </a:lnTo>
                <a:lnTo>
                  <a:pt x="1398" y="798"/>
                </a:lnTo>
                <a:lnTo>
                  <a:pt x="1398" y="810"/>
                </a:lnTo>
                <a:lnTo>
                  <a:pt x="1404" y="810"/>
                </a:lnTo>
                <a:lnTo>
                  <a:pt x="1410" y="804"/>
                </a:lnTo>
                <a:lnTo>
                  <a:pt x="1422" y="798"/>
                </a:lnTo>
                <a:lnTo>
                  <a:pt x="1440" y="792"/>
                </a:lnTo>
                <a:lnTo>
                  <a:pt x="1452" y="786"/>
                </a:lnTo>
                <a:lnTo>
                  <a:pt x="1476" y="762"/>
                </a:lnTo>
                <a:lnTo>
                  <a:pt x="1482" y="750"/>
                </a:lnTo>
                <a:lnTo>
                  <a:pt x="1500" y="732"/>
                </a:lnTo>
                <a:lnTo>
                  <a:pt x="1500" y="726"/>
                </a:lnTo>
                <a:close/>
                <a:moveTo>
                  <a:pt x="1476" y="1116"/>
                </a:moveTo>
                <a:lnTo>
                  <a:pt x="1470" y="1116"/>
                </a:lnTo>
                <a:lnTo>
                  <a:pt x="1458" y="1122"/>
                </a:lnTo>
                <a:lnTo>
                  <a:pt x="1452" y="1128"/>
                </a:lnTo>
                <a:lnTo>
                  <a:pt x="1458" y="1134"/>
                </a:lnTo>
                <a:lnTo>
                  <a:pt x="1470" y="1140"/>
                </a:lnTo>
                <a:lnTo>
                  <a:pt x="1476" y="1140"/>
                </a:lnTo>
                <a:lnTo>
                  <a:pt x="1488" y="1146"/>
                </a:lnTo>
                <a:lnTo>
                  <a:pt x="1500" y="1134"/>
                </a:lnTo>
                <a:lnTo>
                  <a:pt x="1500" y="1128"/>
                </a:lnTo>
                <a:lnTo>
                  <a:pt x="1488" y="1116"/>
                </a:lnTo>
                <a:lnTo>
                  <a:pt x="1476" y="1116"/>
                </a:lnTo>
                <a:close/>
                <a:moveTo>
                  <a:pt x="1716" y="1230"/>
                </a:moveTo>
                <a:lnTo>
                  <a:pt x="1680" y="1218"/>
                </a:lnTo>
                <a:lnTo>
                  <a:pt x="1674" y="1224"/>
                </a:lnTo>
                <a:lnTo>
                  <a:pt x="1674" y="1230"/>
                </a:lnTo>
                <a:lnTo>
                  <a:pt x="1686" y="1254"/>
                </a:lnTo>
                <a:lnTo>
                  <a:pt x="1692" y="1260"/>
                </a:lnTo>
                <a:lnTo>
                  <a:pt x="1704" y="1266"/>
                </a:lnTo>
                <a:lnTo>
                  <a:pt x="1716" y="1266"/>
                </a:lnTo>
                <a:lnTo>
                  <a:pt x="1722" y="1260"/>
                </a:lnTo>
                <a:lnTo>
                  <a:pt x="1740" y="1260"/>
                </a:lnTo>
                <a:lnTo>
                  <a:pt x="1746" y="1266"/>
                </a:lnTo>
                <a:lnTo>
                  <a:pt x="1746" y="1278"/>
                </a:lnTo>
                <a:lnTo>
                  <a:pt x="1752" y="1290"/>
                </a:lnTo>
                <a:lnTo>
                  <a:pt x="1764" y="1296"/>
                </a:lnTo>
                <a:lnTo>
                  <a:pt x="1788" y="1296"/>
                </a:lnTo>
                <a:lnTo>
                  <a:pt x="1794" y="1290"/>
                </a:lnTo>
                <a:lnTo>
                  <a:pt x="1800" y="1290"/>
                </a:lnTo>
                <a:lnTo>
                  <a:pt x="1800" y="1284"/>
                </a:lnTo>
                <a:lnTo>
                  <a:pt x="1794" y="1272"/>
                </a:lnTo>
                <a:lnTo>
                  <a:pt x="1782" y="1260"/>
                </a:lnTo>
                <a:lnTo>
                  <a:pt x="1770" y="1236"/>
                </a:lnTo>
                <a:lnTo>
                  <a:pt x="1746" y="1224"/>
                </a:lnTo>
                <a:lnTo>
                  <a:pt x="1728" y="1224"/>
                </a:lnTo>
                <a:lnTo>
                  <a:pt x="1716" y="1230"/>
                </a:lnTo>
                <a:close/>
                <a:moveTo>
                  <a:pt x="1962" y="1122"/>
                </a:moveTo>
                <a:lnTo>
                  <a:pt x="1932" y="1146"/>
                </a:lnTo>
                <a:lnTo>
                  <a:pt x="1920" y="1134"/>
                </a:lnTo>
                <a:lnTo>
                  <a:pt x="1890" y="1134"/>
                </a:lnTo>
                <a:lnTo>
                  <a:pt x="1884" y="1140"/>
                </a:lnTo>
                <a:lnTo>
                  <a:pt x="1872" y="1146"/>
                </a:lnTo>
                <a:lnTo>
                  <a:pt x="1866" y="1152"/>
                </a:lnTo>
                <a:lnTo>
                  <a:pt x="1860" y="1140"/>
                </a:lnTo>
                <a:lnTo>
                  <a:pt x="1836" y="1116"/>
                </a:lnTo>
                <a:lnTo>
                  <a:pt x="1824" y="1116"/>
                </a:lnTo>
                <a:lnTo>
                  <a:pt x="1800" y="1128"/>
                </a:lnTo>
                <a:lnTo>
                  <a:pt x="1764" y="1164"/>
                </a:lnTo>
                <a:lnTo>
                  <a:pt x="1728" y="1158"/>
                </a:lnTo>
                <a:lnTo>
                  <a:pt x="1716" y="1176"/>
                </a:lnTo>
                <a:lnTo>
                  <a:pt x="1746" y="1176"/>
                </a:lnTo>
                <a:lnTo>
                  <a:pt x="1752" y="1182"/>
                </a:lnTo>
                <a:lnTo>
                  <a:pt x="1764" y="1182"/>
                </a:lnTo>
                <a:lnTo>
                  <a:pt x="1776" y="1188"/>
                </a:lnTo>
                <a:lnTo>
                  <a:pt x="1788" y="1188"/>
                </a:lnTo>
                <a:lnTo>
                  <a:pt x="1794" y="1182"/>
                </a:lnTo>
                <a:lnTo>
                  <a:pt x="1806" y="1176"/>
                </a:lnTo>
                <a:lnTo>
                  <a:pt x="1812" y="1170"/>
                </a:lnTo>
                <a:lnTo>
                  <a:pt x="1908" y="1164"/>
                </a:lnTo>
                <a:lnTo>
                  <a:pt x="1956" y="1158"/>
                </a:lnTo>
                <a:lnTo>
                  <a:pt x="1992" y="1128"/>
                </a:lnTo>
                <a:lnTo>
                  <a:pt x="1992" y="1110"/>
                </a:lnTo>
                <a:lnTo>
                  <a:pt x="1962" y="1122"/>
                </a:lnTo>
                <a:close/>
                <a:moveTo>
                  <a:pt x="1578" y="1158"/>
                </a:moveTo>
                <a:lnTo>
                  <a:pt x="1566" y="1152"/>
                </a:lnTo>
                <a:lnTo>
                  <a:pt x="1560" y="1146"/>
                </a:lnTo>
                <a:lnTo>
                  <a:pt x="1548" y="1140"/>
                </a:lnTo>
                <a:lnTo>
                  <a:pt x="1536" y="1140"/>
                </a:lnTo>
                <a:lnTo>
                  <a:pt x="1512" y="1164"/>
                </a:lnTo>
                <a:lnTo>
                  <a:pt x="1506" y="1176"/>
                </a:lnTo>
                <a:lnTo>
                  <a:pt x="1500" y="1182"/>
                </a:lnTo>
                <a:lnTo>
                  <a:pt x="1554" y="1188"/>
                </a:lnTo>
                <a:lnTo>
                  <a:pt x="1554" y="1212"/>
                </a:lnTo>
                <a:lnTo>
                  <a:pt x="1578" y="1206"/>
                </a:lnTo>
                <a:lnTo>
                  <a:pt x="1590" y="1188"/>
                </a:lnTo>
                <a:lnTo>
                  <a:pt x="1614" y="1206"/>
                </a:lnTo>
                <a:lnTo>
                  <a:pt x="1644" y="1170"/>
                </a:lnTo>
                <a:lnTo>
                  <a:pt x="1596" y="1152"/>
                </a:lnTo>
                <a:lnTo>
                  <a:pt x="1578" y="1158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spcBef>
                <a:spcPct val="0"/>
              </a:spcBef>
            </a:pPr>
            <a:endParaRPr lang="de-DE" sz="2133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7" name="TextBox 756">
            <a:extLst>
              <a:ext uri="{FF2B5EF4-FFF2-40B4-BE49-F238E27FC236}">
                <a16:creationId xmlns:a16="http://schemas.microsoft.com/office/drawing/2014/main" id="{C8EA5712-5BEF-7894-909B-27CDF37C772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49095" y="5786513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ingapore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8" name="TextBox 757">
            <a:extLst>
              <a:ext uri="{FF2B5EF4-FFF2-40B4-BE49-F238E27FC236}">
                <a16:creationId xmlns:a16="http://schemas.microsoft.com/office/drawing/2014/main" id="{54556443-9148-4FA4-F7A1-94D96C09A99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99127" y="5627044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uala Lumpur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59" name="Rectangle 758">
            <a:extLst>
              <a:ext uri="{FF2B5EF4-FFF2-40B4-BE49-F238E27FC236}">
                <a16:creationId xmlns:a16="http://schemas.microsoft.com/office/drawing/2014/main" id="{F8AF7C65-6A9F-C26B-325D-F3941B98FB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53103" y="636961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8BCA0C99-59EF-0B26-3B92-2692054BCB2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38081" y="632364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Jakart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1" name="TextBox 760">
            <a:extLst>
              <a:ext uri="{FF2B5EF4-FFF2-40B4-BE49-F238E27FC236}">
                <a16:creationId xmlns:a16="http://schemas.microsoft.com/office/drawing/2014/main" id="{2727C9D3-922A-1550-3F1E-54107A45DAD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22003" y="505895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o Chi Minh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2" name="TextBox 761">
            <a:extLst>
              <a:ext uri="{FF2B5EF4-FFF2-40B4-BE49-F238E27FC236}">
                <a16:creationId xmlns:a16="http://schemas.microsoft.com/office/drawing/2014/main" id="{83EA38BF-F09C-A43B-7745-747EFD86379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343116" y="4876289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anil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3" name="TextBox 762">
            <a:extLst>
              <a:ext uri="{FF2B5EF4-FFF2-40B4-BE49-F238E27FC236}">
                <a16:creationId xmlns:a16="http://schemas.microsoft.com/office/drawing/2014/main" id="{6E15A1E3-4291-4B17-9BC2-5FA18DC51E2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59421" y="4306582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ong Ko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4" name="TextBox 763">
            <a:extLst>
              <a:ext uri="{FF2B5EF4-FFF2-40B4-BE49-F238E27FC236}">
                <a16:creationId xmlns:a16="http://schemas.microsoft.com/office/drawing/2014/main" id="{D72CE62D-0251-1F93-CD5A-A63960D01B4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09694" y="4467900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ipho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5" name="TextBox 764">
            <a:extLst>
              <a:ext uri="{FF2B5EF4-FFF2-40B4-BE49-F238E27FC236}">
                <a16:creationId xmlns:a16="http://schemas.microsoft.com/office/drawing/2014/main" id="{C46F5C41-8CC4-B41D-B61E-F988EB42B9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799547" y="3903876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Ningb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66" name="Rectangle: Rounded Corners 765">
            <a:extLst>
              <a:ext uri="{FF2B5EF4-FFF2-40B4-BE49-F238E27FC236}">
                <a16:creationId xmlns:a16="http://schemas.microsoft.com/office/drawing/2014/main" id="{E7525DF6-C909-4D95-1698-8DECD63CD4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254598" y="2623361"/>
            <a:ext cx="149465" cy="14169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1</a:t>
            </a:r>
          </a:p>
        </p:txBody>
      </p:sp>
      <p:sp>
        <p:nvSpPr>
          <p:cNvPr id="767" name="Rectangle: Rounded Corners 766">
            <a:extLst>
              <a:ext uri="{FF2B5EF4-FFF2-40B4-BE49-F238E27FC236}">
                <a16:creationId xmlns:a16="http://schemas.microsoft.com/office/drawing/2014/main" id="{1550AEF5-E2E3-4192-23CD-9333D3B1FF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287755" y="4869625"/>
            <a:ext cx="149465" cy="14169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2</a:t>
            </a:r>
          </a:p>
        </p:txBody>
      </p:sp>
      <p:sp>
        <p:nvSpPr>
          <p:cNvPr id="768" name="Rectangle: Rounded Corners 767">
            <a:extLst>
              <a:ext uri="{FF2B5EF4-FFF2-40B4-BE49-F238E27FC236}">
                <a16:creationId xmlns:a16="http://schemas.microsoft.com/office/drawing/2014/main" id="{E5270EF4-23ED-24AD-D6FF-D6B6C7A722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646832" y="3161618"/>
            <a:ext cx="149465" cy="141698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3</a:t>
            </a:r>
          </a:p>
        </p:txBody>
      </p:sp>
      <p:sp>
        <p:nvSpPr>
          <p:cNvPr id="769" name="Rectangle: Rounded Corners 768">
            <a:extLst>
              <a:ext uri="{FF2B5EF4-FFF2-40B4-BE49-F238E27FC236}">
                <a16:creationId xmlns:a16="http://schemas.microsoft.com/office/drawing/2014/main" id="{0C007605-6A6B-6573-4ACF-4DD63B652B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827016" y="4876951"/>
            <a:ext cx="149465" cy="141698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4</a:t>
            </a:r>
          </a:p>
        </p:txBody>
      </p:sp>
      <p:sp>
        <p:nvSpPr>
          <p:cNvPr id="770" name="TextBox 769">
            <a:extLst>
              <a:ext uri="{FF2B5EF4-FFF2-40B4-BE49-F238E27FC236}">
                <a16:creationId xmlns:a16="http://schemas.microsoft.com/office/drawing/2014/main" id="{861AD864-D871-E760-9B71-D8F795D4B8D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14660" y="3760530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hangha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1" name="TextBox 770">
            <a:extLst>
              <a:ext uri="{FF2B5EF4-FFF2-40B4-BE49-F238E27FC236}">
                <a16:creationId xmlns:a16="http://schemas.microsoft.com/office/drawing/2014/main" id="{93CEB284-8CAF-D0B7-B4CE-96147E7E775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104598" y="341796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okyo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1D84FCB0-7EA8-E237-817E-D963E5C29D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358779" y="296451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92D6F66D-65A6-0A4C-ED61-3C92F751158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435997" y="2908956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Vladivosto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01A8F913-BB18-325B-D8F4-747BE2734E8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75732" y="3125654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ali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5" name="Rectangle 774">
            <a:extLst>
              <a:ext uri="{FF2B5EF4-FFF2-40B4-BE49-F238E27FC236}">
                <a16:creationId xmlns:a16="http://schemas.microsoft.com/office/drawing/2014/main" id="{18ACB595-DB0F-DA4E-35D5-B856083D4D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626554" y="322710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76" name="TextBox 775">
            <a:extLst>
              <a:ext uri="{FF2B5EF4-FFF2-40B4-BE49-F238E27FC236}">
                <a16:creationId xmlns:a16="http://schemas.microsoft.com/office/drawing/2014/main" id="{291D25A2-2EA3-321C-7407-E6AD8EB2D7B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50324" y="3175181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ianji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7" name="TextBox 776">
            <a:extLst>
              <a:ext uri="{FF2B5EF4-FFF2-40B4-BE49-F238E27FC236}">
                <a16:creationId xmlns:a16="http://schemas.microsoft.com/office/drawing/2014/main" id="{0F0F1145-2B18-C1E0-70CB-92787E67516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14058" y="2991818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eiji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8" name="TextBox 777">
            <a:extLst>
              <a:ext uri="{FF2B5EF4-FFF2-40B4-BE49-F238E27FC236}">
                <a16:creationId xmlns:a16="http://schemas.microsoft.com/office/drawing/2014/main" id="{CF42347A-9E24-FA21-D42B-433F8BA3F46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28794" y="4338615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aohsiu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3F418E7F-672C-88FE-8E69-B6AD92CAF2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47145" y="439200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80" name="TextBox 779">
            <a:extLst>
              <a:ext uri="{FF2B5EF4-FFF2-40B4-BE49-F238E27FC236}">
                <a16:creationId xmlns:a16="http://schemas.microsoft.com/office/drawing/2014/main" id="{6B8BB368-BC36-E074-994E-BC665536FD8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495568" y="4568275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Балтий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2D8AF4B1-B94D-1CE5-722D-A32648883D7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643462" y="3731174"/>
            <a:ext cx="975872" cy="314301"/>
          </a:xfrm>
          <a:custGeom>
            <a:avLst/>
            <a:gdLst>
              <a:gd name="connsiteX0" fmla="*/ 975872 w 975872"/>
              <a:gd name="connsiteY0" fmla="*/ 0 h 314301"/>
              <a:gd name="connsiteX1" fmla="*/ 545567 w 975872"/>
              <a:gd name="connsiteY1" fmla="*/ 307362 h 314301"/>
              <a:gd name="connsiteX2" fmla="*/ 0 w 975872"/>
              <a:gd name="connsiteY2" fmla="*/ 184417 h 31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5872" h="314301">
                <a:moveTo>
                  <a:pt x="975872" y="0"/>
                </a:moveTo>
                <a:cubicBezTo>
                  <a:pt x="842042" y="138313"/>
                  <a:pt x="708212" y="276626"/>
                  <a:pt x="545567" y="307362"/>
                </a:cubicBezTo>
                <a:cubicBezTo>
                  <a:pt x="382922" y="338098"/>
                  <a:pt x="191461" y="261257"/>
                  <a:pt x="0" y="184417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55A0E3CD-24D2-2B4E-ADB6-EDDA7AC8F1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94077" y="3540034"/>
            <a:ext cx="780505" cy="387245"/>
          </a:xfrm>
          <a:custGeom>
            <a:avLst/>
            <a:gdLst>
              <a:gd name="connsiteX0" fmla="*/ 780505 w 780505"/>
              <a:gd name="connsiteY0" fmla="*/ 0 h 387245"/>
              <a:gd name="connsiteX1" fmla="*/ 627017 w 780505"/>
              <a:gd name="connsiteY1" fmla="*/ 369026 h 387245"/>
              <a:gd name="connsiteX2" fmla="*/ 0 w 780505"/>
              <a:gd name="connsiteY2" fmla="*/ 297180 h 38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0505" h="387245">
                <a:moveTo>
                  <a:pt x="780505" y="0"/>
                </a:moveTo>
                <a:cubicBezTo>
                  <a:pt x="768803" y="159748"/>
                  <a:pt x="757101" y="319496"/>
                  <a:pt x="627017" y="369026"/>
                </a:cubicBezTo>
                <a:cubicBezTo>
                  <a:pt x="496933" y="418556"/>
                  <a:pt x="248466" y="357868"/>
                  <a:pt x="0" y="29718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3" name="Freeform: Shape 782">
            <a:extLst>
              <a:ext uri="{FF2B5EF4-FFF2-40B4-BE49-F238E27FC236}">
                <a16:creationId xmlns:a16="http://schemas.microsoft.com/office/drawing/2014/main" id="{D85DC45B-D0CA-4B6B-4045-BEE738F33F8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35805" y="4644390"/>
            <a:ext cx="1872815" cy="1152478"/>
          </a:xfrm>
          <a:custGeom>
            <a:avLst/>
            <a:gdLst>
              <a:gd name="connsiteX0" fmla="*/ 150695 w 1872815"/>
              <a:gd name="connsiteY0" fmla="*/ 0 h 1152478"/>
              <a:gd name="connsiteX1" fmla="*/ 5915 w 1872815"/>
              <a:gd name="connsiteY1" fmla="*/ 304800 h 1152478"/>
              <a:gd name="connsiteX2" fmla="*/ 93545 w 1872815"/>
              <a:gd name="connsiteY2" fmla="*/ 826770 h 1152478"/>
              <a:gd name="connsiteX3" fmla="*/ 661235 w 1872815"/>
              <a:gd name="connsiteY3" fmla="*/ 1150620 h 1152478"/>
              <a:gd name="connsiteX4" fmla="*/ 1388945 w 1872815"/>
              <a:gd name="connsiteY4" fmla="*/ 956310 h 1152478"/>
              <a:gd name="connsiteX5" fmla="*/ 1575635 w 1872815"/>
              <a:gd name="connsiteY5" fmla="*/ 891540 h 1152478"/>
              <a:gd name="connsiteX6" fmla="*/ 1872815 w 1872815"/>
              <a:gd name="connsiteY6" fmla="*/ 994410 h 1152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2815" h="1152478">
                <a:moveTo>
                  <a:pt x="150695" y="0"/>
                </a:moveTo>
                <a:cubicBezTo>
                  <a:pt x="83067" y="83502"/>
                  <a:pt x="15440" y="167005"/>
                  <a:pt x="5915" y="304800"/>
                </a:cubicBezTo>
                <a:cubicBezTo>
                  <a:pt x="-3610" y="442595"/>
                  <a:pt x="-15675" y="685800"/>
                  <a:pt x="93545" y="826770"/>
                </a:cubicBezTo>
                <a:cubicBezTo>
                  <a:pt x="202765" y="967740"/>
                  <a:pt x="445335" y="1129030"/>
                  <a:pt x="661235" y="1150620"/>
                </a:cubicBezTo>
                <a:cubicBezTo>
                  <a:pt x="877135" y="1172210"/>
                  <a:pt x="1236545" y="999490"/>
                  <a:pt x="1388945" y="956310"/>
                </a:cubicBezTo>
                <a:cubicBezTo>
                  <a:pt x="1541345" y="913130"/>
                  <a:pt x="1494990" y="885190"/>
                  <a:pt x="1575635" y="891540"/>
                </a:cubicBezTo>
                <a:cubicBezTo>
                  <a:pt x="1656280" y="897890"/>
                  <a:pt x="1764547" y="946150"/>
                  <a:pt x="1872815" y="99441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792185C3-61DB-6819-76C3-04B99F2BE7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43025" y="3276600"/>
            <a:ext cx="3148079" cy="2787676"/>
          </a:xfrm>
          <a:custGeom>
            <a:avLst/>
            <a:gdLst>
              <a:gd name="connsiteX0" fmla="*/ 151095 w 3148079"/>
              <a:gd name="connsiteY0" fmla="*/ 1375410 h 2787676"/>
              <a:gd name="connsiteX1" fmla="*/ 25365 w 3148079"/>
              <a:gd name="connsiteY1" fmla="*/ 1615440 h 2787676"/>
              <a:gd name="connsiteX2" fmla="*/ 63465 w 3148079"/>
              <a:gd name="connsiteY2" fmla="*/ 2167890 h 2787676"/>
              <a:gd name="connsiteX3" fmla="*/ 646395 w 3148079"/>
              <a:gd name="connsiteY3" fmla="*/ 2548890 h 2787676"/>
              <a:gd name="connsiteX4" fmla="*/ 1416015 w 3148079"/>
              <a:gd name="connsiteY4" fmla="*/ 2286000 h 2787676"/>
              <a:gd name="connsiteX5" fmla="*/ 1808445 w 3148079"/>
              <a:gd name="connsiteY5" fmla="*/ 2282190 h 2787676"/>
              <a:gd name="connsiteX6" fmla="*/ 1945605 w 3148079"/>
              <a:gd name="connsiteY6" fmla="*/ 2503170 h 2787676"/>
              <a:gd name="connsiteX7" fmla="*/ 2170395 w 3148079"/>
              <a:gd name="connsiteY7" fmla="*/ 2663190 h 2787676"/>
              <a:gd name="connsiteX8" fmla="*/ 2360895 w 3148079"/>
              <a:gd name="connsiteY8" fmla="*/ 2613660 h 2787676"/>
              <a:gd name="connsiteX9" fmla="*/ 3145755 w 3148079"/>
              <a:gd name="connsiteY9" fmla="*/ 567690 h 2787676"/>
              <a:gd name="connsiteX10" fmla="*/ 2555205 w 3148079"/>
              <a:gd name="connsiteY10" fmla="*/ 0 h 2787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148079" h="2787676">
                <a:moveTo>
                  <a:pt x="151095" y="1375410"/>
                </a:moveTo>
                <a:cubicBezTo>
                  <a:pt x="95532" y="1429385"/>
                  <a:pt x="39970" y="1483360"/>
                  <a:pt x="25365" y="1615440"/>
                </a:cubicBezTo>
                <a:cubicBezTo>
                  <a:pt x="10760" y="1747520"/>
                  <a:pt x="-40040" y="2012315"/>
                  <a:pt x="63465" y="2167890"/>
                </a:cubicBezTo>
                <a:cubicBezTo>
                  <a:pt x="166970" y="2323465"/>
                  <a:pt x="420970" y="2529205"/>
                  <a:pt x="646395" y="2548890"/>
                </a:cubicBezTo>
                <a:cubicBezTo>
                  <a:pt x="871820" y="2568575"/>
                  <a:pt x="1222340" y="2330450"/>
                  <a:pt x="1416015" y="2286000"/>
                </a:cubicBezTo>
                <a:cubicBezTo>
                  <a:pt x="1609690" y="2241550"/>
                  <a:pt x="1720180" y="2245995"/>
                  <a:pt x="1808445" y="2282190"/>
                </a:cubicBezTo>
                <a:cubicBezTo>
                  <a:pt x="1896710" y="2318385"/>
                  <a:pt x="1885280" y="2439670"/>
                  <a:pt x="1945605" y="2503170"/>
                </a:cubicBezTo>
                <a:cubicBezTo>
                  <a:pt x="2005930" y="2566670"/>
                  <a:pt x="2101180" y="2644775"/>
                  <a:pt x="2170395" y="2663190"/>
                </a:cubicBezTo>
                <a:cubicBezTo>
                  <a:pt x="2239610" y="2681605"/>
                  <a:pt x="2198335" y="2962910"/>
                  <a:pt x="2360895" y="2613660"/>
                </a:cubicBezTo>
                <a:cubicBezTo>
                  <a:pt x="2523455" y="2264410"/>
                  <a:pt x="3113370" y="1003300"/>
                  <a:pt x="3145755" y="567690"/>
                </a:cubicBezTo>
                <a:cubicBezTo>
                  <a:pt x="3178140" y="132080"/>
                  <a:pt x="2866672" y="66040"/>
                  <a:pt x="2555205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5D568416-8B91-DBE0-DA50-26FDC264C9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73051" y="5547360"/>
            <a:ext cx="187819" cy="255270"/>
          </a:xfrm>
          <a:custGeom>
            <a:avLst/>
            <a:gdLst>
              <a:gd name="connsiteX0" fmla="*/ 187819 w 187819"/>
              <a:gd name="connsiteY0" fmla="*/ 255270 h 255270"/>
              <a:gd name="connsiteX1" fmla="*/ 12559 w 187819"/>
              <a:gd name="connsiteY1" fmla="*/ 167640 h 255270"/>
              <a:gd name="connsiteX2" fmla="*/ 27799 w 187819"/>
              <a:gd name="connsiteY2" fmla="*/ 0 h 255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819" h="255270">
                <a:moveTo>
                  <a:pt x="187819" y="255270"/>
                </a:moveTo>
                <a:cubicBezTo>
                  <a:pt x="113524" y="232727"/>
                  <a:pt x="39229" y="210185"/>
                  <a:pt x="12559" y="167640"/>
                </a:cubicBezTo>
                <a:cubicBezTo>
                  <a:pt x="-14111" y="125095"/>
                  <a:pt x="6844" y="62547"/>
                  <a:pt x="27799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20D48CD8-2ADB-1BCB-1C94-46C52CAD75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85219" y="5284470"/>
            <a:ext cx="296581" cy="422910"/>
          </a:xfrm>
          <a:custGeom>
            <a:avLst/>
            <a:gdLst>
              <a:gd name="connsiteX0" fmla="*/ 296581 w 296581"/>
              <a:gd name="connsiteY0" fmla="*/ 422910 h 422910"/>
              <a:gd name="connsiteX1" fmla="*/ 18451 w 296581"/>
              <a:gd name="connsiteY1" fmla="*/ 251460 h 422910"/>
              <a:gd name="connsiteX2" fmla="*/ 48931 w 296581"/>
              <a:gd name="connsiteY2" fmla="*/ 0 h 422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6581" h="422910">
                <a:moveTo>
                  <a:pt x="296581" y="422910"/>
                </a:moveTo>
                <a:cubicBezTo>
                  <a:pt x="178153" y="372427"/>
                  <a:pt x="59726" y="321945"/>
                  <a:pt x="18451" y="251460"/>
                </a:cubicBezTo>
                <a:cubicBezTo>
                  <a:pt x="-22824" y="180975"/>
                  <a:pt x="13053" y="90487"/>
                  <a:pt x="48931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7" name="Freeform: Shape 786">
            <a:extLst>
              <a:ext uri="{FF2B5EF4-FFF2-40B4-BE49-F238E27FC236}">
                <a16:creationId xmlns:a16="http://schemas.microsoft.com/office/drawing/2014/main" id="{25DEA7FB-35EB-D19B-B907-92D03042C6A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804660" y="5067300"/>
            <a:ext cx="845820" cy="476250"/>
          </a:xfrm>
          <a:custGeom>
            <a:avLst/>
            <a:gdLst>
              <a:gd name="connsiteX0" fmla="*/ 845820 w 845820"/>
              <a:gd name="connsiteY0" fmla="*/ 476250 h 476250"/>
              <a:gd name="connsiteX1" fmla="*/ 556260 w 845820"/>
              <a:gd name="connsiteY1" fmla="*/ 217170 h 476250"/>
              <a:gd name="connsiteX2" fmla="*/ 0 w 845820"/>
              <a:gd name="connsiteY2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5820" h="476250">
                <a:moveTo>
                  <a:pt x="845820" y="476250"/>
                </a:moveTo>
                <a:cubicBezTo>
                  <a:pt x="771525" y="386397"/>
                  <a:pt x="697230" y="296545"/>
                  <a:pt x="556260" y="217170"/>
                </a:cubicBezTo>
                <a:cubicBezTo>
                  <a:pt x="415290" y="137795"/>
                  <a:pt x="207645" y="68897"/>
                  <a:pt x="0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B92CC791-2A36-05A9-14AF-5569A611DA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086600" y="4579620"/>
            <a:ext cx="308610" cy="723900"/>
          </a:xfrm>
          <a:custGeom>
            <a:avLst/>
            <a:gdLst>
              <a:gd name="connsiteX0" fmla="*/ 308610 w 308610"/>
              <a:gd name="connsiteY0" fmla="*/ 723900 h 723900"/>
              <a:gd name="connsiteX1" fmla="*/ 60960 w 308610"/>
              <a:gd name="connsiteY1" fmla="*/ 339090 h 723900"/>
              <a:gd name="connsiteX2" fmla="*/ 0 w 308610"/>
              <a:gd name="connsiteY2" fmla="*/ 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8610" h="723900">
                <a:moveTo>
                  <a:pt x="308610" y="723900"/>
                </a:moveTo>
                <a:cubicBezTo>
                  <a:pt x="210502" y="591820"/>
                  <a:pt x="112395" y="459740"/>
                  <a:pt x="60960" y="339090"/>
                </a:cubicBezTo>
                <a:cubicBezTo>
                  <a:pt x="9525" y="218440"/>
                  <a:pt x="4762" y="109220"/>
                  <a:pt x="0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B517D76B-A1A8-4723-55FE-B2EA456324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98180" y="5886450"/>
            <a:ext cx="30480" cy="60960"/>
          </a:xfrm>
          <a:custGeom>
            <a:avLst/>
            <a:gdLst>
              <a:gd name="connsiteX0" fmla="*/ 30480 w 30480"/>
              <a:gd name="connsiteY0" fmla="*/ 60960 h 60960"/>
              <a:gd name="connsiteX1" fmla="*/ 0 w 30480"/>
              <a:gd name="connsiteY1" fmla="*/ 0 h 60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480" h="60960">
                <a:moveTo>
                  <a:pt x="30480" y="60960"/>
                </a:moveTo>
                <a:lnTo>
                  <a:pt x="0" y="0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0" name="Rectangle 789">
            <a:extLst>
              <a:ext uri="{FF2B5EF4-FFF2-40B4-BE49-F238E27FC236}">
                <a16:creationId xmlns:a16="http://schemas.microsoft.com/office/drawing/2014/main" id="{9BBC4218-A40F-5FB9-3EB6-DE3017D4F0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69701" y="583634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8F8958BA-644A-4871-B21C-6620ABFE0FC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93845" y="5711190"/>
            <a:ext cx="26694" cy="91440"/>
          </a:xfrm>
          <a:custGeom>
            <a:avLst/>
            <a:gdLst>
              <a:gd name="connsiteX0" fmla="*/ 22884 w 26694"/>
              <a:gd name="connsiteY0" fmla="*/ 91440 h 91440"/>
              <a:gd name="connsiteX1" fmla="*/ 24 w 26694"/>
              <a:gd name="connsiteY1" fmla="*/ 38100 h 91440"/>
              <a:gd name="connsiteX2" fmla="*/ 26694 w 26694"/>
              <a:gd name="connsiteY2" fmla="*/ 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694" h="91440">
                <a:moveTo>
                  <a:pt x="22884" y="91440"/>
                </a:moveTo>
                <a:cubicBezTo>
                  <a:pt x="11136" y="72390"/>
                  <a:pt x="-611" y="53340"/>
                  <a:pt x="24" y="38100"/>
                </a:cubicBezTo>
                <a:cubicBezTo>
                  <a:pt x="659" y="22860"/>
                  <a:pt x="13676" y="11430"/>
                  <a:pt x="26694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2" name="Rectangle 791">
            <a:extLst>
              <a:ext uri="{FF2B5EF4-FFF2-40B4-BE49-F238E27FC236}">
                <a16:creationId xmlns:a16="http://schemas.microsoft.com/office/drawing/2014/main" id="{E548ED14-10CE-8C2A-2C22-3A81F3BFF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18689" y="567214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3" name="Rectangle 792">
            <a:extLst>
              <a:ext uri="{FF2B5EF4-FFF2-40B4-BE49-F238E27FC236}">
                <a16:creationId xmlns:a16="http://schemas.microsoft.com/office/drawing/2014/main" id="{E25A1351-D694-B3D8-19A1-E261241767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042323" y="452056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4" name="Rectangle 793">
            <a:extLst>
              <a:ext uri="{FF2B5EF4-FFF2-40B4-BE49-F238E27FC236}">
                <a16:creationId xmlns:a16="http://schemas.microsoft.com/office/drawing/2014/main" id="{82293552-5013-0877-97DA-9FD80B3A87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41868" y="502943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5" name="Rectangle 794">
            <a:extLst>
              <a:ext uri="{FF2B5EF4-FFF2-40B4-BE49-F238E27FC236}">
                <a16:creationId xmlns:a16="http://schemas.microsoft.com/office/drawing/2014/main" id="{EAF308F6-5854-2731-5347-84764B0527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529946" y="522920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6" name="Rectangle 795">
            <a:extLst>
              <a:ext uri="{FF2B5EF4-FFF2-40B4-BE49-F238E27FC236}">
                <a16:creationId xmlns:a16="http://schemas.microsoft.com/office/drawing/2014/main" id="{E713BE65-0C2A-C174-C48A-44746FFB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791726" y="548625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797" name="Freeform: Shape 796">
            <a:extLst>
              <a:ext uri="{FF2B5EF4-FFF2-40B4-BE49-F238E27FC236}">
                <a16:creationId xmlns:a16="http://schemas.microsoft.com/office/drawing/2014/main" id="{32F6FAF0-2D40-F61F-A47B-4B1E976053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82489" y="5265420"/>
            <a:ext cx="308610" cy="144819"/>
          </a:xfrm>
          <a:custGeom>
            <a:avLst/>
            <a:gdLst>
              <a:gd name="connsiteX0" fmla="*/ 308610 w 308610"/>
              <a:gd name="connsiteY0" fmla="*/ 0 h 144819"/>
              <a:gd name="connsiteX1" fmla="*/ 133350 w 308610"/>
              <a:gd name="connsiteY1" fmla="*/ 144780 h 144819"/>
              <a:gd name="connsiteX2" fmla="*/ 0 w 308610"/>
              <a:gd name="connsiteY2" fmla="*/ 11430 h 14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8610" h="144819">
                <a:moveTo>
                  <a:pt x="308610" y="0"/>
                </a:moveTo>
                <a:cubicBezTo>
                  <a:pt x="246697" y="71437"/>
                  <a:pt x="184785" y="142875"/>
                  <a:pt x="133350" y="144780"/>
                </a:cubicBezTo>
                <a:cubicBezTo>
                  <a:pt x="81915" y="146685"/>
                  <a:pt x="40957" y="79057"/>
                  <a:pt x="0" y="1143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8" name="Freeform: Shape 797">
            <a:extLst>
              <a:ext uri="{FF2B5EF4-FFF2-40B4-BE49-F238E27FC236}">
                <a16:creationId xmlns:a16="http://schemas.microsoft.com/office/drawing/2014/main" id="{321278A3-ED39-A269-11EF-1B2D4324CF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30528" y="5046821"/>
            <a:ext cx="674370" cy="563776"/>
          </a:xfrm>
          <a:custGeom>
            <a:avLst/>
            <a:gdLst>
              <a:gd name="connsiteX0" fmla="*/ 674370 w 674370"/>
              <a:gd name="connsiteY0" fmla="*/ 411480 h 563776"/>
              <a:gd name="connsiteX1" fmla="*/ 430530 w 674370"/>
              <a:gd name="connsiteY1" fmla="*/ 541020 h 563776"/>
              <a:gd name="connsiteX2" fmla="*/ 0 w 674370"/>
              <a:gd name="connsiteY2" fmla="*/ 0 h 563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74370" h="563776">
                <a:moveTo>
                  <a:pt x="674370" y="411480"/>
                </a:moveTo>
                <a:cubicBezTo>
                  <a:pt x="608647" y="510540"/>
                  <a:pt x="542925" y="609600"/>
                  <a:pt x="430530" y="541020"/>
                </a:cubicBezTo>
                <a:cubicBezTo>
                  <a:pt x="318135" y="472440"/>
                  <a:pt x="159067" y="236220"/>
                  <a:pt x="0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9" name="Rectangle 798">
            <a:extLst>
              <a:ext uri="{FF2B5EF4-FFF2-40B4-BE49-F238E27FC236}">
                <a16:creationId xmlns:a16="http://schemas.microsoft.com/office/drawing/2014/main" id="{79491C20-3121-8609-A9AA-9A8F9E554E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06443" y="498169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1EEA6FDA-F25B-34E3-3127-67621539B85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008536" y="4680970"/>
            <a:ext cx="263385" cy="284269"/>
          </a:xfrm>
          <a:custGeom>
            <a:avLst/>
            <a:gdLst>
              <a:gd name="connsiteX0" fmla="*/ 26494 w 263385"/>
              <a:gd name="connsiteY0" fmla="*/ 0 h 284269"/>
              <a:gd name="connsiteX1" fmla="*/ 21756 w 263385"/>
              <a:gd name="connsiteY1" fmla="*/ 227415 h 284269"/>
              <a:gd name="connsiteX2" fmla="*/ 263385 w 263385"/>
              <a:gd name="connsiteY2" fmla="*/ 284269 h 284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3385" h="284269">
                <a:moveTo>
                  <a:pt x="26494" y="0"/>
                </a:moveTo>
                <a:cubicBezTo>
                  <a:pt x="4384" y="90018"/>
                  <a:pt x="-17726" y="180037"/>
                  <a:pt x="21756" y="227415"/>
                </a:cubicBezTo>
                <a:cubicBezTo>
                  <a:pt x="61238" y="274793"/>
                  <a:pt x="162311" y="279531"/>
                  <a:pt x="263385" y="284269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3D1E5156-A623-41E6-9FA0-28E4813E18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97805" y="4586213"/>
            <a:ext cx="568539" cy="365143"/>
          </a:xfrm>
          <a:custGeom>
            <a:avLst/>
            <a:gdLst>
              <a:gd name="connsiteX0" fmla="*/ 568539 w 568539"/>
              <a:gd name="connsiteY0" fmla="*/ 265319 h 365143"/>
              <a:gd name="connsiteX1" fmla="*/ 374288 w 568539"/>
              <a:gd name="connsiteY1" fmla="*/ 350599 h 365143"/>
              <a:gd name="connsiteX2" fmla="*/ 0 w 568539"/>
              <a:gd name="connsiteY2" fmla="*/ 0 h 365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8539" h="365143">
                <a:moveTo>
                  <a:pt x="568539" y="265319"/>
                </a:moveTo>
                <a:cubicBezTo>
                  <a:pt x="518791" y="330069"/>
                  <a:pt x="469044" y="394819"/>
                  <a:pt x="374288" y="350599"/>
                </a:cubicBezTo>
                <a:cubicBezTo>
                  <a:pt x="279531" y="306379"/>
                  <a:pt x="139765" y="153189"/>
                  <a:pt x="0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2" name="Freeform: Shape 801">
            <a:extLst>
              <a:ext uri="{FF2B5EF4-FFF2-40B4-BE49-F238E27FC236}">
                <a16:creationId xmlns:a16="http://schemas.microsoft.com/office/drawing/2014/main" id="{C67C8E63-5192-57DD-9A91-7084D61F576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48953" y="4396701"/>
            <a:ext cx="293745" cy="147228"/>
          </a:xfrm>
          <a:custGeom>
            <a:avLst/>
            <a:gdLst>
              <a:gd name="connsiteX0" fmla="*/ 293745 w 293745"/>
              <a:gd name="connsiteY0" fmla="*/ 0 h 147228"/>
              <a:gd name="connsiteX1" fmla="*/ 170562 w 293745"/>
              <a:gd name="connsiteY1" fmla="*/ 146872 h 147228"/>
              <a:gd name="connsiteX2" fmla="*/ 0 w 293745"/>
              <a:gd name="connsiteY2" fmla="*/ 33164 h 1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3745" h="147228">
                <a:moveTo>
                  <a:pt x="293745" y="0"/>
                </a:moveTo>
                <a:cubicBezTo>
                  <a:pt x="256632" y="70672"/>
                  <a:pt x="219519" y="141345"/>
                  <a:pt x="170562" y="146872"/>
                </a:cubicBezTo>
                <a:cubicBezTo>
                  <a:pt x="121604" y="152399"/>
                  <a:pt x="60802" y="92781"/>
                  <a:pt x="0" y="33164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3" name="Rectangle 802">
            <a:extLst>
              <a:ext uri="{FF2B5EF4-FFF2-40B4-BE49-F238E27FC236}">
                <a16:creationId xmlns:a16="http://schemas.microsoft.com/office/drawing/2014/main" id="{64F2907F-3C3A-8327-8371-8578E57E98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790044" y="436771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4" name="Rectangle 803">
            <a:extLst>
              <a:ext uri="{FF2B5EF4-FFF2-40B4-BE49-F238E27FC236}">
                <a16:creationId xmlns:a16="http://schemas.microsoft.com/office/drawing/2014/main" id="{438D1A09-C36B-7166-67C3-E7C44D027E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68993" y="492649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5" name="Rectangle 804">
            <a:extLst>
              <a:ext uri="{FF2B5EF4-FFF2-40B4-BE49-F238E27FC236}">
                <a16:creationId xmlns:a16="http://schemas.microsoft.com/office/drawing/2014/main" id="{5BD7C85C-FF5C-D5A4-FB7A-BBD337E1890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31634" y="452056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6" name="Rectangle 805">
            <a:extLst>
              <a:ext uri="{FF2B5EF4-FFF2-40B4-BE49-F238E27FC236}">
                <a16:creationId xmlns:a16="http://schemas.microsoft.com/office/drawing/2014/main" id="{ACB498A8-B484-F2CA-7BB0-53E742646C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40387" y="521152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7" name="Freeform: Shape 806">
            <a:extLst>
              <a:ext uri="{FF2B5EF4-FFF2-40B4-BE49-F238E27FC236}">
                <a16:creationId xmlns:a16="http://schemas.microsoft.com/office/drawing/2014/main" id="{F024E77A-7950-103B-9C81-8814210FAC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96116" y="3875540"/>
            <a:ext cx="90019" cy="60978"/>
          </a:xfrm>
          <a:custGeom>
            <a:avLst/>
            <a:gdLst>
              <a:gd name="connsiteX0" fmla="*/ 90019 w 90019"/>
              <a:gd name="connsiteY0" fmla="*/ 0 h 60978"/>
              <a:gd name="connsiteX1" fmla="*/ 56854 w 90019"/>
              <a:gd name="connsiteY1" fmla="*/ 56854 h 60978"/>
              <a:gd name="connsiteX2" fmla="*/ 0 w 90019"/>
              <a:gd name="connsiteY2" fmla="*/ 52116 h 6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019" h="60978">
                <a:moveTo>
                  <a:pt x="90019" y="0"/>
                </a:moveTo>
                <a:cubicBezTo>
                  <a:pt x="80938" y="24084"/>
                  <a:pt x="71857" y="48168"/>
                  <a:pt x="56854" y="56854"/>
                </a:cubicBezTo>
                <a:cubicBezTo>
                  <a:pt x="41851" y="65540"/>
                  <a:pt x="20925" y="58828"/>
                  <a:pt x="0" y="52116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8" name="Rectangle 807">
            <a:extLst>
              <a:ext uri="{FF2B5EF4-FFF2-40B4-BE49-F238E27FC236}">
                <a16:creationId xmlns:a16="http://schemas.microsoft.com/office/drawing/2014/main" id="{06C5DC37-4E77-4223-9C0D-A0DD52B561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021433" y="347334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09" name="Freeform: Shape 808">
            <a:extLst>
              <a:ext uri="{FF2B5EF4-FFF2-40B4-BE49-F238E27FC236}">
                <a16:creationId xmlns:a16="http://schemas.microsoft.com/office/drawing/2014/main" id="{4791D74A-A468-3695-AD27-E29BB8AA2C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09343" y="3734911"/>
            <a:ext cx="178615" cy="100267"/>
          </a:xfrm>
          <a:custGeom>
            <a:avLst/>
            <a:gdLst>
              <a:gd name="connsiteX0" fmla="*/ 178615 w 178615"/>
              <a:gd name="connsiteY0" fmla="*/ 0 h 100267"/>
              <a:gd name="connsiteX1" fmla="*/ 133295 w 178615"/>
              <a:gd name="connsiteY1" fmla="*/ 95972 h 100267"/>
              <a:gd name="connsiteX2" fmla="*/ 0 w 178615"/>
              <a:gd name="connsiteY2" fmla="*/ 74645 h 100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615" h="100267">
                <a:moveTo>
                  <a:pt x="178615" y="0"/>
                </a:moveTo>
                <a:cubicBezTo>
                  <a:pt x="170839" y="41765"/>
                  <a:pt x="163064" y="83531"/>
                  <a:pt x="133295" y="95972"/>
                </a:cubicBezTo>
                <a:cubicBezTo>
                  <a:pt x="103526" y="108413"/>
                  <a:pt x="51763" y="91529"/>
                  <a:pt x="0" y="74645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0" name="Freeform: Shape 809">
            <a:extLst>
              <a:ext uri="{FF2B5EF4-FFF2-40B4-BE49-F238E27FC236}">
                <a16:creationId xmlns:a16="http://schemas.microsoft.com/office/drawing/2014/main" id="{F1A7FE2D-4334-60C5-DF99-FAD1521A41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54722" y="3476320"/>
            <a:ext cx="319907" cy="165285"/>
          </a:xfrm>
          <a:custGeom>
            <a:avLst/>
            <a:gdLst>
              <a:gd name="connsiteX0" fmla="*/ 319907 w 319907"/>
              <a:gd name="connsiteY0" fmla="*/ 165285 h 165285"/>
              <a:gd name="connsiteX1" fmla="*/ 202607 w 319907"/>
              <a:gd name="connsiteY1" fmla="*/ 55983 h 165285"/>
              <a:gd name="connsiteX2" fmla="*/ 0 w 319907"/>
              <a:gd name="connsiteY2" fmla="*/ 0 h 165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907" h="165285">
                <a:moveTo>
                  <a:pt x="319907" y="165285"/>
                </a:moveTo>
                <a:cubicBezTo>
                  <a:pt x="287916" y="124408"/>
                  <a:pt x="255925" y="83531"/>
                  <a:pt x="202607" y="55983"/>
                </a:cubicBezTo>
                <a:cubicBezTo>
                  <a:pt x="149289" y="28435"/>
                  <a:pt x="74644" y="14217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1" name="Freeform: Shape 810">
            <a:extLst>
              <a:ext uri="{FF2B5EF4-FFF2-40B4-BE49-F238E27FC236}">
                <a16:creationId xmlns:a16="http://schemas.microsoft.com/office/drawing/2014/main" id="{7C4B3C7B-8E19-3CF0-7E8A-11FE0C02A0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73383" y="3287041"/>
            <a:ext cx="130629" cy="119965"/>
          </a:xfrm>
          <a:custGeom>
            <a:avLst/>
            <a:gdLst>
              <a:gd name="connsiteX0" fmla="*/ 130629 w 130629"/>
              <a:gd name="connsiteY0" fmla="*/ 119965 h 119965"/>
              <a:gd name="connsiteX1" fmla="*/ 69313 w 130629"/>
              <a:gd name="connsiteY1" fmla="*/ 29325 h 119965"/>
              <a:gd name="connsiteX2" fmla="*/ 0 w 130629"/>
              <a:gd name="connsiteY2" fmla="*/ 0 h 119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629" h="119965">
                <a:moveTo>
                  <a:pt x="130629" y="119965"/>
                </a:moveTo>
                <a:cubicBezTo>
                  <a:pt x="110856" y="84642"/>
                  <a:pt x="91084" y="49319"/>
                  <a:pt x="69313" y="29325"/>
                </a:cubicBezTo>
                <a:cubicBezTo>
                  <a:pt x="47542" y="9331"/>
                  <a:pt x="23771" y="4665"/>
                  <a:pt x="0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2" name="Freeform: Shape 811">
            <a:extLst>
              <a:ext uri="{FF2B5EF4-FFF2-40B4-BE49-F238E27FC236}">
                <a16:creationId xmlns:a16="http://schemas.microsoft.com/office/drawing/2014/main" id="{2E054994-A7CD-76C6-441D-D183D6C54B8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74629" y="3553630"/>
            <a:ext cx="175948" cy="102305"/>
          </a:xfrm>
          <a:custGeom>
            <a:avLst/>
            <a:gdLst>
              <a:gd name="connsiteX0" fmla="*/ 0 w 175948"/>
              <a:gd name="connsiteY0" fmla="*/ 85309 h 102305"/>
              <a:gd name="connsiteX1" fmla="*/ 135960 w 175948"/>
              <a:gd name="connsiteY1" fmla="*/ 95972 h 102305"/>
              <a:gd name="connsiteX2" fmla="*/ 175948 w 175948"/>
              <a:gd name="connsiteY2" fmla="*/ 0 h 102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5948" h="102305">
                <a:moveTo>
                  <a:pt x="0" y="85309"/>
                </a:moveTo>
                <a:cubicBezTo>
                  <a:pt x="53317" y="97749"/>
                  <a:pt x="106635" y="110190"/>
                  <a:pt x="135960" y="95972"/>
                </a:cubicBezTo>
                <a:cubicBezTo>
                  <a:pt x="165285" y="81754"/>
                  <a:pt x="170616" y="40877"/>
                  <a:pt x="175948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3" name="Freeform: Shape 812">
            <a:extLst>
              <a:ext uri="{FF2B5EF4-FFF2-40B4-BE49-F238E27FC236}">
                <a16:creationId xmlns:a16="http://schemas.microsoft.com/office/drawing/2014/main" id="{44308507-DC6E-722E-3164-1634C17A0E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28996" y="2665880"/>
            <a:ext cx="3316366" cy="1119683"/>
          </a:xfrm>
          <a:custGeom>
            <a:avLst/>
            <a:gdLst>
              <a:gd name="connsiteX0" fmla="*/ 3316366 w 3316366"/>
              <a:gd name="connsiteY0" fmla="*/ 1119683 h 1119683"/>
              <a:gd name="connsiteX1" fmla="*/ 1460907 w 3316366"/>
              <a:gd name="connsiteY1" fmla="*/ 626493 h 1119683"/>
              <a:gd name="connsiteX2" fmla="*/ 658475 w 3316366"/>
              <a:gd name="connsiteY2" fmla="*/ 101313 h 1119683"/>
              <a:gd name="connsiteX3" fmla="*/ 55984 w 3316366"/>
              <a:gd name="connsiteY3" fmla="*/ 9 h 1119683"/>
              <a:gd name="connsiteX4" fmla="*/ 55984 w 3316366"/>
              <a:gd name="connsiteY4" fmla="*/ 9 h 1119683"/>
              <a:gd name="connsiteX5" fmla="*/ 0 w 3316366"/>
              <a:gd name="connsiteY5" fmla="*/ 9 h 1119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6366" h="1119683">
                <a:moveTo>
                  <a:pt x="3316366" y="1119683"/>
                </a:moveTo>
                <a:cubicBezTo>
                  <a:pt x="2610127" y="957952"/>
                  <a:pt x="1903889" y="796221"/>
                  <a:pt x="1460907" y="626493"/>
                </a:cubicBezTo>
                <a:cubicBezTo>
                  <a:pt x="1017925" y="456765"/>
                  <a:pt x="892629" y="205727"/>
                  <a:pt x="658475" y="101313"/>
                </a:cubicBezTo>
                <a:cubicBezTo>
                  <a:pt x="424321" y="-3101"/>
                  <a:pt x="55984" y="9"/>
                  <a:pt x="55984" y="9"/>
                </a:cubicBezTo>
                <a:lnTo>
                  <a:pt x="55984" y="9"/>
                </a:lnTo>
                <a:lnTo>
                  <a:pt x="0" y="9"/>
                </a:ln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4" name="Freeform: Shape 813">
            <a:extLst>
              <a:ext uri="{FF2B5EF4-FFF2-40B4-BE49-F238E27FC236}">
                <a16:creationId xmlns:a16="http://schemas.microsoft.com/office/drawing/2014/main" id="{9523D43B-1A73-EEC0-4DED-4D5568A0A5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10335" y="2623235"/>
            <a:ext cx="3335027" cy="1162328"/>
          </a:xfrm>
          <a:custGeom>
            <a:avLst/>
            <a:gdLst>
              <a:gd name="connsiteX0" fmla="*/ 3335027 w 3335027"/>
              <a:gd name="connsiteY0" fmla="*/ 1162328 h 1162328"/>
              <a:gd name="connsiteX1" fmla="*/ 1762152 w 3335027"/>
              <a:gd name="connsiteY1" fmla="*/ 805099 h 1162328"/>
              <a:gd name="connsiteX2" fmla="*/ 735785 w 3335027"/>
              <a:gd name="connsiteY2" fmla="*/ 202608 h 1162328"/>
              <a:gd name="connsiteX3" fmla="*/ 533178 w 3335027"/>
              <a:gd name="connsiteY3" fmla="*/ 45320 h 1162328"/>
              <a:gd name="connsiteX4" fmla="*/ 0 w 3335027"/>
              <a:gd name="connsiteY4" fmla="*/ 0 h 116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027" h="1162328">
                <a:moveTo>
                  <a:pt x="3335027" y="1162328"/>
                </a:moveTo>
                <a:cubicBezTo>
                  <a:pt x="2765193" y="1063690"/>
                  <a:pt x="2195359" y="965052"/>
                  <a:pt x="1762152" y="805099"/>
                </a:cubicBezTo>
                <a:cubicBezTo>
                  <a:pt x="1328945" y="645146"/>
                  <a:pt x="940614" y="329238"/>
                  <a:pt x="735785" y="202608"/>
                </a:cubicBezTo>
                <a:cubicBezTo>
                  <a:pt x="530956" y="75978"/>
                  <a:pt x="655809" y="79088"/>
                  <a:pt x="533178" y="45320"/>
                </a:cubicBezTo>
                <a:cubicBezTo>
                  <a:pt x="410547" y="11552"/>
                  <a:pt x="205273" y="5776"/>
                  <a:pt x="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5" name="Rectangle 814">
            <a:extLst>
              <a:ext uri="{FF2B5EF4-FFF2-40B4-BE49-F238E27FC236}">
                <a16:creationId xmlns:a16="http://schemas.microsoft.com/office/drawing/2014/main" id="{D428F260-4471-CE75-EAA1-1B3DF943681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4951" y="279635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16" name="Freeform: Shape 815">
            <a:extLst>
              <a:ext uri="{FF2B5EF4-FFF2-40B4-BE49-F238E27FC236}">
                <a16:creationId xmlns:a16="http://schemas.microsoft.com/office/drawing/2014/main" id="{62C65554-7650-1122-B131-E2941F9370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80835" y="2927020"/>
            <a:ext cx="410547" cy="64108"/>
          </a:xfrm>
          <a:custGeom>
            <a:avLst/>
            <a:gdLst>
              <a:gd name="connsiteX0" fmla="*/ 410547 w 410547"/>
              <a:gd name="connsiteY0" fmla="*/ 64108 h 64108"/>
              <a:gd name="connsiteX1" fmla="*/ 223935 w 410547"/>
              <a:gd name="connsiteY1" fmla="*/ 2792 h 64108"/>
              <a:gd name="connsiteX2" fmla="*/ 0 w 410547"/>
              <a:gd name="connsiteY2" fmla="*/ 16122 h 64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547" h="64108">
                <a:moveTo>
                  <a:pt x="410547" y="64108"/>
                </a:moveTo>
                <a:cubicBezTo>
                  <a:pt x="351453" y="37449"/>
                  <a:pt x="292359" y="10790"/>
                  <a:pt x="223935" y="2792"/>
                </a:cubicBezTo>
                <a:cubicBezTo>
                  <a:pt x="155510" y="-5206"/>
                  <a:pt x="77755" y="5458"/>
                  <a:pt x="0" y="16122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7" name="Rectangle 816">
            <a:extLst>
              <a:ext uri="{FF2B5EF4-FFF2-40B4-BE49-F238E27FC236}">
                <a16:creationId xmlns:a16="http://schemas.microsoft.com/office/drawing/2014/main" id="{64FC8DBD-9CCC-D815-EFEE-4CCCA061DC2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372706" y="290348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18" name="Isosceles Triangle 817">
            <a:extLst>
              <a:ext uri="{FF2B5EF4-FFF2-40B4-BE49-F238E27FC236}">
                <a16:creationId xmlns:a16="http://schemas.microsoft.com/office/drawing/2014/main" id="{A3B87363-21C2-2C73-D5B8-ED82316CDBC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6200000">
            <a:off x="5668998" y="2633194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19" name="Isosceles Triangle 818">
            <a:extLst>
              <a:ext uri="{FF2B5EF4-FFF2-40B4-BE49-F238E27FC236}">
                <a16:creationId xmlns:a16="http://schemas.microsoft.com/office/drawing/2014/main" id="{1E0F3412-7119-DF51-CD2D-83EC47C7C3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5370622">
            <a:off x="6229770" y="2913820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20" name="Rectangle 819">
            <a:extLst>
              <a:ext uri="{FF2B5EF4-FFF2-40B4-BE49-F238E27FC236}">
                <a16:creationId xmlns:a16="http://schemas.microsoft.com/office/drawing/2014/main" id="{78A7AB36-1E25-CBBF-97BA-2D4ACE6274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408218" y="349827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21" name="Egypt" descr="© INSCALE GmbH, 05.05.2010&#10;http://www.presentationload.com/">
            <a:extLst>
              <a:ext uri="{FF2B5EF4-FFF2-40B4-BE49-F238E27FC236}">
                <a16:creationId xmlns:a16="http://schemas.microsoft.com/office/drawing/2014/main" id="{F529FF7C-BE42-C58F-9437-09939D00BC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290512" y="3801312"/>
            <a:ext cx="704505" cy="674441"/>
          </a:xfrm>
          <a:custGeom>
            <a:avLst/>
            <a:gdLst>
              <a:gd name="T0" fmla="*/ 2147483647 w 792"/>
              <a:gd name="T1" fmla="*/ 2147483647 h 804"/>
              <a:gd name="T2" fmla="*/ 2147483647 w 792"/>
              <a:gd name="T3" fmla="*/ 2147483647 h 804"/>
              <a:gd name="T4" fmla="*/ 2147483647 w 792"/>
              <a:gd name="T5" fmla="*/ 2147483647 h 804"/>
              <a:gd name="T6" fmla="*/ 2147483647 w 792"/>
              <a:gd name="T7" fmla="*/ 2147483647 h 804"/>
              <a:gd name="T8" fmla="*/ 2147483647 w 792"/>
              <a:gd name="T9" fmla="*/ 2147483647 h 804"/>
              <a:gd name="T10" fmla="*/ 2147483647 w 792"/>
              <a:gd name="T11" fmla="*/ 2147483647 h 804"/>
              <a:gd name="T12" fmla="*/ 2147483647 w 792"/>
              <a:gd name="T13" fmla="*/ 2147483647 h 804"/>
              <a:gd name="T14" fmla="*/ 2147483647 w 792"/>
              <a:gd name="T15" fmla="*/ 2147483647 h 804"/>
              <a:gd name="T16" fmla="*/ 2147483647 w 792"/>
              <a:gd name="T17" fmla="*/ 2147483647 h 804"/>
              <a:gd name="T18" fmla="*/ 2147483647 w 792"/>
              <a:gd name="T19" fmla="*/ 2147483647 h 804"/>
              <a:gd name="T20" fmla="*/ 2147483647 w 792"/>
              <a:gd name="T21" fmla="*/ 2147483647 h 804"/>
              <a:gd name="T22" fmla="*/ 2147483647 w 792"/>
              <a:gd name="T23" fmla="*/ 2147483647 h 804"/>
              <a:gd name="T24" fmla="*/ 2147483647 w 792"/>
              <a:gd name="T25" fmla="*/ 2147483647 h 804"/>
              <a:gd name="T26" fmla="*/ 2147483647 w 792"/>
              <a:gd name="T27" fmla="*/ 2147483647 h 804"/>
              <a:gd name="T28" fmla="*/ 2147483647 w 792"/>
              <a:gd name="T29" fmla="*/ 2147483647 h 804"/>
              <a:gd name="T30" fmla="*/ 2147483647 w 792"/>
              <a:gd name="T31" fmla="*/ 2147483647 h 804"/>
              <a:gd name="T32" fmla="*/ 2147483647 w 792"/>
              <a:gd name="T33" fmla="*/ 2147483647 h 804"/>
              <a:gd name="T34" fmla="*/ 2147483647 w 792"/>
              <a:gd name="T35" fmla="*/ 2147483647 h 804"/>
              <a:gd name="T36" fmla="*/ 2147483647 w 792"/>
              <a:gd name="T37" fmla="*/ 2147483647 h 804"/>
              <a:gd name="T38" fmla="*/ 2147483647 w 792"/>
              <a:gd name="T39" fmla="*/ 2147483647 h 804"/>
              <a:gd name="T40" fmla="*/ 2147483647 w 792"/>
              <a:gd name="T41" fmla="*/ 2147483647 h 804"/>
              <a:gd name="T42" fmla="*/ 2147483647 w 792"/>
              <a:gd name="T43" fmla="*/ 2147483647 h 804"/>
              <a:gd name="T44" fmla="*/ 2147483647 w 792"/>
              <a:gd name="T45" fmla="*/ 2147483647 h 804"/>
              <a:gd name="T46" fmla="*/ 2147483647 w 792"/>
              <a:gd name="T47" fmla="*/ 2147483647 h 804"/>
              <a:gd name="T48" fmla="*/ 2147483647 w 792"/>
              <a:gd name="T49" fmla="*/ 2147483647 h 804"/>
              <a:gd name="T50" fmla="*/ 2147483647 w 792"/>
              <a:gd name="T51" fmla="*/ 2147483647 h 804"/>
              <a:gd name="T52" fmla="*/ 2147483647 w 792"/>
              <a:gd name="T53" fmla="*/ 2147483647 h 804"/>
              <a:gd name="T54" fmla="*/ 2147483647 w 792"/>
              <a:gd name="T55" fmla="*/ 2147483647 h 804"/>
              <a:gd name="T56" fmla="*/ 2147483647 w 792"/>
              <a:gd name="T57" fmla="*/ 2147483647 h 804"/>
              <a:gd name="T58" fmla="*/ 2147483647 w 792"/>
              <a:gd name="T59" fmla="*/ 2147483647 h 804"/>
              <a:gd name="T60" fmla="*/ 2147483647 w 792"/>
              <a:gd name="T61" fmla="*/ 2147483647 h 804"/>
              <a:gd name="T62" fmla="*/ 2147483647 w 792"/>
              <a:gd name="T63" fmla="*/ 2147483647 h 804"/>
              <a:gd name="T64" fmla="*/ 2147483647 w 792"/>
              <a:gd name="T65" fmla="*/ 2147483647 h 804"/>
              <a:gd name="T66" fmla="*/ 2147483647 w 792"/>
              <a:gd name="T67" fmla="*/ 2147483647 h 804"/>
              <a:gd name="T68" fmla="*/ 2147483647 w 792"/>
              <a:gd name="T69" fmla="*/ 2147483647 h 804"/>
              <a:gd name="T70" fmla="*/ 2147483647 w 792"/>
              <a:gd name="T71" fmla="*/ 2147483647 h 804"/>
              <a:gd name="T72" fmla="*/ 2147483647 w 792"/>
              <a:gd name="T73" fmla="*/ 2147483647 h 804"/>
              <a:gd name="T74" fmla="*/ 2147483647 w 792"/>
              <a:gd name="T75" fmla="*/ 2147483647 h 804"/>
              <a:gd name="T76" fmla="*/ 2147483647 w 792"/>
              <a:gd name="T77" fmla="*/ 2147483647 h 804"/>
              <a:gd name="T78" fmla="*/ 2147483647 w 792"/>
              <a:gd name="T79" fmla="*/ 2147483647 h 804"/>
              <a:gd name="T80" fmla="*/ 2147483647 w 792"/>
              <a:gd name="T81" fmla="*/ 2147483647 h 804"/>
              <a:gd name="T82" fmla="*/ 2147483647 w 792"/>
              <a:gd name="T83" fmla="*/ 2147483647 h 804"/>
              <a:gd name="T84" fmla="*/ 2147483647 w 792"/>
              <a:gd name="T85" fmla="*/ 2147483647 h 804"/>
              <a:gd name="T86" fmla="*/ 2147483647 w 792"/>
              <a:gd name="T87" fmla="*/ 2147483647 h 804"/>
              <a:gd name="T88" fmla="*/ 2147483647 w 792"/>
              <a:gd name="T89" fmla="*/ 2147483647 h 804"/>
              <a:gd name="T90" fmla="*/ 2147483647 w 792"/>
              <a:gd name="T91" fmla="*/ 0 h 804"/>
              <a:gd name="T92" fmla="*/ 2147483647 w 792"/>
              <a:gd name="T93" fmla="*/ 2147483647 h 804"/>
              <a:gd name="T94" fmla="*/ 2147483647 w 792"/>
              <a:gd name="T95" fmla="*/ 0 h 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92"/>
              <a:gd name="T145" fmla="*/ 0 h 804"/>
              <a:gd name="T146" fmla="*/ 792 w 792"/>
              <a:gd name="T147" fmla="*/ 804 h 80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92" h="804">
                <a:moveTo>
                  <a:pt x="12" y="18"/>
                </a:moveTo>
                <a:lnTo>
                  <a:pt x="6" y="24"/>
                </a:lnTo>
                <a:lnTo>
                  <a:pt x="6" y="54"/>
                </a:lnTo>
                <a:lnTo>
                  <a:pt x="18" y="60"/>
                </a:lnTo>
                <a:lnTo>
                  <a:pt x="24" y="72"/>
                </a:lnTo>
                <a:lnTo>
                  <a:pt x="24" y="78"/>
                </a:lnTo>
                <a:lnTo>
                  <a:pt x="18" y="84"/>
                </a:lnTo>
                <a:lnTo>
                  <a:pt x="12" y="96"/>
                </a:lnTo>
                <a:lnTo>
                  <a:pt x="6" y="102"/>
                </a:lnTo>
                <a:lnTo>
                  <a:pt x="0" y="114"/>
                </a:lnTo>
                <a:lnTo>
                  <a:pt x="0" y="120"/>
                </a:lnTo>
                <a:lnTo>
                  <a:pt x="6" y="132"/>
                </a:lnTo>
                <a:lnTo>
                  <a:pt x="18" y="144"/>
                </a:lnTo>
                <a:lnTo>
                  <a:pt x="30" y="180"/>
                </a:lnTo>
                <a:lnTo>
                  <a:pt x="30" y="264"/>
                </a:lnTo>
                <a:lnTo>
                  <a:pt x="36" y="342"/>
                </a:lnTo>
                <a:lnTo>
                  <a:pt x="36" y="438"/>
                </a:lnTo>
                <a:lnTo>
                  <a:pt x="42" y="534"/>
                </a:lnTo>
                <a:lnTo>
                  <a:pt x="42" y="624"/>
                </a:lnTo>
                <a:lnTo>
                  <a:pt x="48" y="702"/>
                </a:lnTo>
                <a:lnTo>
                  <a:pt x="48" y="774"/>
                </a:lnTo>
                <a:lnTo>
                  <a:pt x="474" y="780"/>
                </a:lnTo>
                <a:lnTo>
                  <a:pt x="492" y="762"/>
                </a:lnTo>
                <a:lnTo>
                  <a:pt x="498" y="762"/>
                </a:lnTo>
                <a:lnTo>
                  <a:pt x="498" y="774"/>
                </a:lnTo>
                <a:lnTo>
                  <a:pt x="618" y="780"/>
                </a:lnTo>
                <a:lnTo>
                  <a:pt x="624" y="786"/>
                </a:lnTo>
                <a:lnTo>
                  <a:pt x="630" y="798"/>
                </a:lnTo>
                <a:lnTo>
                  <a:pt x="636" y="804"/>
                </a:lnTo>
                <a:lnTo>
                  <a:pt x="654" y="804"/>
                </a:lnTo>
                <a:lnTo>
                  <a:pt x="660" y="798"/>
                </a:lnTo>
                <a:lnTo>
                  <a:pt x="672" y="774"/>
                </a:lnTo>
                <a:lnTo>
                  <a:pt x="684" y="762"/>
                </a:lnTo>
                <a:lnTo>
                  <a:pt x="696" y="762"/>
                </a:lnTo>
                <a:lnTo>
                  <a:pt x="702" y="756"/>
                </a:lnTo>
                <a:lnTo>
                  <a:pt x="720" y="756"/>
                </a:lnTo>
                <a:lnTo>
                  <a:pt x="726" y="750"/>
                </a:lnTo>
                <a:lnTo>
                  <a:pt x="732" y="738"/>
                </a:lnTo>
                <a:lnTo>
                  <a:pt x="732" y="714"/>
                </a:lnTo>
                <a:lnTo>
                  <a:pt x="762" y="714"/>
                </a:lnTo>
                <a:lnTo>
                  <a:pt x="786" y="690"/>
                </a:lnTo>
                <a:lnTo>
                  <a:pt x="780" y="684"/>
                </a:lnTo>
                <a:lnTo>
                  <a:pt x="774" y="672"/>
                </a:lnTo>
                <a:lnTo>
                  <a:pt x="774" y="624"/>
                </a:lnTo>
                <a:lnTo>
                  <a:pt x="792" y="618"/>
                </a:lnTo>
                <a:lnTo>
                  <a:pt x="786" y="618"/>
                </a:lnTo>
                <a:lnTo>
                  <a:pt x="756" y="588"/>
                </a:lnTo>
                <a:lnTo>
                  <a:pt x="732" y="552"/>
                </a:lnTo>
                <a:lnTo>
                  <a:pt x="726" y="528"/>
                </a:lnTo>
                <a:lnTo>
                  <a:pt x="714" y="492"/>
                </a:lnTo>
                <a:lnTo>
                  <a:pt x="702" y="468"/>
                </a:lnTo>
                <a:lnTo>
                  <a:pt x="690" y="462"/>
                </a:lnTo>
                <a:lnTo>
                  <a:pt x="684" y="450"/>
                </a:lnTo>
                <a:lnTo>
                  <a:pt x="672" y="444"/>
                </a:lnTo>
                <a:lnTo>
                  <a:pt x="666" y="432"/>
                </a:lnTo>
                <a:lnTo>
                  <a:pt x="654" y="396"/>
                </a:lnTo>
                <a:lnTo>
                  <a:pt x="654" y="378"/>
                </a:lnTo>
                <a:lnTo>
                  <a:pt x="618" y="336"/>
                </a:lnTo>
                <a:lnTo>
                  <a:pt x="618" y="318"/>
                </a:lnTo>
                <a:lnTo>
                  <a:pt x="606" y="294"/>
                </a:lnTo>
                <a:lnTo>
                  <a:pt x="594" y="282"/>
                </a:lnTo>
                <a:lnTo>
                  <a:pt x="588" y="270"/>
                </a:lnTo>
                <a:lnTo>
                  <a:pt x="576" y="258"/>
                </a:lnTo>
                <a:lnTo>
                  <a:pt x="570" y="246"/>
                </a:lnTo>
                <a:lnTo>
                  <a:pt x="558" y="234"/>
                </a:lnTo>
                <a:lnTo>
                  <a:pt x="552" y="222"/>
                </a:lnTo>
                <a:lnTo>
                  <a:pt x="546" y="216"/>
                </a:lnTo>
                <a:lnTo>
                  <a:pt x="552" y="210"/>
                </a:lnTo>
                <a:lnTo>
                  <a:pt x="552" y="198"/>
                </a:lnTo>
                <a:lnTo>
                  <a:pt x="540" y="174"/>
                </a:lnTo>
                <a:lnTo>
                  <a:pt x="528" y="168"/>
                </a:lnTo>
                <a:lnTo>
                  <a:pt x="522" y="168"/>
                </a:lnTo>
                <a:lnTo>
                  <a:pt x="540" y="144"/>
                </a:lnTo>
                <a:lnTo>
                  <a:pt x="558" y="156"/>
                </a:lnTo>
                <a:lnTo>
                  <a:pt x="558" y="174"/>
                </a:lnTo>
                <a:lnTo>
                  <a:pt x="564" y="186"/>
                </a:lnTo>
                <a:lnTo>
                  <a:pt x="576" y="198"/>
                </a:lnTo>
                <a:lnTo>
                  <a:pt x="582" y="210"/>
                </a:lnTo>
                <a:lnTo>
                  <a:pt x="588" y="216"/>
                </a:lnTo>
                <a:lnTo>
                  <a:pt x="588" y="246"/>
                </a:lnTo>
                <a:lnTo>
                  <a:pt x="606" y="264"/>
                </a:lnTo>
                <a:lnTo>
                  <a:pt x="612" y="276"/>
                </a:lnTo>
                <a:lnTo>
                  <a:pt x="636" y="300"/>
                </a:lnTo>
                <a:lnTo>
                  <a:pt x="648" y="306"/>
                </a:lnTo>
                <a:lnTo>
                  <a:pt x="654" y="306"/>
                </a:lnTo>
                <a:lnTo>
                  <a:pt x="666" y="300"/>
                </a:lnTo>
                <a:lnTo>
                  <a:pt x="678" y="288"/>
                </a:lnTo>
                <a:lnTo>
                  <a:pt x="672" y="270"/>
                </a:lnTo>
                <a:lnTo>
                  <a:pt x="684" y="246"/>
                </a:lnTo>
                <a:lnTo>
                  <a:pt x="684" y="234"/>
                </a:lnTo>
                <a:lnTo>
                  <a:pt x="690" y="222"/>
                </a:lnTo>
                <a:lnTo>
                  <a:pt x="690" y="198"/>
                </a:lnTo>
                <a:lnTo>
                  <a:pt x="696" y="186"/>
                </a:lnTo>
                <a:lnTo>
                  <a:pt x="696" y="180"/>
                </a:lnTo>
                <a:lnTo>
                  <a:pt x="702" y="168"/>
                </a:lnTo>
                <a:lnTo>
                  <a:pt x="648" y="24"/>
                </a:lnTo>
                <a:lnTo>
                  <a:pt x="642" y="24"/>
                </a:lnTo>
                <a:lnTo>
                  <a:pt x="636" y="30"/>
                </a:lnTo>
                <a:lnTo>
                  <a:pt x="624" y="30"/>
                </a:lnTo>
                <a:lnTo>
                  <a:pt x="600" y="42"/>
                </a:lnTo>
                <a:lnTo>
                  <a:pt x="576" y="42"/>
                </a:lnTo>
                <a:lnTo>
                  <a:pt x="564" y="36"/>
                </a:lnTo>
                <a:lnTo>
                  <a:pt x="558" y="30"/>
                </a:lnTo>
                <a:lnTo>
                  <a:pt x="552" y="36"/>
                </a:lnTo>
                <a:lnTo>
                  <a:pt x="540" y="42"/>
                </a:lnTo>
                <a:lnTo>
                  <a:pt x="534" y="42"/>
                </a:lnTo>
                <a:lnTo>
                  <a:pt x="510" y="30"/>
                </a:lnTo>
                <a:lnTo>
                  <a:pt x="504" y="24"/>
                </a:lnTo>
                <a:lnTo>
                  <a:pt x="504" y="18"/>
                </a:lnTo>
                <a:lnTo>
                  <a:pt x="498" y="12"/>
                </a:lnTo>
                <a:lnTo>
                  <a:pt x="486" y="6"/>
                </a:lnTo>
                <a:lnTo>
                  <a:pt x="468" y="6"/>
                </a:lnTo>
                <a:lnTo>
                  <a:pt x="456" y="12"/>
                </a:lnTo>
                <a:lnTo>
                  <a:pt x="438" y="12"/>
                </a:lnTo>
                <a:lnTo>
                  <a:pt x="432" y="18"/>
                </a:lnTo>
                <a:lnTo>
                  <a:pt x="420" y="18"/>
                </a:lnTo>
                <a:lnTo>
                  <a:pt x="414" y="12"/>
                </a:lnTo>
                <a:lnTo>
                  <a:pt x="390" y="12"/>
                </a:lnTo>
                <a:lnTo>
                  <a:pt x="378" y="18"/>
                </a:lnTo>
                <a:lnTo>
                  <a:pt x="372" y="24"/>
                </a:lnTo>
                <a:lnTo>
                  <a:pt x="366" y="36"/>
                </a:lnTo>
                <a:lnTo>
                  <a:pt x="360" y="42"/>
                </a:lnTo>
                <a:lnTo>
                  <a:pt x="336" y="42"/>
                </a:lnTo>
                <a:lnTo>
                  <a:pt x="324" y="54"/>
                </a:lnTo>
                <a:lnTo>
                  <a:pt x="312" y="60"/>
                </a:lnTo>
                <a:lnTo>
                  <a:pt x="306" y="60"/>
                </a:lnTo>
                <a:lnTo>
                  <a:pt x="300" y="54"/>
                </a:lnTo>
                <a:lnTo>
                  <a:pt x="288" y="54"/>
                </a:lnTo>
                <a:lnTo>
                  <a:pt x="276" y="48"/>
                </a:lnTo>
                <a:lnTo>
                  <a:pt x="264" y="48"/>
                </a:lnTo>
                <a:lnTo>
                  <a:pt x="258" y="42"/>
                </a:lnTo>
                <a:lnTo>
                  <a:pt x="204" y="42"/>
                </a:lnTo>
                <a:lnTo>
                  <a:pt x="198" y="36"/>
                </a:lnTo>
                <a:lnTo>
                  <a:pt x="186" y="30"/>
                </a:lnTo>
                <a:lnTo>
                  <a:pt x="174" y="18"/>
                </a:lnTo>
                <a:lnTo>
                  <a:pt x="126" y="18"/>
                </a:lnTo>
                <a:lnTo>
                  <a:pt x="120" y="12"/>
                </a:lnTo>
                <a:lnTo>
                  <a:pt x="96" y="0"/>
                </a:lnTo>
                <a:lnTo>
                  <a:pt x="78" y="0"/>
                </a:lnTo>
                <a:lnTo>
                  <a:pt x="66" y="12"/>
                </a:lnTo>
                <a:lnTo>
                  <a:pt x="54" y="12"/>
                </a:lnTo>
                <a:lnTo>
                  <a:pt x="42" y="6"/>
                </a:lnTo>
                <a:lnTo>
                  <a:pt x="36" y="6"/>
                </a:lnTo>
                <a:lnTo>
                  <a:pt x="36" y="0"/>
                </a:lnTo>
                <a:lnTo>
                  <a:pt x="30" y="0"/>
                </a:lnTo>
                <a:lnTo>
                  <a:pt x="12" y="18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spcBef>
                <a:spcPct val="0"/>
              </a:spcBef>
            </a:pPr>
            <a:endParaRPr lang="de-DE" sz="2133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22" name="Freeform: Shape 821">
            <a:extLst>
              <a:ext uri="{FF2B5EF4-FFF2-40B4-BE49-F238E27FC236}">
                <a16:creationId xmlns:a16="http://schemas.microsoft.com/office/drawing/2014/main" id="{9AC1517E-66A7-27E5-F232-1F7374B701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048055" y="4365092"/>
            <a:ext cx="2245954" cy="791755"/>
          </a:xfrm>
          <a:custGeom>
            <a:avLst/>
            <a:gdLst>
              <a:gd name="connsiteX0" fmla="*/ 2245954 w 2245954"/>
              <a:gd name="connsiteY0" fmla="*/ 280327 h 791755"/>
              <a:gd name="connsiteX1" fmla="*/ 984482 w 2245954"/>
              <a:gd name="connsiteY1" fmla="*/ 737527 h 791755"/>
              <a:gd name="connsiteX2" fmla="*/ 407142 w 2245954"/>
              <a:gd name="connsiteY2" fmla="*/ 700817 h 791755"/>
              <a:gd name="connsiteX3" fmla="*/ 0 w 2245954"/>
              <a:gd name="connsiteY3" fmla="*/ 0 h 791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954" h="791755">
                <a:moveTo>
                  <a:pt x="2245954" y="280327"/>
                </a:moveTo>
                <a:cubicBezTo>
                  <a:pt x="1768452" y="473886"/>
                  <a:pt x="1290951" y="667445"/>
                  <a:pt x="984482" y="737527"/>
                </a:cubicBezTo>
                <a:cubicBezTo>
                  <a:pt x="678013" y="807609"/>
                  <a:pt x="571222" y="823738"/>
                  <a:pt x="407142" y="700817"/>
                </a:cubicBezTo>
                <a:cubicBezTo>
                  <a:pt x="243062" y="577896"/>
                  <a:pt x="121531" y="288948"/>
                  <a:pt x="0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3" name="Freeform: Shape 822">
            <a:extLst>
              <a:ext uri="{FF2B5EF4-FFF2-40B4-BE49-F238E27FC236}">
                <a16:creationId xmlns:a16="http://schemas.microsoft.com/office/drawing/2014/main" id="{BB51F447-4C83-F271-D05F-236A52BE6D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76148" y="3243263"/>
            <a:ext cx="871977" cy="1121568"/>
          </a:xfrm>
          <a:custGeom>
            <a:avLst/>
            <a:gdLst>
              <a:gd name="connsiteX0" fmla="*/ 871977 w 871977"/>
              <a:gd name="connsiteY0" fmla="*/ 1121568 h 1121568"/>
              <a:gd name="connsiteX1" fmla="*/ 605277 w 871977"/>
              <a:gd name="connsiteY1" fmla="*/ 707231 h 1121568"/>
              <a:gd name="connsiteX2" fmla="*/ 471927 w 871977"/>
              <a:gd name="connsiteY2" fmla="*/ 507206 h 1121568"/>
              <a:gd name="connsiteX3" fmla="*/ 24252 w 871977"/>
              <a:gd name="connsiteY3" fmla="*/ 392906 h 1121568"/>
              <a:gd name="connsiteX4" fmla="*/ 67115 w 871977"/>
              <a:gd name="connsiteY4" fmla="*/ 207168 h 1121568"/>
              <a:gd name="connsiteX5" fmla="*/ 129027 w 871977"/>
              <a:gd name="connsiteY5" fmla="*/ 0 h 1121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1977" h="1121568">
                <a:moveTo>
                  <a:pt x="871977" y="1121568"/>
                </a:moveTo>
                <a:lnTo>
                  <a:pt x="605277" y="707231"/>
                </a:lnTo>
                <a:cubicBezTo>
                  <a:pt x="538602" y="604837"/>
                  <a:pt x="568764" y="559593"/>
                  <a:pt x="471927" y="507206"/>
                </a:cubicBezTo>
                <a:cubicBezTo>
                  <a:pt x="375090" y="454819"/>
                  <a:pt x="91721" y="442912"/>
                  <a:pt x="24252" y="392906"/>
                </a:cubicBezTo>
                <a:cubicBezTo>
                  <a:pt x="-43217" y="342900"/>
                  <a:pt x="49652" y="272652"/>
                  <a:pt x="67115" y="207168"/>
                </a:cubicBezTo>
                <a:cubicBezTo>
                  <a:pt x="84578" y="141684"/>
                  <a:pt x="106802" y="70842"/>
                  <a:pt x="129027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4" name="Freeform: Shape 823">
            <a:extLst>
              <a:ext uri="{FF2B5EF4-FFF2-40B4-BE49-F238E27FC236}">
                <a16:creationId xmlns:a16="http://schemas.microsoft.com/office/drawing/2014/main" id="{3B1AC271-FBAB-E33E-8D33-E7CC71B0E4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557588" y="2840831"/>
            <a:ext cx="97886" cy="235744"/>
          </a:xfrm>
          <a:custGeom>
            <a:avLst/>
            <a:gdLst>
              <a:gd name="connsiteX0" fmla="*/ 0 w 97886"/>
              <a:gd name="connsiteY0" fmla="*/ 235744 h 235744"/>
              <a:gd name="connsiteX1" fmla="*/ 95250 w 97886"/>
              <a:gd name="connsiteY1" fmla="*/ 80963 h 235744"/>
              <a:gd name="connsiteX2" fmla="*/ 61912 w 97886"/>
              <a:gd name="connsiteY2" fmla="*/ 0 h 235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86" h="235744">
                <a:moveTo>
                  <a:pt x="0" y="235744"/>
                </a:moveTo>
                <a:cubicBezTo>
                  <a:pt x="42465" y="177999"/>
                  <a:pt x="84931" y="120254"/>
                  <a:pt x="95250" y="80963"/>
                </a:cubicBezTo>
                <a:cubicBezTo>
                  <a:pt x="105569" y="41672"/>
                  <a:pt x="83740" y="20836"/>
                  <a:pt x="61912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5" name="Freeform: Shape 824">
            <a:extLst>
              <a:ext uri="{FF2B5EF4-FFF2-40B4-BE49-F238E27FC236}">
                <a16:creationId xmlns:a16="http://schemas.microsoft.com/office/drawing/2014/main" id="{C2AA3E1C-4216-952C-C909-5681593DB1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302794" y="2917031"/>
            <a:ext cx="638175" cy="330994"/>
          </a:xfrm>
          <a:custGeom>
            <a:avLst/>
            <a:gdLst>
              <a:gd name="connsiteX0" fmla="*/ 0 w 638175"/>
              <a:gd name="connsiteY0" fmla="*/ 330994 h 330994"/>
              <a:gd name="connsiteX1" fmla="*/ 80962 w 638175"/>
              <a:gd name="connsiteY1" fmla="*/ 271463 h 330994"/>
              <a:gd name="connsiteX2" fmla="*/ 178594 w 638175"/>
              <a:gd name="connsiteY2" fmla="*/ 252413 h 330994"/>
              <a:gd name="connsiteX3" fmla="*/ 326231 w 638175"/>
              <a:gd name="connsiteY3" fmla="*/ 100013 h 330994"/>
              <a:gd name="connsiteX4" fmla="*/ 638175 w 638175"/>
              <a:gd name="connsiteY4" fmla="*/ 0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175" h="330994">
                <a:moveTo>
                  <a:pt x="0" y="330994"/>
                </a:moveTo>
                <a:cubicBezTo>
                  <a:pt x="25598" y="307777"/>
                  <a:pt x="51196" y="284560"/>
                  <a:pt x="80962" y="271463"/>
                </a:cubicBezTo>
                <a:cubicBezTo>
                  <a:pt x="110728" y="258366"/>
                  <a:pt x="137716" y="280988"/>
                  <a:pt x="178594" y="252413"/>
                </a:cubicBezTo>
                <a:cubicBezTo>
                  <a:pt x="219472" y="223838"/>
                  <a:pt x="249634" y="142082"/>
                  <a:pt x="326231" y="100013"/>
                </a:cubicBezTo>
                <a:cubicBezTo>
                  <a:pt x="402828" y="57944"/>
                  <a:pt x="520501" y="28972"/>
                  <a:pt x="638175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6" name="Isosceles Triangle 825">
            <a:extLst>
              <a:ext uri="{FF2B5EF4-FFF2-40B4-BE49-F238E27FC236}">
                <a16:creationId xmlns:a16="http://schemas.microsoft.com/office/drawing/2014/main" id="{FBE10BD3-FDE1-7C30-4DE6-C85214350E8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4555790">
            <a:off x="3935584" y="2877111"/>
            <a:ext cx="61642" cy="68452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27" name="Freeform: Shape 826">
            <a:extLst>
              <a:ext uri="{FF2B5EF4-FFF2-40B4-BE49-F238E27FC236}">
                <a16:creationId xmlns:a16="http://schemas.microsoft.com/office/drawing/2014/main" id="{7D5E88CA-A9DB-1FF0-9C86-63C40919349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97875" y="3486150"/>
            <a:ext cx="482600" cy="139700"/>
          </a:xfrm>
          <a:custGeom>
            <a:avLst/>
            <a:gdLst>
              <a:gd name="connsiteX0" fmla="*/ 482600 w 482600"/>
              <a:gd name="connsiteY0" fmla="*/ 0 h 139700"/>
              <a:gd name="connsiteX1" fmla="*/ 390525 w 482600"/>
              <a:gd name="connsiteY1" fmla="*/ 104775 h 139700"/>
              <a:gd name="connsiteX2" fmla="*/ 0 w 482600"/>
              <a:gd name="connsiteY2" fmla="*/ 139700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2600" h="139700">
                <a:moveTo>
                  <a:pt x="482600" y="0"/>
                </a:moveTo>
                <a:cubicBezTo>
                  <a:pt x="476779" y="40746"/>
                  <a:pt x="470958" y="81492"/>
                  <a:pt x="390525" y="104775"/>
                </a:cubicBezTo>
                <a:cubicBezTo>
                  <a:pt x="310092" y="128058"/>
                  <a:pt x="155046" y="133879"/>
                  <a:pt x="0" y="13970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8" name="Rectangle 827">
            <a:extLst>
              <a:ext uri="{FF2B5EF4-FFF2-40B4-BE49-F238E27FC236}">
                <a16:creationId xmlns:a16="http://schemas.microsoft.com/office/drawing/2014/main" id="{40565625-75B5-B13D-590E-5BF25A4C5DC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76310" y="344215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29" name="Freeform: Shape 828">
            <a:extLst>
              <a:ext uri="{FF2B5EF4-FFF2-40B4-BE49-F238E27FC236}">
                <a16:creationId xmlns:a16="http://schemas.microsoft.com/office/drawing/2014/main" id="{E45AA495-FA23-C384-B456-C1DBBE2582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01000" y="3197225"/>
            <a:ext cx="544551" cy="333375"/>
          </a:xfrm>
          <a:custGeom>
            <a:avLst/>
            <a:gdLst>
              <a:gd name="connsiteX0" fmla="*/ 542925 w 544551"/>
              <a:gd name="connsiteY0" fmla="*/ 0 h 333375"/>
              <a:gd name="connsiteX1" fmla="*/ 460375 w 544551"/>
              <a:gd name="connsiteY1" fmla="*/ 254000 h 333375"/>
              <a:gd name="connsiteX2" fmla="*/ 0 w 544551"/>
              <a:gd name="connsiteY2" fmla="*/ 33337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4551" h="333375">
                <a:moveTo>
                  <a:pt x="542925" y="0"/>
                </a:moveTo>
                <a:cubicBezTo>
                  <a:pt x="546893" y="99219"/>
                  <a:pt x="550862" y="198438"/>
                  <a:pt x="460375" y="254000"/>
                </a:cubicBezTo>
                <a:cubicBezTo>
                  <a:pt x="369888" y="309562"/>
                  <a:pt x="184944" y="321468"/>
                  <a:pt x="0" y="333375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F97C1AC4-7394-E467-F2E9-8450BBCC090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 bwMode="gray">
          <a:xfrm>
            <a:off x="8542550" y="3157435"/>
            <a:ext cx="93924" cy="68324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31" name="Rectangle 830">
            <a:extLst>
              <a:ext uri="{FF2B5EF4-FFF2-40B4-BE49-F238E27FC236}">
                <a16:creationId xmlns:a16="http://schemas.microsoft.com/office/drawing/2014/main" id="{16B79C33-004C-D724-B19B-C9E6889E31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24642" y="3131311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32" name="Freeform: Shape 831">
            <a:extLst>
              <a:ext uri="{FF2B5EF4-FFF2-40B4-BE49-F238E27FC236}">
                <a16:creationId xmlns:a16="http://schemas.microsoft.com/office/drawing/2014/main" id="{E3F9475A-109A-20B7-3C9C-9000B51EB3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195388" y="2152650"/>
            <a:ext cx="959643" cy="1021556"/>
          </a:xfrm>
          <a:custGeom>
            <a:avLst/>
            <a:gdLst>
              <a:gd name="connsiteX0" fmla="*/ 0 w 959643"/>
              <a:gd name="connsiteY0" fmla="*/ 1021556 h 1021556"/>
              <a:gd name="connsiteX1" fmla="*/ 85725 w 959643"/>
              <a:gd name="connsiteY1" fmla="*/ 904875 h 1021556"/>
              <a:gd name="connsiteX2" fmla="*/ 130968 w 959643"/>
              <a:gd name="connsiteY2" fmla="*/ 771525 h 1021556"/>
              <a:gd name="connsiteX3" fmla="*/ 309562 w 959643"/>
              <a:gd name="connsiteY3" fmla="*/ 695325 h 1021556"/>
              <a:gd name="connsiteX4" fmla="*/ 350043 w 959643"/>
              <a:gd name="connsiteY4" fmla="*/ 495300 h 1021556"/>
              <a:gd name="connsiteX5" fmla="*/ 719137 w 959643"/>
              <a:gd name="connsiteY5" fmla="*/ 354806 h 1021556"/>
              <a:gd name="connsiteX6" fmla="*/ 959643 w 959643"/>
              <a:gd name="connsiteY6" fmla="*/ 0 h 1021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9643" h="1021556">
                <a:moveTo>
                  <a:pt x="0" y="1021556"/>
                </a:moveTo>
                <a:cubicBezTo>
                  <a:pt x="31948" y="984051"/>
                  <a:pt x="63897" y="946547"/>
                  <a:pt x="85725" y="904875"/>
                </a:cubicBezTo>
                <a:cubicBezTo>
                  <a:pt x="107553" y="863203"/>
                  <a:pt x="93662" y="806450"/>
                  <a:pt x="130968" y="771525"/>
                </a:cubicBezTo>
                <a:cubicBezTo>
                  <a:pt x="168274" y="736600"/>
                  <a:pt x="273050" y="741362"/>
                  <a:pt x="309562" y="695325"/>
                </a:cubicBezTo>
                <a:cubicBezTo>
                  <a:pt x="346074" y="649288"/>
                  <a:pt x="281781" y="552053"/>
                  <a:pt x="350043" y="495300"/>
                </a:cubicBezTo>
                <a:cubicBezTo>
                  <a:pt x="418305" y="438547"/>
                  <a:pt x="617537" y="437356"/>
                  <a:pt x="719137" y="354806"/>
                </a:cubicBezTo>
                <a:cubicBezTo>
                  <a:pt x="820737" y="272256"/>
                  <a:pt x="890190" y="136128"/>
                  <a:pt x="959643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3" name="Freeform: Shape 832">
            <a:extLst>
              <a:ext uri="{FF2B5EF4-FFF2-40B4-BE49-F238E27FC236}">
                <a16:creationId xmlns:a16="http://schemas.microsoft.com/office/drawing/2014/main" id="{4406E447-4827-7295-A29F-62B17FE8DB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911862" y="2466976"/>
            <a:ext cx="64574" cy="68536"/>
          </a:xfrm>
          <a:custGeom>
            <a:avLst/>
            <a:gdLst>
              <a:gd name="connsiteX0" fmla="*/ 45524 w 64574"/>
              <a:gd name="connsiteY0" fmla="*/ 0 h 68536"/>
              <a:gd name="connsiteX1" fmla="*/ 281 w 64574"/>
              <a:gd name="connsiteY1" fmla="*/ 64293 h 68536"/>
              <a:gd name="connsiteX2" fmla="*/ 64574 w 64574"/>
              <a:gd name="connsiteY2" fmla="*/ 57150 h 6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574" h="68536">
                <a:moveTo>
                  <a:pt x="45524" y="0"/>
                </a:moveTo>
                <a:cubicBezTo>
                  <a:pt x="21315" y="27384"/>
                  <a:pt x="-2894" y="54768"/>
                  <a:pt x="281" y="64293"/>
                </a:cubicBezTo>
                <a:cubicBezTo>
                  <a:pt x="3456" y="73818"/>
                  <a:pt x="34015" y="65484"/>
                  <a:pt x="64574" y="5715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4" name="Rectangle 833">
            <a:extLst>
              <a:ext uri="{FF2B5EF4-FFF2-40B4-BE49-F238E27FC236}">
                <a16:creationId xmlns:a16="http://schemas.microsoft.com/office/drawing/2014/main" id="{2AF74D8F-DE45-CF4F-C1D4-9FEB28AE4F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953368" y="247776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35" name="Freeform: Shape 834">
            <a:extLst>
              <a:ext uri="{FF2B5EF4-FFF2-40B4-BE49-F238E27FC236}">
                <a16:creationId xmlns:a16="http://schemas.microsoft.com/office/drawing/2014/main" id="{B4124517-B725-A15C-D8CC-CA63AFBF52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49054" y="2302669"/>
            <a:ext cx="58352" cy="161925"/>
          </a:xfrm>
          <a:custGeom>
            <a:avLst/>
            <a:gdLst>
              <a:gd name="connsiteX0" fmla="*/ 58352 w 58352"/>
              <a:gd name="connsiteY0" fmla="*/ 161925 h 161925"/>
              <a:gd name="connsiteX1" fmla="*/ 1202 w 58352"/>
              <a:gd name="connsiteY1" fmla="*/ 111919 h 161925"/>
              <a:gd name="connsiteX2" fmla="*/ 25015 w 58352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352" h="161925">
                <a:moveTo>
                  <a:pt x="58352" y="161925"/>
                </a:moveTo>
                <a:cubicBezTo>
                  <a:pt x="32555" y="150415"/>
                  <a:pt x="6758" y="138906"/>
                  <a:pt x="1202" y="111919"/>
                </a:cubicBezTo>
                <a:cubicBezTo>
                  <a:pt x="-4354" y="84932"/>
                  <a:pt x="10330" y="42466"/>
                  <a:pt x="25015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6" name="Rectangle 835">
            <a:extLst>
              <a:ext uri="{FF2B5EF4-FFF2-40B4-BE49-F238E27FC236}">
                <a16:creationId xmlns:a16="http://schemas.microsoft.com/office/drawing/2014/main" id="{61A8254E-B1E4-FED7-29D3-06C698AC9A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71315" y="245337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37" name="Freeform: Shape 836">
            <a:extLst>
              <a:ext uri="{FF2B5EF4-FFF2-40B4-BE49-F238E27FC236}">
                <a16:creationId xmlns:a16="http://schemas.microsoft.com/office/drawing/2014/main" id="{4818B7D5-023D-6EB0-0ADE-1EE97887997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078679" y="2297906"/>
            <a:ext cx="62065" cy="77471"/>
          </a:xfrm>
          <a:custGeom>
            <a:avLst/>
            <a:gdLst>
              <a:gd name="connsiteX0" fmla="*/ 62065 w 62065"/>
              <a:gd name="connsiteY0" fmla="*/ 73819 h 77471"/>
              <a:gd name="connsiteX1" fmla="*/ 9677 w 62065"/>
              <a:gd name="connsiteY1" fmla="*/ 69057 h 77471"/>
              <a:gd name="connsiteX2" fmla="*/ 152 w 62065"/>
              <a:gd name="connsiteY2" fmla="*/ 0 h 77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065" h="77471">
                <a:moveTo>
                  <a:pt x="62065" y="73819"/>
                </a:moveTo>
                <a:cubicBezTo>
                  <a:pt x="41030" y="77589"/>
                  <a:pt x="19996" y="81360"/>
                  <a:pt x="9677" y="69057"/>
                </a:cubicBezTo>
                <a:cubicBezTo>
                  <a:pt x="-642" y="56754"/>
                  <a:pt x="-245" y="28377"/>
                  <a:pt x="152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8" name="Rectangle 837">
            <a:extLst>
              <a:ext uri="{FF2B5EF4-FFF2-40B4-BE49-F238E27FC236}">
                <a16:creationId xmlns:a16="http://schemas.microsoft.com/office/drawing/2014/main" id="{3342F655-CE1A-A590-53EB-7947FB382D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30150" y="235945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39" name="Freeform: Shape 838">
            <a:extLst>
              <a:ext uri="{FF2B5EF4-FFF2-40B4-BE49-F238E27FC236}">
                <a16:creationId xmlns:a16="http://schemas.microsoft.com/office/drawing/2014/main" id="{35515041-791D-1D3D-D8E7-563228B102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09828" y="2212181"/>
            <a:ext cx="369068" cy="102394"/>
          </a:xfrm>
          <a:custGeom>
            <a:avLst/>
            <a:gdLst>
              <a:gd name="connsiteX0" fmla="*/ 47599 w 369068"/>
              <a:gd name="connsiteY0" fmla="*/ 102394 h 102394"/>
              <a:gd name="connsiteX1" fmla="*/ 11881 w 369068"/>
              <a:gd name="connsiteY1" fmla="*/ 45244 h 102394"/>
              <a:gd name="connsiteX2" fmla="*/ 228574 w 369068"/>
              <a:gd name="connsiteY2" fmla="*/ 9525 h 102394"/>
              <a:gd name="connsiteX3" fmla="*/ 369068 w 369068"/>
              <a:gd name="connsiteY3" fmla="*/ 0 h 102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9068" h="102394">
                <a:moveTo>
                  <a:pt x="47599" y="102394"/>
                </a:moveTo>
                <a:cubicBezTo>
                  <a:pt x="14658" y="81558"/>
                  <a:pt x="-18282" y="60722"/>
                  <a:pt x="11881" y="45244"/>
                </a:cubicBezTo>
                <a:cubicBezTo>
                  <a:pt x="42043" y="29766"/>
                  <a:pt x="169043" y="17066"/>
                  <a:pt x="228574" y="9525"/>
                </a:cubicBezTo>
                <a:cubicBezTo>
                  <a:pt x="288105" y="1984"/>
                  <a:pt x="328586" y="992"/>
                  <a:pt x="369068" y="0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0" name="Rectangle 839">
            <a:extLst>
              <a:ext uri="{FF2B5EF4-FFF2-40B4-BE49-F238E27FC236}">
                <a16:creationId xmlns:a16="http://schemas.microsoft.com/office/drawing/2014/main" id="{1EEB404B-29AE-1E30-9374-028256B270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53970" y="230852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41" name="Freeform: Shape 840">
            <a:extLst>
              <a:ext uri="{FF2B5EF4-FFF2-40B4-BE49-F238E27FC236}">
                <a16:creationId xmlns:a16="http://schemas.microsoft.com/office/drawing/2014/main" id="{29A0D5CB-2F7B-2E2F-C7FD-38DB8510014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50269" y="2016383"/>
            <a:ext cx="978694" cy="226048"/>
          </a:xfrm>
          <a:custGeom>
            <a:avLst/>
            <a:gdLst>
              <a:gd name="connsiteX0" fmla="*/ 0 w 978694"/>
              <a:gd name="connsiteY0" fmla="*/ 143410 h 226048"/>
              <a:gd name="connsiteX1" fmla="*/ 85725 w 978694"/>
              <a:gd name="connsiteY1" fmla="*/ 57685 h 226048"/>
              <a:gd name="connsiteX2" fmla="*/ 278606 w 978694"/>
              <a:gd name="connsiteY2" fmla="*/ 5298 h 226048"/>
              <a:gd name="connsiteX3" fmla="*/ 419100 w 978694"/>
              <a:gd name="connsiteY3" fmla="*/ 188654 h 226048"/>
              <a:gd name="connsiteX4" fmla="*/ 500062 w 978694"/>
              <a:gd name="connsiteY4" fmla="*/ 214848 h 226048"/>
              <a:gd name="connsiteX5" fmla="*/ 812006 w 978694"/>
              <a:gd name="connsiteY5" fmla="*/ 50542 h 226048"/>
              <a:gd name="connsiteX6" fmla="*/ 928687 w 978694"/>
              <a:gd name="connsiteY6" fmla="*/ 19585 h 226048"/>
              <a:gd name="connsiteX7" fmla="*/ 978694 w 978694"/>
              <a:gd name="connsiteY7" fmla="*/ 43398 h 226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694" h="226048">
                <a:moveTo>
                  <a:pt x="0" y="143410"/>
                </a:moveTo>
                <a:cubicBezTo>
                  <a:pt x="19645" y="112057"/>
                  <a:pt x="39291" y="80704"/>
                  <a:pt x="85725" y="57685"/>
                </a:cubicBezTo>
                <a:cubicBezTo>
                  <a:pt x="132159" y="34666"/>
                  <a:pt x="223044" y="-16530"/>
                  <a:pt x="278606" y="5298"/>
                </a:cubicBezTo>
                <a:cubicBezTo>
                  <a:pt x="334168" y="27126"/>
                  <a:pt x="382191" y="153729"/>
                  <a:pt x="419100" y="188654"/>
                </a:cubicBezTo>
                <a:cubicBezTo>
                  <a:pt x="456009" y="223579"/>
                  <a:pt x="434578" y="237867"/>
                  <a:pt x="500062" y="214848"/>
                </a:cubicBezTo>
                <a:cubicBezTo>
                  <a:pt x="565546" y="191829"/>
                  <a:pt x="740569" y="83086"/>
                  <a:pt x="812006" y="50542"/>
                </a:cubicBezTo>
                <a:cubicBezTo>
                  <a:pt x="883443" y="17998"/>
                  <a:pt x="900906" y="20776"/>
                  <a:pt x="928687" y="19585"/>
                </a:cubicBezTo>
                <a:cubicBezTo>
                  <a:pt x="956468" y="18394"/>
                  <a:pt x="967581" y="30896"/>
                  <a:pt x="978694" y="43398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2" name="Isosceles Triangle 841">
            <a:extLst>
              <a:ext uri="{FF2B5EF4-FFF2-40B4-BE49-F238E27FC236}">
                <a16:creationId xmlns:a16="http://schemas.microsoft.com/office/drawing/2014/main" id="{0B154658-7B27-90A5-E3A8-DE7D0ECA49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7814586">
            <a:off x="3106883" y="2032780"/>
            <a:ext cx="61642" cy="68452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43" name="Rectangle 842">
            <a:extLst>
              <a:ext uri="{FF2B5EF4-FFF2-40B4-BE49-F238E27FC236}">
                <a16:creationId xmlns:a16="http://schemas.microsoft.com/office/drawing/2014/main" id="{E9A91F36-A92D-868E-E13E-A9CC781CEC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290965" y="459270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44" name="Freeform: Shape 843">
            <a:extLst>
              <a:ext uri="{FF2B5EF4-FFF2-40B4-BE49-F238E27FC236}">
                <a16:creationId xmlns:a16="http://schemas.microsoft.com/office/drawing/2014/main" id="{E54A8950-47F1-4C95-02A8-27ECE62E95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93026" y="2073464"/>
            <a:ext cx="1452716" cy="463259"/>
          </a:xfrm>
          <a:custGeom>
            <a:avLst/>
            <a:gdLst>
              <a:gd name="connsiteX0" fmla="*/ 0 w 1452716"/>
              <a:gd name="connsiteY0" fmla="*/ 35555 h 463259"/>
              <a:gd name="connsiteX1" fmla="*/ 803787 w 1452716"/>
              <a:gd name="connsiteY1" fmla="*/ 42930 h 463259"/>
              <a:gd name="connsiteX2" fmla="*/ 1452716 w 1452716"/>
              <a:gd name="connsiteY2" fmla="*/ 463259 h 463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2716" h="463259">
                <a:moveTo>
                  <a:pt x="0" y="35555"/>
                </a:moveTo>
                <a:cubicBezTo>
                  <a:pt x="280834" y="3600"/>
                  <a:pt x="561668" y="-28354"/>
                  <a:pt x="803787" y="42930"/>
                </a:cubicBezTo>
                <a:cubicBezTo>
                  <a:pt x="1045906" y="114214"/>
                  <a:pt x="1249311" y="288736"/>
                  <a:pt x="1452716" y="463259"/>
                </a:cubicBezTo>
              </a:path>
            </a:pathLst>
          </a:custGeom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5" name="Isosceles Triangle 844">
            <a:extLst>
              <a:ext uri="{FF2B5EF4-FFF2-40B4-BE49-F238E27FC236}">
                <a16:creationId xmlns:a16="http://schemas.microsoft.com/office/drawing/2014/main" id="{5A032535-4AD1-CF28-54E3-235619FB41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7814586">
            <a:off x="4617085" y="2505210"/>
            <a:ext cx="61642" cy="68452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46" name="Freeform: Shape 845">
            <a:extLst>
              <a:ext uri="{FF2B5EF4-FFF2-40B4-BE49-F238E27FC236}">
                <a16:creationId xmlns:a16="http://schemas.microsoft.com/office/drawing/2014/main" id="{7206A71C-001F-46AD-B53C-616C53F0EC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081713" y="2164295"/>
            <a:ext cx="3394343" cy="797980"/>
          </a:xfrm>
          <a:custGeom>
            <a:avLst/>
            <a:gdLst>
              <a:gd name="connsiteX0" fmla="*/ 3312318 w 3394343"/>
              <a:gd name="connsiteY0" fmla="*/ 797980 h 797980"/>
              <a:gd name="connsiteX1" fmla="*/ 3359943 w 3394343"/>
              <a:gd name="connsiteY1" fmla="*/ 512230 h 797980"/>
              <a:gd name="connsiteX2" fmla="*/ 2864643 w 3394343"/>
              <a:gd name="connsiteY2" fmla="*/ 219336 h 797980"/>
              <a:gd name="connsiteX3" fmla="*/ 2224087 w 3394343"/>
              <a:gd name="connsiteY3" fmla="*/ 261 h 797980"/>
              <a:gd name="connsiteX4" fmla="*/ 1519237 w 3394343"/>
              <a:gd name="connsiteY4" fmla="*/ 262199 h 797980"/>
              <a:gd name="connsiteX5" fmla="*/ 1157287 w 3394343"/>
              <a:gd name="connsiteY5" fmla="*/ 176474 h 797980"/>
              <a:gd name="connsiteX6" fmla="*/ 388143 w 3394343"/>
              <a:gd name="connsiteY6" fmla="*/ 21693 h 797980"/>
              <a:gd name="connsiteX7" fmla="*/ 0 w 3394343"/>
              <a:gd name="connsiteY7" fmla="*/ 247911 h 797980"/>
              <a:gd name="connsiteX8" fmla="*/ 0 w 3394343"/>
              <a:gd name="connsiteY8" fmla="*/ 247911 h 797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94343" h="797980">
                <a:moveTo>
                  <a:pt x="3312318" y="797980"/>
                </a:moveTo>
                <a:cubicBezTo>
                  <a:pt x="3373436" y="703325"/>
                  <a:pt x="3434555" y="608671"/>
                  <a:pt x="3359943" y="512230"/>
                </a:cubicBezTo>
                <a:cubicBezTo>
                  <a:pt x="3285331" y="415789"/>
                  <a:pt x="3053952" y="304664"/>
                  <a:pt x="2864643" y="219336"/>
                </a:cubicBezTo>
                <a:cubicBezTo>
                  <a:pt x="2675334" y="134008"/>
                  <a:pt x="2448321" y="-6883"/>
                  <a:pt x="2224087" y="261"/>
                </a:cubicBezTo>
                <a:cubicBezTo>
                  <a:pt x="1999853" y="7405"/>
                  <a:pt x="1697037" y="232830"/>
                  <a:pt x="1519237" y="262199"/>
                </a:cubicBezTo>
                <a:cubicBezTo>
                  <a:pt x="1341437" y="291568"/>
                  <a:pt x="1345803" y="216558"/>
                  <a:pt x="1157287" y="176474"/>
                </a:cubicBezTo>
                <a:cubicBezTo>
                  <a:pt x="968771" y="136390"/>
                  <a:pt x="581024" y="9787"/>
                  <a:pt x="388143" y="21693"/>
                </a:cubicBezTo>
                <a:cubicBezTo>
                  <a:pt x="195262" y="33599"/>
                  <a:pt x="0" y="247911"/>
                  <a:pt x="0" y="247911"/>
                </a:cubicBezTo>
                <a:lnTo>
                  <a:pt x="0" y="247911"/>
                </a:ln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7" name="Isosceles Triangle 846">
            <a:extLst>
              <a:ext uri="{FF2B5EF4-FFF2-40B4-BE49-F238E27FC236}">
                <a16:creationId xmlns:a16="http://schemas.microsoft.com/office/drawing/2014/main" id="{197C70A2-639B-5B9F-1839-1909742DD6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13605187">
            <a:off x="6034429" y="2392155"/>
            <a:ext cx="61642" cy="68452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48" name="Freeform: Shape 847">
            <a:extLst>
              <a:ext uri="{FF2B5EF4-FFF2-40B4-BE49-F238E27FC236}">
                <a16:creationId xmlns:a16="http://schemas.microsoft.com/office/drawing/2014/main" id="{B51ACFD3-5FED-36E2-1DCF-13D53CD499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53488" y="3028950"/>
            <a:ext cx="754202" cy="1407241"/>
          </a:xfrm>
          <a:custGeom>
            <a:avLst/>
            <a:gdLst>
              <a:gd name="connsiteX0" fmla="*/ 0 w 754202"/>
              <a:gd name="connsiteY0" fmla="*/ 1371600 h 1407241"/>
              <a:gd name="connsiteX1" fmla="*/ 138112 w 754202"/>
              <a:gd name="connsiteY1" fmla="*/ 1388269 h 1407241"/>
              <a:gd name="connsiteX2" fmla="*/ 411956 w 754202"/>
              <a:gd name="connsiteY2" fmla="*/ 1140619 h 1407241"/>
              <a:gd name="connsiteX3" fmla="*/ 750093 w 754202"/>
              <a:gd name="connsiteY3" fmla="*/ 390525 h 1407241"/>
              <a:gd name="connsiteX4" fmla="*/ 569118 w 754202"/>
              <a:gd name="connsiteY4" fmla="*/ 0 h 14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4202" h="1407241">
                <a:moveTo>
                  <a:pt x="0" y="1371600"/>
                </a:moveTo>
                <a:cubicBezTo>
                  <a:pt x="34726" y="1399183"/>
                  <a:pt x="69453" y="1426766"/>
                  <a:pt x="138112" y="1388269"/>
                </a:cubicBezTo>
                <a:cubicBezTo>
                  <a:pt x="206771" y="1349772"/>
                  <a:pt x="309959" y="1306910"/>
                  <a:pt x="411956" y="1140619"/>
                </a:cubicBezTo>
                <a:cubicBezTo>
                  <a:pt x="513953" y="974328"/>
                  <a:pt x="723899" y="580628"/>
                  <a:pt x="750093" y="390525"/>
                </a:cubicBezTo>
                <a:cubicBezTo>
                  <a:pt x="776287" y="200422"/>
                  <a:pt x="672702" y="100211"/>
                  <a:pt x="569118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9" name="Isosceles Triangle 848">
            <a:extLst>
              <a:ext uri="{FF2B5EF4-FFF2-40B4-BE49-F238E27FC236}">
                <a16:creationId xmlns:a16="http://schemas.microsoft.com/office/drawing/2014/main" id="{904A1381-3534-E879-46BE-1B549B66663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20650057">
            <a:off x="9566797" y="3249345"/>
            <a:ext cx="61642" cy="68452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50" name="Freeform: Shape 849">
            <a:extLst>
              <a:ext uri="{FF2B5EF4-FFF2-40B4-BE49-F238E27FC236}">
                <a16:creationId xmlns:a16="http://schemas.microsoft.com/office/drawing/2014/main" id="{657E804E-01F8-F3E5-0DDE-AF5E3F8118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203531" y="3741851"/>
            <a:ext cx="288132" cy="184578"/>
          </a:xfrm>
          <a:custGeom>
            <a:avLst/>
            <a:gdLst>
              <a:gd name="connsiteX0" fmla="*/ 0 w 288132"/>
              <a:gd name="connsiteY0" fmla="*/ 166687 h 184578"/>
              <a:gd name="connsiteX1" fmla="*/ 128588 w 288132"/>
              <a:gd name="connsiteY1" fmla="*/ 169069 h 184578"/>
              <a:gd name="connsiteX2" fmla="*/ 288132 w 288132"/>
              <a:gd name="connsiteY2" fmla="*/ 0 h 184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8132" h="184578">
                <a:moveTo>
                  <a:pt x="0" y="166687"/>
                </a:moveTo>
                <a:cubicBezTo>
                  <a:pt x="40283" y="181768"/>
                  <a:pt x="80566" y="196850"/>
                  <a:pt x="128588" y="169069"/>
                </a:cubicBezTo>
                <a:cubicBezTo>
                  <a:pt x="176610" y="141288"/>
                  <a:pt x="232371" y="70644"/>
                  <a:pt x="288132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1" name="Rectangle 850">
            <a:extLst>
              <a:ext uri="{FF2B5EF4-FFF2-40B4-BE49-F238E27FC236}">
                <a16:creationId xmlns:a16="http://schemas.microsoft.com/office/drawing/2014/main" id="{73FA569D-0242-D12C-3EC9-16BB174BCC3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40349" y="388703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52" name="Freeform: Shape 851">
            <a:extLst>
              <a:ext uri="{FF2B5EF4-FFF2-40B4-BE49-F238E27FC236}">
                <a16:creationId xmlns:a16="http://schemas.microsoft.com/office/drawing/2014/main" id="{879B06C0-30B5-4315-CCDD-87E8894AEF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108281" y="3729603"/>
            <a:ext cx="385763" cy="135117"/>
          </a:xfrm>
          <a:custGeom>
            <a:avLst/>
            <a:gdLst>
              <a:gd name="connsiteX0" fmla="*/ 0 w 385763"/>
              <a:gd name="connsiteY0" fmla="*/ 64294 h 135117"/>
              <a:gd name="connsiteX1" fmla="*/ 100013 w 385763"/>
              <a:gd name="connsiteY1" fmla="*/ 133350 h 135117"/>
              <a:gd name="connsiteX2" fmla="*/ 385763 w 385763"/>
              <a:gd name="connsiteY2" fmla="*/ 0 h 135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763" h="135117">
                <a:moveTo>
                  <a:pt x="0" y="64294"/>
                </a:moveTo>
                <a:cubicBezTo>
                  <a:pt x="17859" y="104180"/>
                  <a:pt x="35719" y="144066"/>
                  <a:pt x="100013" y="133350"/>
                </a:cubicBezTo>
                <a:cubicBezTo>
                  <a:pt x="164307" y="122634"/>
                  <a:pt x="275035" y="61317"/>
                  <a:pt x="385763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3" name="Rectangle 852">
            <a:extLst>
              <a:ext uri="{FF2B5EF4-FFF2-40B4-BE49-F238E27FC236}">
                <a16:creationId xmlns:a16="http://schemas.microsoft.com/office/drawing/2014/main" id="{4C54210D-E50A-2B39-69B5-5A9CFCEB88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041470" y="377105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54" name="Freeform: Shape 853">
            <a:extLst>
              <a:ext uri="{FF2B5EF4-FFF2-40B4-BE49-F238E27FC236}">
                <a16:creationId xmlns:a16="http://schemas.microsoft.com/office/drawing/2014/main" id="{30A1ED69-A069-4944-C70B-BDB18F60C6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67788" y="3260547"/>
            <a:ext cx="621506" cy="367145"/>
          </a:xfrm>
          <a:custGeom>
            <a:avLst/>
            <a:gdLst>
              <a:gd name="connsiteX0" fmla="*/ 0 w 621506"/>
              <a:gd name="connsiteY0" fmla="*/ 4147 h 367145"/>
              <a:gd name="connsiteX1" fmla="*/ 109537 w 621506"/>
              <a:gd name="connsiteY1" fmla="*/ 44628 h 367145"/>
              <a:gd name="connsiteX2" fmla="*/ 323850 w 621506"/>
              <a:gd name="connsiteY2" fmla="*/ 323234 h 367145"/>
              <a:gd name="connsiteX3" fmla="*/ 385762 w 621506"/>
              <a:gd name="connsiteY3" fmla="*/ 366097 h 367145"/>
              <a:gd name="connsiteX4" fmla="*/ 540543 w 621506"/>
              <a:gd name="connsiteY4" fmla="*/ 320853 h 367145"/>
              <a:gd name="connsiteX5" fmla="*/ 621506 w 621506"/>
              <a:gd name="connsiteY5" fmla="*/ 211316 h 36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1506" h="367145">
                <a:moveTo>
                  <a:pt x="0" y="4147"/>
                </a:moveTo>
                <a:cubicBezTo>
                  <a:pt x="27781" y="-2203"/>
                  <a:pt x="55562" y="-8553"/>
                  <a:pt x="109537" y="44628"/>
                </a:cubicBezTo>
                <a:cubicBezTo>
                  <a:pt x="163512" y="97809"/>
                  <a:pt x="277813" y="269656"/>
                  <a:pt x="323850" y="323234"/>
                </a:cubicBezTo>
                <a:cubicBezTo>
                  <a:pt x="369888" y="376812"/>
                  <a:pt x="349647" y="366494"/>
                  <a:pt x="385762" y="366097"/>
                </a:cubicBezTo>
                <a:cubicBezTo>
                  <a:pt x="421877" y="365700"/>
                  <a:pt x="501252" y="346650"/>
                  <a:pt x="540543" y="320853"/>
                </a:cubicBezTo>
                <a:cubicBezTo>
                  <a:pt x="579834" y="295056"/>
                  <a:pt x="600670" y="253186"/>
                  <a:pt x="621506" y="211316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5" name="Freeform: Shape 854">
            <a:extLst>
              <a:ext uri="{FF2B5EF4-FFF2-40B4-BE49-F238E27FC236}">
                <a16:creationId xmlns:a16="http://schemas.microsoft.com/office/drawing/2014/main" id="{7D184D95-DB04-E90D-970D-65CFE39A38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70169" y="3267075"/>
            <a:ext cx="590550" cy="384582"/>
          </a:xfrm>
          <a:custGeom>
            <a:avLst/>
            <a:gdLst>
              <a:gd name="connsiteX0" fmla="*/ 590550 w 590550"/>
              <a:gd name="connsiteY0" fmla="*/ 309563 h 384582"/>
              <a:gd name="connsiteX1" fmla="*/ 504825 w 590550"/>
              <a:gd name="connsiteY1" fmla="*/ 373856 h 384582"/>
              <a:gd name="connsiteX2" fmla="*/ 364331 w 590550"/>
              <a:gd name="connsiteY2" fmla="*/ 359569 h 384582"/>
              <a:gd name="connsiteX3" fmla="*/ 204787 w 590550"/>
              <a:gd name="connsiteY3" fmla="*/ 138113 h 384582"/>
              <a:gd name="connsiteX4" fmla="*/ 0 w 590550"/>
              <a:gd name="connsiteY4" fmla="*/ 0 h 3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0550" h="384582">
                <a:moveTo>
                  <a:pt x="590550" y="309563"/>
                </a:moveTo>
                <a:cubicBezTo>
                  <a:pt x="566539" y="337542"/>
                  <a:pt x="542528" y="365522"/>
                  <a:pt x="504825" y="373856"/>
                </a:cubicBezTo>
                <a:cubicBezTo>
                  <a:pt x="467122" y="382190"/>
                  <a:pt x="414337" y="398859"/>
                  <a:pt x="364331" y="359569"/>
                </a:cubicBezTo>
                <a:cubicBezTo>
                  <a:pt x="314325" y="320279"/>
                  <a:pt x="265509" y="198041"/>
                  <a:pt x="204787" y="138113"/>
                </a:cubicBezTo>
                <a:cubicBezTo>
                  <a:pt x="144065" y="78185"/>
                  <a:pt x="72032" y="39092"/>
                  <a:pt x="0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6" name="Freeform: Shape 855">
            <a:extLst>
              <a:ext uri="{FF2B5EF4-FFF2-40B4-BE49-F238E27FC236}">
                <a16:creationId xmlns:a16="http://schemas.microsoft.com/office/drawing/2014/main" id="{DE4E06D7-2BB4-6EF0-9079-66B10CEA0F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43975" y="3505200"/>
            <a:ext cx="554831" cy="246536"/>
          </a:xfrm>
          <a:custGeom>
            <a:avLst/>
            <a:gdLst>
              <a:gd name="connsiteX0" fmla="*/ 554831 w 554831"/>
              <a:gd name="connsiteY0" fmla="*/ 219075 h 246536"/>
              <a:gd name="connsiteX1" fmla="*/ 411956 w 554831"/>
              <a:gd name="connsiteY1" fmla="*/ 245269 h 246536"/>
              <a:gd name="connsiteX2" fmla="*/ 195263 w 554831"/>
              <a:gd name="connsiteY2" fmla="*/ 183356 h 246536"/>
              <a:gd name="connsiteX3" fmla="*/ 0 w 554831"/>
              <a:gd name="connsiteY3" fmla="*/ 0 h 246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4831" h="246536">
                <a:moveTo>
                  <a:pt x="554831" y="219075"/>
                </a:moveTo>
                <a:cubicBezTo>
                  <a:pt x="513357" y="235148"/>
                  <a:pt x="471884" y="251222"/>
                  <a:pt x="411956" y="245269"/>
                </a:cubicBezTo>
                <a:cubicBezTo>
                  <a:pt x="352028" y="239316"/>
                  <a:pt x="263922" y="224234"/>
                  <a:pt x="195263" y="183356"/>
                </a:cubicBezTo>
                <a:cubicBezTo>
                  <a:pt x="126604" y="142478"/>
                  <a:pt x="63302" y="71239"/>
                  <a:pt x="0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7" name="Rectangle 856">
            <a:extLst>
              <a:ext uri="{FF2B5EF4-FFF2-40B4-BE49-F238E27FC236}">
                <a16:creationId xmlns:a16="http://schemas.microsoft.com/office/drawing/2014/main" id="{FE20CA0D-6C8C-FE0E-CA25-C5FD5AD6E9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824300" y="417924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58" name="TextBox 857">
            <a:extLst>
              <a:ext uri="{FF2B5EF4-FFF2-40B4-BE49-F238E27FC236}">
                <a16:creationId xmlns:a16="http://schemas.microsoft.com/office/drawing/2014/main" id="{BA37E3D5-A4BF-63D0-11D3-C0770EE7531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904740" y="4119245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arach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59" name="Freeform: Shape 858">
            <a:extLst>
              <a:ext uri="{FF2B5EF4-FFF2-40B4-BE49-F238E27FC236}">
                <a16:creationId xmlns:a16="http://schemas.microsoft.com/office/drawing/2014/main" id="{B2A55BE6-FA50-39BD-0BA5-97DEEEBF31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843851" y="4238625"/>
            <a:ext cx="447412" cy="414338"/>
          </a:xfrm>
          <a:custGeom>
            <a:avLst/>
            <a:gdLst>
              <a:gd name="connsiteX0" fmla="*/ 447412 w 447412"/>
              <a:gd name="connsiteY0" fmla="*/ 414338 h 414338"/>
              <a:gd name="connsiteX1" fmla="*/ 218812 w 447412"/>
              <a:gd name="connsiteY1" fmla="*/ 361950 h 414338"/>
              <a:gd name="connsiteX2" fmla="*/ 28312 w 447412"/>
              <a:gd name="connsiteY2" fmla="*/ 147638 h 414338"/>
              <a:gd name="connsiteX3" fmla="*/ 4499 w 447412"/>
              <a:gd name="connsiteY3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412" h="414338">
                <a:moveTo>
                  <a:pt x="447412" y="414338"/>
                </a:moveTo>
                <a:cubicBezTo>
                  <a:pt x="368037" y="410369"/>
                  <a:pt x="288662" y="406400"/>
                  <a:pt x="218812" y="361950"/>
                </a:cubicBezTo>
                <a:cubicBezTo>
                  <a:pt x="148962" y="317500"/>
                  <a:pt x="64031" y="207963"/>
                  <a:pt x="28312" y="147638"/>
                </a:cubicBezTo>
                <a:cubicBezTo>
                  <a:pt x="-7407" y="87313"/>
                  <a:pt x="-1454" y="43656"/>
                  <a:pt x="4499" y="0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0" name="Freeform: Shape 859">
            <a:extLst>
              <a:ext uri="{FF2B5EF4-FFF2-40B4-BE49-F238E27FC236}">
                <a16:creationId xmlns:a16="http://schemas.microsoft.com/office/drawing/2014/main" id="{D940E160-B0BB-4056-187A-39B61959FF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19259" y="3181350"/>
            <a:ext cx="178922" cy="995363"/>
          </a:xfrm>
          <a:custGeom>
            <a:avLst/>
            <a:gdLst>
              <a:gd name="connsiteX0" fmla="*/ 148141 w 178922"/>
              <a:gd name="connsiteY0" fmla="*/ 995363 h 995363"/>
              <a:gd name="connsiteX1" fmla="*/ 171954 w 178922"/>
              <a:gd name="connsiteY1" fmla="*/ 742950 h 995363"/>
              <a:gd name="connsiteX2" fmla="*/ 38604 w 178922"/>
              <a:gd name="connsiteY2" fmla="*/ 452438 h 995363"/>
              <a:gd name="connsiteX3" fmla="*/ 43366 w 178922"/>
              <a:gd name="connsiteY3" fmla="*/ 152400 h 995363"/>
              <a:gd name="connsiteX4" fmla="*/ 504 w 178922"/>
              <a:gd name="connsiteY4" fmla="*/ 76200 h 995363"/>
              <a:gd name="connsiteX5" fmla="*/ 76704 w 178922"/>
              <a:gd name="connsiteY5" fmla="*/ 0 h 995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922" h="995363">
                <a:moveTo>
                  <a:pt x="148141" y="995363"/>
                </a:moveTo>
                <a:cubicBezTo>
                  <a:pt x="169175" y="914400"/>
                  <a:pt x="190210" y="833437"/>
                  <a:pt x="171954" y="742950"/>
                </a:cubicBezTo>
                <a:cubicBezTo>
                  <a:pt x="153698" y="652463"/>
                  <a:pt x="60035" y="550863"/>
                  <a:pt x="38604" y="452438"/>
                </a:cubicBezTo>
                <a:cubicBezTo>
                  <a:pt x="17173" y="354013"/>
                  <a:pt x="49716" y="215106"/>
                  <a:pt x="43366" y="152400"/>
                </a:cubicBezTo>
                <a:cubicBezTo>
                  <a:pt x="37016" y="89694"/>
                  <a:pt x="-5052" y="101600"/>
                  <a:pt x="504" y="76200"/>
                </a:cubicBezTo>
                <a:cubicBezTo>
                  <a:pt x="6060" y="50800"/>
                  <a:pt x="41382" y="25400"/>
                  <a:pt x="76704" y="0"/>
                </a:cubicBezTo>
              </a:path>
            </a:pathLst>
          </a:cu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1" name="TextBox 860">
            <a:extLst>
              <a:ext uri="{FF2B5EF4-FFF2-40B4-BE49-F238E27FC236}">
                <a16:creationId xmlns:a16="http://schemas.microsoft.com/office/drawing/2014/main" id="{748081EB-FA3B-65A9-D570-6C3605FC8A8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035793" y="5190839"/>
            <a:ext cx="950206" cy="297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Афганский маршрут</a:t>
            </a:r>
            <a:endParaRPr lang="en-GB" sz="14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FCB15525-65E9-E0EE-F22E-0756231DF5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833197" y="5196421"/>
            <a:ext cx="149465" cy="141698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5</a:t>
            </a:r>
          </a:p>
        </p:txBody>
      </p:sp>
      <p:sp>
        <p:nvSpPr>
          <p:cNvPr id="863" name="Rectangle: Rounded Corners 862">
            <a:extLst>
              <a:ext uri="{FF2B5EF4-FFF2-40B4-BE49-F238E27FC236}">
                <a16:creationId xmlns:a16="http://schemas.microsoft.com/office/drawing/2014/main" id="{3F6BD863-376C-1C18-9E71-B20C8D99A0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944469" y="3838475"/>
            <a:ext cx="149465" cy="141698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dirty="0"/>
              <a:t>5</a:t>
            </a:r>
          </a:p>
        </p:txBody>
      </p:sp>
      <p:sp>
        <p:nvSpPr>
          <p:cNvPr id="864" name="Rectangle 863">
            <a:extLst>
              <a:ext uri="{FF2B5EF4-FFF2-40B4-BE49-F238E27FC236}">
                <a16:creationId xmlns:a16="http://schemas.microsoft.com/office/drawing/2014/main" id="{A20C5D6D-BFC5-EC71-CC0E-5335B82043C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811620" y="298748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65" name="TextBox 864">
            <a:extLst>
              <a:ext uri="{FF2B5EF4-FFF2-40B4-BE49-F238E27FC236}">
                <a16:creationId xmlns:a16="http://schemas.microsoft.com/office/drawing/2014/main" id="{039928E4-C366-6199-B805-99D663688A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802799" y="3036058"/>
            <a:ext cx="479684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Aktau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66" name="Freeform: Shape 865">
            <a:extLst>
              <a:ext uri="{FF2B5EF4-FFF2-40B4-BE49-F238E27FC236}">
                <a16:creationId xmlns:a16="http://schemas.microsoft.com/office/drawing/2014/main" id="{BEED5340-9214-6216-4F3C-4242BA909D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738688" y="3038475"/>
            <a:ext cx="73818" cy="147638"/>
          </a:xfrm>
          <a:custGeom>
            <a:avLst/>
            <a:gdLst>
              <a:gd name="connsiteX0" fmla="*/ 73818 w 73818"/>
              <a:gd name="connsiteY0" fmla="*/ 0 h 147638"/>
              <a:gd name="connsiteX1" fmla="*/ 26193 w 73818"/>
              <a:gd name="connsiteY1" fmla="*/ 100013 h 147638"/>
              <a:gd name="connsiteX2" fmla="*/ 0 w 73818"/>
              <a:gd name="connsiteY2" fmla="*/ 147638 h 14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818" h="147638">
                <a:moveTo>
                  <a:pt x="73818" y="0"/>
                </a:moveTo>
                <a:cubicBezTo>
                  <a:pt x="56157" y="37703"/>
                  <a:pt x="38496" y="75407"/>
                  <a:pt x="26193" y="100013"/>
                </a:cubicBezTo>
                <a:cubicBezTo>
                  <a:pt x="13890" y="124619"/>
                  <a:pt x="6945" y="136128"/>
                  <a:pt x="0" y="147638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Rectangle 866">
            <a:extLst>
              <a:ext uri="{FF2B5EF4-FFF2-40B4-BE49-F238E27FC236}">
                <a16:creationId xmlns:a16="http://schemas.microsoft.com/office/drawing/2014/main" id="{963E10F1-4D34-41B7-6D3E-49085E1CAB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675413" y="314938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68" name="TextBox 867">
            <a:extLst>
              <a:ext uri="{FF2B5EF4-FFF2-40B4-BE49-F238E27FC236}">
                <a16:creationId xmlns:a16="http://schemas.microsoft.com/office/drawing/2014/main" id="{B192357F-4CED-213D-36B7-B812D966CA9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671665" y="3193519"/>
            <a:ext cx="342693" cy="1698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aku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69" name="TextBox 868">
            <a:extLst>
              <a:ext uri="{FF2B5EF4-FFF2-40B4-BE49-F238E27FC236}">
                <a16:creationId xmlns:a16="http://schemas.microsoft.com/office/drawing/2014/main" id="{96FDFF73-3648-EA7B-4F25-8D1F5810812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227946" y="3117231"/>
            <a:ext cx="342693" cy="1698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Tbilis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70" name="Freeform: Shape 869">
            <a:extLst>
              <a:ext uri="{FF2B5EF4-FFF2-40B4-BE49-F238E27FC236}">
                <a16:creationId xmlns:a16="http://schemas.microsoft.com/office/drawing/2014/main" id="{2420C5FC-033D-5030-77FA-2A72F39642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411707" y="3092931"/>
            <a:ext cx="251369" cy="102630"/>
          </a:xfrm>
          <a:custGeom>
            <a:avLst/>
            <a:gdLst>
              <a:gd name="connsiteX0" fmla="*/ 251369 w 251369"/>
              <a:gd name="connsiteY0" fmla="*/ 102004 h 102630"/>
              <a:gd name="connsiteX1" fmla="*/ 123863 w 251369"/>
              <a:gd name="connsiteY1" fmla="*/ 87432 h 102630"/>
              <a:gd name="connsiteX2" fmla="*/ 0 w 251369"/>
              <a:gd name="connsiteY2" fmla="*/ 0 h 10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1369" h="102630">
                <a:moveTo>
                  <a:pt x="251369" y="102004"/>
                </a:moveTo>
                <a:cubicBezTo>
                  <a:pt x="208563" y="103218"/>
                  <a:pt x="165758" y="104433"/>
                  <a:pt x="123863" y="87432"/>
                </a:cubicBezTo>
                <a:cubicBezTo>
                  <a:pt x="81968" y="70431"/>
                  <a:pt x="40984" y="35215"/>
                  <a:pt x="0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1" name="Rectangle 870">
            <a:extLst>
              <a:ext uri="{FF2B5EF4-FFF2-40B4-BE49-F238E27FC236}">
                <a16:creationId xmlns:a16="http://schemas.microsoft.com/office/drawing/2014/main" id="{4D492E00-6289-6901-CBBE-C693C89A24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380615" y="306130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72" name="Freeform: Shape 871">
            <a:extLst>
              <a:ext uri="{FF2B5EF4-FFF2-40B4-BE49-F238E27FC236}">
                <a16:creationId xmlns:a16="http://schemas.microsoft.com/office/drawing/2014/main" id="{DBEAF457-1157-90C2-2A19-35B77E535D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870764" y="2703932"/>
            <a:ext cx="1282575" cy="280694"/>
          </a:xfrm>
          <a:custGeom>
            <a:avLst/>
            <a:gdLst>
              <a:gd name="connsiteX0" fmla="*/ 0 w 1282575"/>
              <a:gd name="connsiteY0" fmla="*/ 280694 h 280694"/>
              <a:gd name="connsiteX1" fmla="*/ 153909 w 1282575"/>
              <a:gd name="connsiteY1" fmla="*/ 90571 h 280694"/>
              <a:gd name="connsiteX2" fmla="*/ 341014 w 1282575"/>
              <a:gd name="connsiteY2" fmla="*/ 36 h 280694"/>
              <a:gd name="connsiteX3" fmla="*/ 709188 w 1282575"/>
              <a:gd name="connsiteY3" fmla="*/ 99624 h 280694"/>
              <a:gd name="connsiteX4" fmla="*/ 1282575 w 1282575"/>
              <a:gd name="connsiteY4" fmla="*/ 247498 h 280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2575" h="280694">
                <a:moveTo>
                  <a:pt x="0" y="280694"/>
                </a:moveTo>
                <a:cubicBezTo>
                  <a:pt x="48536" y="209020"/>
                  <a:pt x="97073" y="137347"/>
                  <a:pt x="153909" y="90571"/>
                </a:cubicBezTo>
                <a:cubicBezTo>
                  <a:pt x="210745" y="43795"/>
                  <a:pt x="248468" y="-1473"/>
                  <a:pt x="341014" y="36"/>
                </a:cubicBezTo>
                <a:cubicBezTo>
                  <a:pt x="433561" y="1545"/>
                  <a:pt x="709188" y="99624"/>
                  <a:pt x="709188" y="99624"/>
                </a:cubicBezTo>
                <a:lnTo>
                  <a:pt x="1282575" y="247498"/>
                </a:ln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3" name="Rectangle 872">
            <a:extLst>
              <a:ext uri="{FF2B5EF4-FFF2-40B4-BE49-F238E27FC236}">
                <a16:creationId xmlns:a16="http://schemas.microsoft.com/office/drawing/2014/main" id="{41AF76F8-4C6F-428B-2D73-D4C27D7713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144582" y="293694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74" name="Freeform: Shape 873">
            <a:extLst>
              <a:ext uri="{FF2B5EF4-FFF2-40B4-BE49-F238E27FC236}">
                <a16:creationId xmlns:a16="http://schemas.microsoft.com/office/drawing/2014/main" id="{1F718EDC-FB90-4100-A08A-01C7639760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873782" y="2983991"/>
            <a:ext cx="914400" cy="190151"/>
          </a:xfrm>
          <a:custGeom>
            <a:avLst/>
            <a:gdLst>
              <a:gd name="connsiteX0" fmla="*/ 0 w 914400"/>
              <a:gd name="connsiteY0" fmla="*/ 21759 h 190151"/>
              <a:gd name="connsiteX1" fmla="*/ 322907 w 914400"/>
              <a:gd name="connsiteY1" fmla="*/ 12706 h 190151"/>
              <a:gd name="connsiteX2" fmla="*/ 772563 w 914400"/>
              <a:gd name="connsiteY2" fmla="*/ 172651 h 190151"/>
              <a:gd name="connsiteX3" fmla="*/ 914400 w 914400"/>
              <a:gd name="connsiteY3" fmla="*/ 178686 h 190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190151">
                <a:moveTo>
                  <a:pt x="0" y="21759"/>
                </a:moveTo>
                <a:cubicBezTo>
                  <a:pt x="97073" y="4658"/>
                  <a:pt x="194147" y="-12443"/>
                  <a:pt x="322907" y="12706"/>
                </a:cubicBezTo>
                <a:cubicBezTo>
                  <a:pt x="451668" y="37855"/>
                  <a:pt x="673981" y="144988"/>
                  <a:pt x="772563" y="172651"/>
                </a:cubicBezTo>
                <a:cubicBezTo>
                  <a:pt x="871145" y="200314"/>
                  <a:pt x="892772" y="189500"/>
                  <a:pt x="914400" y="178686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5" name="Rectangle 874">
            <a:extLst>
              <a:ext uri="{FF2B5EF4-FFF2-40B4-BE49-F238E27FC236}">
                <a16:creationId xmlns:a16="http://schemas.microsoft.com/office/drawing/2014/main" id="{7E9823BD-9118-4B4A-EF35-867482FE61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77659" y="312565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76" name="Isosceles Triangle 875">
            <a:extLst>
              <a:ext uri="{FF2B5EF4-FFF2-40B4-BE49-F238E27FC236}">
                <a16:creationId xmlns:a16="http://schemas.microsoft.com/office/drawing/2014/main" id="{87415845-8FF8-50FD-AE43-94AA6EF8BB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5591042">
            <a:off x="5744000" y="3140954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77" name="Isosceles Triangle 876">
            <a:extLst>
              <a:ext uri="{FF2B5EF4-FFF2-40B4-BE49-F238E27FC236}">
                <a16:creationId xmlns:a16="http://schemas.microsoft.com/office/drawing/2014/main" id="{AD0B199A-E932-6618-D5DE-ABE90384573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6603533">
            <a:off x="6104699" y="2915291"/>
            <a:ext cx="61642" cy="68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78" name="Freeform: Shape 877">
            <a:extLst>
              <a:ext uri="{FF2B5EF4-FFF2-40B4-BE49-F238E27FC236}">
                <a16:creationId xmlns:a16="http://schemas.microsoft.com/office/drawing/2014/main" id="{10089A6C-ED23-9BD3-DA2E-71B68DD6EB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046220" y="2602230"/>
            <a:ext cx="1203960" cy="270510"/>
          </a:xfrm>
          <a:custGeom>
            <a:avLst/>
            <a:gdLst>
              <a:gd name="connsiteX0" fmla="*/ 0 w 1203960"/>
              <a:gd name="connsiteY0" fmla="*/ 270510 h 270510"/>
              <a:gd name="connsiteX1" fmla="*/ 346710 w 1203960"/>
              <a:gd name="connsiteY1" fmla="*/ 95250 h 270510"/>
              <a:gd name="connsiteX2" fmla="*/ 1203960 w 1203960"/>
              <a:gd name="connsiteY2" fmla="*/ 0 h 270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3960" h="270510">
                <a:moveTo>
                  <a:pt x="0" y="270510"/>
                </a:moveTo>
                <a:cubicBezTo>
                  <a:pt x="73025" y="205422"/>
                  <a:pt x="146050" y="140335"/>
                  <a:pt x="346710" y="95250"/>
                </a:cubicBezTo>
                <a:cubicBezTo>
                  <a:pt x="547370" y="50165"/>
                  <a:pt x="1015365" y="11430"/>
                  <a:pt x="1203960" y="0"/>
                </a:cubicBezTo>
              </a:path>
            </a:pathLst>
          </a:cu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9" name="Isosceles Triangle 878">
            <a:extLst>
              <a:ext uri="{FF2B5EF4-FFF2-40B4-BE49-F238E27FC236}">
                <a16:creationId xmlns:a16="http://schemas.microsoft.com/office/drawing/2014/main" id="{0EE73BFE-27CA-8522-AFDD-E1CAD7E8C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5072718">
            <a:off x="5241986" y="2568189"/>
            <a:ext cx="61642" cy="68452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80" name="Freeform: Shape 879">
            <a:extLst>
              <a:ext uri="{FF2B5EF4-FFF2-40B4-BE49-F238E27FC236}">
                <a16:creationId xmlns:a16="http://schemas.microsoft.com/office/drawing/2014/main" id="{6E760F82-FC73-864D-6B52-8099E80DD9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648200" y="2655007"/>
            <a:ext cx="840965" cy="485484"/>
          </a:xfrm>
          <a:custGeom>
            <a:avLst/>
            <a:gdLst>
              <a:gd name="connsiteX0" fmla="*/ 0 w 840965"/>
              <a:gd name="connsiteY0" fmla="*/ 563 h 485484"/>
              <a:gd name="connsiteX1" fmla="*/ 236220 w 840965"/>
              <a:gd name="connsiteY1" fmla="*/ 46283 h 485484"/>
              <a:gd name="connsiteX2" fmla="*/ 457200 w 840965"/>
              <a:gd name="connsiteY2" fmla="*/ 293933 h 485484"/>
              <a:gd name="connsiteX3" fmla="*/ 784860 w 840965"/>
              <a:gd name="connsiteY3" fmla="*/ 461573 h 485484"/>
              <a:gd name="connsiteX4" fmla="*/ 838200 w 840965"/>
              <a:gd name="connsiteY4" fmla="*/ 480623 h 485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0965" h="485484">
                <a:moveTo>
                  <a:pt x="0" y="563"/>
                </a:moveTo>
                <a:cubicBezTo>
                  <a:pt x="80010" y="-1025"/>
                  <a:pt x="160020" y="-2612"/>
                  <a:pt x="236220" y="46283"/>
                </a:cubicBezTo>
                <a:cubicBezTo>
                  <a:pt x="312420" y="95178"/>
                  <a:pt x="365760" y="224718"/>
                  <a:pt x="457200" y="293933"/>
                </a:cubicBezTo>
                <a:cubicBezTo>
                  <a:pt x="548640" y="363148"/>
                  <a:pt x="721360" y="430458"/>
                  <a:pt x="784860" y="461573"/>
                </a:cubicBezTo>
                <a:cubicBezTo>
                  <a:pt x="848360" y="492688"/>
                  <a:pt x="843280" y="486655"/>
                  <a:pt x="838200" y="480623"/>
                </a:cubicBezTo>
              </a:path>
            </a:pathLst>
          </a:cu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1" name="Isosceles Triangle 880">
            <a:extLst>
              <a:ext uri="{FF2B5EF4-FFF2-40B4-BE49-F238E27FC236}">
                <a16:creationId xmlns:a16="http://schemas.microsoft.com/office/drawing/2014/main" id="{A2BF2CB4-3E18-9BFE-DE91-4BD97D7F6C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6196728">
            <a:off x="5480555" y="3112054"/>
            <a:ext cx="61642" cy="68452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82" name="TextBox 881">
            <a:extLst>
              <a:ext uri="{FF2B5EF4-FFF2-40B4-BE49-F238E27FC236}">
                <a16:creationId xmlns:a16="http://schemas.microsoft.com/office/drawing/2014/main" id="{7DDA8CDF-FF5C-BA7A-7631-4E7677702B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977022" y="3057795"/>
            <a:ext cx="237566" cy="1698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Poti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83" name="Freeform: Shape 882">
            <a:extLst>
              <a:ext uri="{FF2B5EF4-FFF2-40B4-BE49-F238E27FC236}">
                <a16:creationId xmlns:a16="http://schemas.microsoft.com/office/drawing/2014/main" id="{C754F86A-D25D-F22E-CEED-35DA219D46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262456" y="3077650"/>
            <a:ext cx="117413" cy="17790"/>
          </a:xfrm>
          <a:custGeom>
            <a:avLst/>
            <a:gdLst>
              <a:gd name="connsiteX0" fmla="*/ 0 w 117413"/>
              <a:gd name="connsiteY0" fmla="*/ 0 h 17790"/>
              <a:gd name="connsiteX1" fmla="*/ 53370 w 117413"/>
              <a:gd name="connsiteY1" fmla="*/ 3558 h 17790"/>
              <a:gd name="connsiteX2" fmla="*/ 117413 w 117413"/>
              <a:gd name="connsiteY2" fmla="*/ 17790 h 17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13" h="17790">
                <a:moveTo>
                  <a:pt x="0" y="0"/>
                </a:moveTo>
                <a:cubicBezTo>
                  <a:pt x="16900" y="296"/>
                  <a:pt x="33801" y="593"/>
                  <a:pt x="53370" y="3558"/>
                </a:cubicBezTo>
                <a:cubicBezTo>
                  <a:pt x="72939" y="6523"/>
                  <a:pt x="95176" y="12156"/>
                  <a:pt x="117413" y="1779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4" name="Rectangle 883">
            <a:extLst>
              <a:ext uri="{FF2B5EF4-FFF2-40B4-BE49-F238E27FC236}">
                <a16:creationId xmlns:a16="http://schemas.microsoft.com/office/drawing/2014/main" id="{B70865F0-90C7-CBC6-3519-825C698DA1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197281" y="3038475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85" name="Freeform: Shape 884">
            <a:extLst>
              <a:ext uri="{FF2B5EF4-FFF2-40B4-BE49-F238E27FC236}">
                <a16:creationId xmlns:a16="http://schemas.microsoft.com/office/drawing/2014/main" id="{A3558F30-CA20-3291-3EB9-27A4B3E3337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013398" y="2878403"/>
            <a:ext cx="327075" cy="188573"/>
          </a:xfrm>
          <a:custGeom>
            <a:avLst/>
            <a:gdLst>
              <a:gd name="connsiteX0" fmla="*/ 0 w 327075"/>
              <a:gd name="connsiteY0" fmla="*/ 0 h 188573"/>
              <a:gd name="connsiteX1" fmla="*/ 227710 w 327075"/>
              <a:gd name="connsiteY1" fmla="*/ 188573 h 18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7075" h="188573">
                <a:moveTo>
                  <a:pt x="0" y="0"/>
                </a:moveTo>
                <a:cubicBezTo>
                  <a:pt x="232454" y="91025"/>
                  <a:pt x="464908" y="182050"/>
                  <a:pt x="227710" y="188573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6" name="TextBox 885">
            <a:extLst>
              <a:ext uri="{FF2B5EF4-FFF2-40B4-BE49-F238E27FC236}">
                <a16:creationId xmlns:a16="http://schemas.microsoft.com/office/drawing/2014/main" id="{3768DA1B-4AE0-4F41-EE98-4C6FC976826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912958" y="2940710"/>
            <a:ext cx="577835" cy="1454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onstanta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87" name="Freeform: Shape 886">
            <a:extLst>
              <a:ext uri="{FF2B5EF4-FFF2-40B4-BE49-F238E27FC236}">
                <a16:creationId xmlns:a16="http://schemas.microsoft.com/office/drawing/2014/main" id="{8C9AFC98-16A1-BB77-4522-CD167850F4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490375" y="2938889"/>
            <a:ext cx="704479" cy="135662"/>
          </a:xfrm>
          <a:custGeom>
            <a:avLst/>
            <a:gdLst>
              <a:gd name="connsiteX0" fmla="*/ 0 w 704479"/>
              <a:gd name="connsiteY0" fmla="*/ 0 h 135662"/>
              <a:gd name="connsiteX1" fmla="*/ 316660 w 704479"/>
              <a:gd name="connsiteY1" fmla="*/ 60485 h 135662"/>
              <a:gd name="connsiteX2" fmla="*/ 491001 w 704479"/>
              <a:gd name="connsiteY2" fmla="*/ 124529 h 135662"/>
              <a:gd name="connsiteX3" fmla="*/ 704479 w 704479"/>
              <a:gd name="connsiteY3" fmla="*/ 135203 h 13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479" h="135662">
                <a:moveTo>
                  <a:pt x="0" y="0"/>
                </a:moveTo>
                <a:cubicBezTo>
                  <a:pt x="117413" y="19865"/>
                  <a:pt x="234827" y="39730"/>
                  <a:pt x="316660" y="60485"/>
                </a:cubicBezTo>
                <a:cubicBezTo>
                  <a:pt x="398493" y="81240"/>
                  <a:pt x="426365" y="112076"/>
                  <a:pt x="491001" y="124529"/>
                </a:cubicBezTo>
                <a:cubicBezTo>
                  <a:pt x="555637" y="136982"/>
                  <a:pt x="630058" y="136092"/>
                  <a:pt x="704479" y="135203"/>
                </a:cubicBez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8" name="Rectangle 887">
            <a:extLst>
              <a:ext uri="{FF2B5EF4-FFF2-40B4-BE49-F238E27FC236}">
                <a16:creationId xmlns:a16="http://schemas.microsoft.com/office/drawing/2014/main" id="{BB623B40-5BB0-22DB-5EA8-8B552B214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422068" y="290616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89" name="Rectangle 888">
            <a:extLst>
              <a:ext uri="{FF2B5EF4-FFF2-40B4-BE49-F238E27FC236}">
                <a16:creationId xmlns:a16="http://schemas.microsoft.com/office/drawing/2014/main" id="{BDC09066-68FC-1174-8293-85F2A3D6DD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515623" y="313046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890" name="Freeform: Shape 889">
            <a:extLst>
              <a:ext uri="{FF2B5EF4-FFF2-40B4-BE49-F238E27FC236}">
                <a16:creationId xmlns:a16="http://schemas.microsoft.com/office/drawing/2014/main" id="{9479435F-872E-FBF8-7E9D-50891736FE7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579325" y="3120346"/>
            <a:ext cx="796986" cy="165916"/>
          </a:xfrm>
          <a:custGeom>
            <a:avLst/>
            <a:gdLst>
              <a:gd name="connsiteX0" fmla="*/ 0 w 796986"/>
              <a:gd name="connsiteY0" fmla="*/ 53369 h 165916"/>
              <a:gd name="connsiteX1" fmla="*/ 199246 w 796986"/>
              <a:gd name="connsiteY1" fmla="*/ 92507 h 165916"/>
              <a:gd name="connsiteX2" fmla="*/ 494558 w 796986"/>
              <a:gd name="connsiteY2" fmla="*/ 163666 h 165916"/>
              <a:gd name="connsiteX3" fmla="*/ 796986 w 796986"/>
              <a:gd name="connsiteY3" fmla="*/ 0 h 165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6986" h="165916">
                <a:moveTo>
                  <a:pt x="0" y="53369"/>
                </a:moveTo>
                <a:cubicBezTo>
                  <a:pt x="58410" y="63746"/>
                  <a:pt x="116820" y="74124"/>
                  <a:pt x="199246" y="92507"/>
                </a:cubicBezTo>
                <a:cubicBezTo>
                  <a:pt x="281672" y="110890"/>
                  <a:pt x="394935" y="179084"/>
                  <a:pt x="494558" y="163666"/>
                </a:cubicBezTo>
                <a:cubicBezTo>
                  <a:pt x="594181" y="148248"/>
                  <a:pt x="695583" y="74124"/>
                  <a:pt x="796986" y="0"/>
                </a:cubicBezTo>
              </a:path>
            </a:pathLst>
          </a:cu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1" name="TextBox 890">
            <a:extLst>
              <a:ext uri="{FF2B5EF4-FFF2-40B4-BE49-F238E27FC236}">
                <a16:creationId xmlns:a16="http://schemas.microsoft.com/office/drawing/2014/main" id="{560143C3-F9D4-F56E-3AF5-E18F2EF0065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363103" y="3167627"/>
            <a:ext cx="577835" cy="1454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Istanbul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92" name="TextBox 891">
            <a:extLst>
              <a:ext uri="{FF2B5EF4-FFF2-40B4-BE49-F238E27FC236}">
                <a16:creationId xmlns:a16="http://schemas.microsoft.com/office/drawing/2014/main" id="{6E04FA1C-1B31-5452-C2E3-4A15B759173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1504" y="3187347"/>
            <a:ext cx="1133545" cy="37396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Из США</a:t>
            </a:r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Южной Америки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93" name="TextBox 892">
            <a:extLst>
              <a:ext uri="{FF2B5EF4-FFF2-40B4-BE49-F238E27FC236}">
                <a16:creationId xmlns:a16="http://schemas.microsoft.com/office/drawing/2014/main" id="{AD4231E6-D317-5AC5-5889-B99D691250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0785644" y="3409530"/>
            <a:ext cx="845200" cy="4061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С западного</a:t>
            </a:r>
            <a:endParaRPr lang="nl-BE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побережья США</a:t>
            </a:r>
            <a:endParaRPr lang="en-GB" sz="11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Titel 2">
            <a:extLst>
              <a:ext uri="{FF2B5EF4-FFF2-40B4-BE49-F238E27FC236}">
                <a16:creationId xmlns:a16="http://schemas.microsoft.com/office/drawing/2014/main" id="{232D784F-E292-FFC7-A9CD-B15963BB9441}"/>
              </a:ext>
            </a:extLst>
          </p:cNvPr>
          <p:cNvSpPr txBox="1">
            <a:spLocks/>
          </p:cNvSpPr>
          <p:nvPr/>
        </p:nvSpPr>
        <p:spPr bwMode="gray">
          <a:xfrm>
            <a:off x="346793" y="731407"/>
            <a:ext cx="11469599" cy="6936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ши маршруты в Центральную Азию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373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Rechteck 465">
            <a:extLst>
              <a:ext uri="{FF2B5EF4-FFF2-40B4-BE49-F238E27FC236}">
                <a16:creationId xmlns:a16="http://schemas.microsoft.com/office/drawing/2014/main" id="{E1FEB49D-9BC9-4BA7-912D-EE3A295B7042}"/>
              </a:ext>
            </a:extLst>
          </p:cNvPr>
          <p:cNvSpPr/>
          <p:nvPr/>
        </p:nvSpPr>
        <p:spPr bwMode="gray">
          <a:xfrm>
            <a:off x="0" y="6237288"/>
            <a:ext cx="12190413" cy="627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grpSp>
        <p:nvGrpSpPr>
          <p:cNvPr id="470" name="Group 20">
            <a:extLst>
              <a:ext uri="{FF2B5EF4-FFF2-40B4-BE49-F238E27FC236}">
                <a16:creationId xmlns:a16="http://schemas.microsoft.com/office/drawing/2014/main" id="{61313DE5-6477-4312-900C-5731E5AB744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471" name="Freeform 5">
              <a:extLst>
                <a:ext uri="{FF2B5EF4-FFF2-40B4-BE49-F238E27FC236}">
                  <a16:creationId xmlns:a16="http://schemas.microsoft.com/office/drawing/2014/main" id="{07893FD4-309A-474A-962D-7B063FAA2D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2" name="Freeform 6">
              <a:extLst>
                <a:ext uri="{FF2B5EF4-FFF2-40B4-BE49-F238E27FC236}">
                  <a16:creationId xmlns:a16="http://schemas.microsoft.com/office/drawing/2014/main" id="{2FA6BC4A-AE7E-4938-8FCE-1E3800F8DCD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3" name="Freeform 7">
              <a:extLst>
                <a:ext uri="{FF2B5EF4-FFF2-40B4-BE49-F238E27FC236}">
                  <a16:creationId xmlns:a16="http://schemas.microsoft.com/office/drawing/2014/main" id="{A0AF4514-C220-492D-A003-054E106AFE7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4" name="Freeform 8">
              <a:extLst>
                <a:ext uri="{FF2B5EF4-FFF2-40B4-BE49-F238E27FC236}">
                  <a16:creationId xmlns:a16="http://schemas.microsoft.com/office/drawing/2014/main" id="{9ECF37A7-DC82-4E23-B3DA-C3903B4C32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5" name="Freeform 9">
              <a:extLst>
                <a:ext uri="{FF2B5EF4-FFF2-40B4-BE49-F238E27FC236}">
                  <a16:creationId xmlns:a16="http://schemas.microsoft.com/office/drawing/2014/main" id="{9E27C658-4F5D-4827-B487-DF0B7F0BDE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6" name="Freeform 10">
              <a:extLst>
                <a:ext uri="{FF2B5EF4-FFF2-40B4-BE49-F238E27FC236}">
                  <a16:creationId xmlns:a16="http://schemas.microsoft.com/office/drawing/2014/main" id="{CD8C1D1C-A003-4B38-8263-300E394DA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7" name="Freeform 11">
              <a:extLst>
                <a:ext uri="{FF2B5EF4-FFF2-40B4-BE49-F238E27FC236}">
                  <a16:creationId xmlns:a16="http://schemas.microsoft.com/office/drawing/2014/main" id="{0FA8A457-25F8-49A3-BAD8-FE54B4E0E9C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8" name="Freeform 12">
              <a:extLst>
                <a:ext uri="{FF2B5EF4-FFF2-40B4-BE49-F238E27FC236}">
                  <a16:creationId xmlns:a16="http://schemas.microsoft.com/office/drawing/2014/main" id="{4CFD2344-A957-4D9F-BB0E-9825F138ACE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79" name="Freeform 13">
              <a:extLst>
                <a:ext uri="{FF2B5EF4-FFF2-40B4-BE49-F238E27FC236}">
                  <a16:creationId xmlns:a16="http://schemas.microsoft.com/office/drawing/2014/main" id="{4C3793B2-4C5A-4A9F-BD62-26DF13C6E85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0" name="Freeform 14">
              <a:extLst>
                <a:ext uri="{FF2B5EF4-FFF2-40B4-BE49-F238E27FC236}">
                  <a16:creationId xmlns:a16="http://schemas.microsoft.com/office/drawing/2014/main" id="{4E58E8AE-FBA1-4A63-B82E-3B7693C7CF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1" name="Freeform 15">
              <a:extLst>
                <a:ext uri="{FF2B5EF4-FFF2-40B4-BE49-F238E27FC236}">
                  <a16:creationId xmlns:a16="http://schemas.microsoft.com/office/drawing/2014/main" id="{B1F319A3-40AA-4908-AAF1-E1F8B74BB98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2" name="Freeform 16">
              <a:extLst>
                <a:ext uri="{FF2B5EF4-FFF2-40B4-BE49-F238E27FC236}">
                  <a16:creationId xmlns:a16="http://schemas.microsoft.com/office/drawing/2014/main" id="{3CC2E0A6-2768-47E9-9D38-513C6554535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3" name="Rectangle 17">
              <a:extLst>
                <a:ext uri="{FF2B5EF4-FFF2-40B4-BE49-F238E27FC236}">
                  <a16:creationId xmlns:a16="http://schemas.microsoft.com/office/drawing/2014/main" id="{4F284D18-60FD-41E1-8ADF-4366828E806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4" name="Freeform 18">
              <a:extLst>
                <a:ext uri="{FF2B5EF4-FFF2-40B4-BE49-F238E27FC236}">
                  <a16:creationId xmlns:a16="http://schemas.microsoft.com/office/drawing/2014/main" id="{44DF9607-E6F8-483C-816A-D002D31017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5" name="Rectangle 19">
              <a:extLst>
                <a:ext uri="{FF2B5EF4-FFF2-40B4-BE49-F238E27FC236}">
                  <a16:creationId xmlns:a16="http://schemas.microsoft.com/office/drawing/2014/main" id="{91ED4D86-E25B-44B0-B53C-F7BB864FB1B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6" name="Freeform 20">
              <a:extLst>
                <a:ext uri="{FF2B5EF4-FFF2-40B4-BE49-F238E27FC236}">
                  <a16:creationId xmlns:a16="http://schemas.microsoft.com/office/drawing/2014/main" id="{B2E0FF2B-419C-412C-B7DA-3D97A222EF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7" name="Freeform 21">
              <a:extLst>
                <a:ext uri="{FF2B5EF4-FFF2-40B4-BE49-F238E27FC236}">
                  <a16:creationId xmlns:a16="http://schemas.microsoft.com/office/drawing/2014/main" id="{527F11D7-CA57-4DF7-B163-9EEF3522C5A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  <p:sp>
          <p:nvSpPr>
            <p:cNvPr id="488" name="Freeform 22">
              <a:extLst>
                <a:ext uri="{FF2B5EF4-FFF2-40B4-BE49-F238E27FC236}">
                  <a16:creationId xmlns:a16="http://schemas.microsoft.com/office/drawing/2014/main" id="{0671803C-CF65-4034-8E97-D169EBD0C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0"/>
              <a:endParaRPr lang="de-DE">
                <a:solidFill>
                  <a:srgbClr val="00469B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1CEBE7BC-4AFA-4F6C-B877-0F690A5A8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пользование сухопутного моста </a:t>
            </a:r>
            <a:endParaRPr lang="en-US" dirty="0">
              <a:solidFill>
                <a:srgbClr val="00469B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83A04-AEF7-4A51-806F-FFC87FEB67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4142D-4092-458E-BB22-308CC6995BD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7AA15-C8F7-4470-8A41-18F5ADCBD7C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err="1"/>
              <a:t>Confidential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272354-33A8-4728-B0F3-48B8D0196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0380-66BE-4BD4-962D-391444458B82}" type="datetime1">
              <a:rPr lang="de-DE" smtClean="0"/>
              <a:t>11.09.2023</a:t>
            </a:fld>
            <a:endParaRPr lang="de-DE"/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419992F4-099F-3853-71D0-9A0A489D43FB}"/>
              </a:ext>
            </a:extLst>
          </p:cNvPr>
          <p:cNvGrpSpPr>
            <a:grpSpLocks noGrp="1" noUngrp="1" noRot="1" noMove="1" noResize="1"/>
          </p:cNvGrpSpPr>
          <p:nvPr/>
        </p:nvGrpSpPr>
        <p:grpSpPr bwMode="gray">
          <a:xfrm>
            <a:off x="10084279" y="243039"/>
            <a:ext cx="1735454" cy="321946"/>
            <a:chOff x="7481884" y="155265"/>
            <a:chExt cx="1446212" cy="268288"/>
          </a:xfrm>
          <a:solidFill>
            <a:schemeClr val="accent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B8FE360-9327-30C7-B6B1-77EE26D1283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577134" y="221940"/>
              <a:ext cx="152400" cy="71438"/>
            </a:xfrm>
            <a:custGeom>
              <a:avLst/>
              <a:gdLst>
                <a:gd name="T0" fmla="*/ 216 w 434"/>
                <a:gd name="T1" fmla="*/ 204 h 204"/>
                <a:gd name="T2" fmla="*/ 434 w 434"/>
                <a:gd name="T3" fmla="*/ 0 h 204"/>
                <a:gd name="T4" fmla="*/ 219 w 434"/>
                <a:gd name="T5" fmla="*/ 0 h 204"/>
                <a:gd name="T6" fmla="*/ 0 w 434"/>
                <a:gd name="T7" fmla="*/ 204 h 204"/>
                <a:gd name="T8" fmla="*/ 216 w 434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04">
                  <a:moveTo>
                    <a:pt x="216" y="204"/>
                  </a:moveTo>
                  <a:lnTo>
                    <a:pt x="434" y="0"/>
                  </a:lnTo>
                  <a:lnTo>
                    <a:pt x="219" y="0"/>
                  </a:lnTo>
                  <a:lnTo>
                    <a:pt x="0" y="204"/>
                  </a:lnTo>
                  <a:lnTo>
                    <a:pt x="21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8E386B8C-82F4-8353-66D7-2F94BEE4022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505696" y="307665"/>
              <a:ext cx="222250" cy="52388"/>
            </a:xfrm>
            <a:custGeom>
              <a:avLst/>
              <a:gdLst>
                <a:gd name="T0" fmla="*/ 477 w 635"/>
                <a:gd name="T1" fmla="*/ 150 h 150"/>
                <a:gd name="T2" fmla="*/ 635 w 635"/>
                <a:gd name="T3" fmla="*/ 0 h 150"/>
                <a:gd name="T4" fmla="*/ 159 w 635"/>
                <a:gd name="T5" fmla="*/ 0 h 150"/>
                <a:gd name="T6" fmla="*/ 0 w 635"/>
                <a:gd name="T7" fmla="*/ 150 h 150"/>
                <a:gd name="T8" fmla="*/ 477 w 63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5" h="150">
                  <a:moveTo>
                    <a:pt x="477" y="150"/>
                  </a:moveTo>
                  <a:lnTo>
                    <a:pt x="635" y="0"/>
                  </a:lnTo>
                  <a:lnTo>
                    <a:pt x="159" y="0"/>
                  </a:lnTo>
                  <a:lnTo>
                    <a:pt x="0" y="150"/>
                  </a:lnTo>
                  <a:lnTo>
                    <a:pt x="47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48" name="Freeform 7">
              <a:extLst>
                <a:ext uri="{FF2B5EF4-FFF2-40B4-BE49-F238E27FC236}">
                  <a16:creationId xmlns:a16="http://schemas.microsoft.com/office/drawing/2014/main" id="{D33A0BFC-54D3-AE4F-75D7-C263EAD622B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481884" y="155265"/>
              <a:ext cx="269875" cy="268288"/>
            </a:xfrm>
            <a:custGeom>
              <a:avLst/>
              <a:gdLst>
                <a:gd name="T0" fmla="*/ 0 w 768"/>
                <a:gd name="T1" fmla="*/ 762 h 762"/>
                <a:gd name="T2" fmla="*/ 768 w 768"/>
                <a:gd name="T3" fmla="*/ 762 h 762"/>
                <a:gd name="T4" fmla="*/ 768 w 768"/>
                <a:gd name="T5" fmla="*/ 0 h 762"/>
                <a:gd name="T6" fmla="*/ 0 w 768"/>
                <a:gd name="T7" fmla="*/ 0 h 762"/>
                <a:gd name="T8" fmla="*/ 0 w 768"/>
                <a:gd name="T9" fmla="*/ 762 h 762"/>
                <a:gd name="T10" fmla="*/ 44 w 768"/>
                <a:gd name="T11" fmla="*/ 44 h 762"/>
                <a:gd name="T12" fmla="*/ 724 w 768"/>
                <a:gd name="T13" fmla="*/ 44 h 762"/>
                <a:gd name="T14" fmla="*/ 724 w 768"/>
                <a:gd name="T15" fmla="*/ 724 h 762"/>
                <a:gd name="T16" fmla="*/ 44 w 768"/>
                <a:gd name="T17" fmla="*/ 724 h 762"/>
                <a:gd name="T18" fmla="*/ 44 w 768"/>
                <a:gd name="T19" fmla="*/ 4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762">
                  <a:moveTo>
                    <a:pt x="0" y="762"/>
                  </a:moveTo>
                  <a:lnTo>
                    <a:pt x="768" y="762"/>
                  </a:lnTo>
                  <a:lnTo>
                    <a:pt x="768" y="0"/>
                  </a:lnTo>
                  <a:lnTo>
                    <a:pt x="0" y="0"/>
                  </a:lnTo>
                  <a:lnTo>
                    <a:pt x="0" y="762"/>
                  </a:lnTo>
                  <a:close/>
                  <a:moveTo>
                    <a:pt x="44" y="44"/>
                  </a:moveTo>
                  <a:lnTo>
                    <a:pt x="724" y="44"/>
                  </a:lnTo>
                  <a:lnTo>
                    <a:pt x="724" y="724"/>
                  </a:lnTo>
                  <a:lnTo>
                    <a:pt x="44" y="724"/>
                  </a:lnTo>
                  <a:lnTo>
                    <a:pt x="4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49" name="Freeform 8">
              <a:extLst>
                <a:ext uri="{FF2B5EF4-FFF2-40B4-BE49-F238E27FC236}">
                  <a16:creationId xmlns:a16="http://schemas.microsoft.com/office/drawing/2014/main" id="{AE37169A-6CC0-FFFF-9ABE-13E77F09044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988296" y="155265"/>
              <a:ext cx="174625" cy="134938"/>
            </a:xfrm>
            <a:custGeom>
              <a:avLst/>
              <a:gdLst>
                <a:gd name="T0" fmla="*/ 0 w 498"/>
                <a:gd name="T1" fmla="*/ 0 h 382"/>
                <a:gd name="T2" fmla="*/ 97 w 498"/>
                <a:gd name="T3" fmla="*/ 0 h 382"/>
                <a:gd name="T4" fmla="*/ 97 w 498"/>
                <a:gd name="T5" fmla="*/ 145 h 382"/>
                <a:gd name="T6" fmla="*/ 400 w 498"/>
                <a:gd name="T7" fmla="*/ 145 h 382"/>
                <a:gd name="T8" fmla="*/ 400 w 498"/>
                <a:gd name="T9" fmla="*/ 0 h 382"/>
                <a:gd name="T10" fmla="*/ 498 w 498"/>
                <a:gd name="T11" fmla="*/ 0 h 382"/>
                <a:gd name="T12" fmla="*/ 498 w 498"/>
                <a:gd name="T13" fmla="*/ 382 h 382"/>
                <a:gd name="T14" fmla="*/ 400 w 498"/>
                <a:gd name="T15" fmla="*/ 382 h 382"/>
                <a:gd name="T16" fmla="*/ 400 w 498"/>
                <a:gd name="T17" fmla="*/ 238 h 382"/>
                <a:gd name="T18" fmla="*/ 97 w 498"/>
                <a:gd name="T19" fmla="*/ 238 h 382"/>
                <a:gd name="T20" fmla="*/ 97 w 498"/>
                <a:gd name="T21" fmla="*/ 382 h 382"/>
                <a:gd name="T22" fmla="*/ 0 w 498"/>
                <a:gd name="T23" fmla="*/ 382 h 382"/>
                <a:gd name="T24" fmla="*/ 0 w 498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8" h="382">
                  <a:moveTo>
                    <a:pt x="0" y="0"/>
                  </a:moveTo>
                  <a:lnTo>
                    <a:pt x="97" y="0"/>
                  </a:lnTo>
                  <a:lnTo>
                    <a:pt x="97" y="145"/>
                  </a:lnTo>
                  <a:lnTo>
                    <a:pt x="400" y="145"/>
                  </a:lnTo>
                  <a:lnTo>
                    <a:pt x="400" y="0"/>
                  </a:lnTo>
                  <a:lnTo>
                    <a:pt x="498" y="0"/>
                  </a:lnTo>
                  <a:lnTo>
                    <a:pt x="498" y="382"/>
                  </a:lnTo>
                  <a:lnTo>
                    <a:pt x="400" y="382"/>
                  </a:lnTo>
                  <a:lnTo>
                    <a:pt x="400" y="238"/>
                  </a:lnTo>
                  <a:lnTo>
                    <a:pt x="97" y="23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0" name="Freeform 9">
              <a:extLst>
                <a:ext uri="{FF2B5EF4-FFF2-40B4-BE49-F238E27FC236}">
                  <a16:creationId xmlns:a16="http://schemas.microsoft.com/office/drawing/2014/main" id="{E4C6FD80-43F4-FC59-C723-A9EB8657E6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181971" y="155265"/>
              <a:ext cx="176212" cy="134938"/>
            </a:xfrm>
            <a:custGeom>
              <a:avLst/>
              <a:gdLst>
                <a:gd name="T0" fmla="*/ 506 w 506"/>
                <a:gd name="T1" fmla="*/ 0 h 382"/>
                <a:gd name="T2" fmla="*/ 0 w 506"/>
                <a:gd name="T3" fmla="*/ 0 h 382"/>
                <a:gd name="T4" fmla="*/ 0 w 506"/>
                <a:gd name="T5" fmla="*/ 382 h 382"/>
                <a:gd name="T6" fmla="*/ 506 w 506"/>
                <a:gd name="T7" fmla="*/ 382 h 382"/>
                <a:gd name="T8" fmla="*/ 506 w 506"/>
                <a:gd name="T9" fmla="*/ 291 h 382"/>
                <a:gd name="T10" fmla="*/ 97 w 506"/>
                <a:gd name="T11" fmla="*/ 291 h 382"/>
                <a:gd name="T12" fmla="*/ 97 w 506"/>
                <a:gd name="T13" fmla="*/ 238 h 382"/>
                <a:gd name="T14" fmla="*/ 484 w 506"/>
                <a:gd name="T15" fmla="*/ 238 h 382"/>
                <a:gd name="T16" fmla="*/ 484 w 506"/>
                <a:gd name="T17" fmla="*/ 145 h 382"/>
                <a:gd name="T18" fmla="*/ 97 w 506"/>
                <a:gd name="T19" fmla="*/ 145 h 382"/>
                <a:gd name="T20" fmla="*/ 97 w 506"/>
                <a:gd name="T21" fmla="*/ 92 h 382"/>
                <a:gd name="T22" fmla="*/ 506 w 506"/>
                <a:gd name="T23" fmla="*/ 92 h 382"/>
                <a:gd name="T24" fmla="*/ 506 w 506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6" h="382">
                  <a:moveTo>
                    <a:pt x="506" y="0"/>
                  </a:moveTo>
                  <a:lnTo>
                    <a:pt x="0" y="0"/>
                  </a:lnTo>
                  <a:lnTo>
                    <a:pt x="0" y="382"/>
                  </a:lnTo>
                  <a:lnTo>
                    <a:pt x="506" y="382"/>
                  </a:lnTo>
                  <a:lnTo>
                    <a:pt x="506" y="291"/>
                  </a:lnTo>
                  <a:lnTo>
                    <a:pt x="97" y="291"/>
                  </a:lnTo>
                  <a:lnTo>
                    <a:pt x="97" y="238"/>
                  </a:lnTo>
                  <a:lnTo>
                    <a:pt x="484" y="238"/>
                  </a:lnTo>
                  <a:lnTo>
                    <a:pt x="484" y="145"/>
                  </a:lnTo>
                  <a:lnTo>
                    <a:pt x="97" y="145"/>
                  </a:lnTo>
                  <a:lnTo>
                    <a:pt x="97" y="92"/>
                  </a:lnTo>
                  <a:lnTo>
                    <a:pt x="506" y="92"/>
                  </a:lnTo>
                  <a:lnTo>
                    <a:pt x="5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3" name="Freeform 10">
              <a:extLst>
                <a:ext uri="{FF2B5EF4-FFF2-40B4-BE49-F238E27FC236}">
                  <a16:creationId xmlns:a16="http://schemas.microsoft.com/office/drawing/2014/main" id="{4A035AAD-0ACA-6073-5B4C-8BCC0507C08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374059" y="155265"/>
              <a:ext cx="176212" cy="134938"/>
            </a:xfrm>
            <a:custGeom>
              <a:avLst/>
              <a:gdLst>
                <a:gd name="T0" fmla="*/ 390 w 503"/>
                <a:gd name="T1" fmla="*/ 382 h 382"/>
                <a:gd name="T2" fmla="*/ 97 w 503"/>
                <a:gd name="T3" fmla="*/ 118 h 382"/>
                <a:gd name="T4" fmla="*/ 97 w 503"/>
                <a:gd name="T5" fmla="*/ 382 h 382"/>
                <a:gd name="T6" fmla="*/ 0 w 503"/>
                <a:gd name="T7" fmla="*/ 382 h 382"/>
                <a:gd name="T8" fmla="*/ 0 w 503"/>
                <a:gd name="T9" fmla="*/ 1 h 382"/>
                <a:gd name="T10" fmla="*/ 115 w 503"/>
                <a:gd name="T11" fmla="*/ 1 h 382"/>
                <a:gd name="T12" fmla="*/ 406 w 503"/>
                <a:gd name="T13" fmla="*/ 263 h 382"/>
                <a:gd name="T14" fmla="*/ 406 w 503"/>
                <a:gd name="T15" fmla="*/ 0 h 382"/>
                <a:gd name="T16" fmla="*/ 503 w 503"/>
                <a:gd name="T17" fmla="*/ 0 h 382"/>
                <a:gd name="T18" fmla="*/ 503 w 503"/>
                <a:gd name="T19" fmla="*/ 382 h 382"/>
                <a:gd name="T20" fmla="*/ 390 w 503"/>
                <a:gd name="T21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382">
                  <a:moveTo>
                    <a:pt x="390" y="382"/>
                  </a:moveTo>
                  <a:lnTo>
                    <a:pt x="97" y="118"/>
                  </a:lnTo>
                  <a:lnTo>
                    <a:pt x="97" y="382"/>
                  </a:lnTo>
                  <a:lnTo>
                    <a:pt x="0" y="382"/>
                  </a:lnTo>
                  <a:lnTo>
                    <a:pt x="0" y="1"/>
                  </a:lnTo>
                  <a:lnTo>
                    <a:pt x="115" y="1"/>
                  </a:lnTo>
                  <a:lnTo>
                    <a:pt x="406" y="263"/>
                  </a:lnTo>
                  <a:lnTo>
                    <a:pt x="406" y="0"/>
                  </a:lnTo>
                  <a:lnTo>
                    <a:pt x="503" y="0"/>
                  </a:lnTo>
                  <a:lnTo>
                    <a:pt x="503" y="382"/>
                  </a:lnTo>
                  <a:lnTo>
                    <a:pt x="390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4" name="Freeform 11">
              <a:extLst>
                <a:ext uri="{FF2B5EF4-FFF2-40B4-BE49-F238E27FC236}">
                  <a16:creationId xmlns:a16="http://schemas.microsoft.com/office/drawing/2014/main" id="{69C36222-A1B9-F1DB-548E-9FE13FAEFF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559796" y="155265"/>
              <a:ext cx="176212" cy="134938"/>
            </a:xfrm>
            <a:custGeom>
              <a:avLst/>
              <a:gdLst>
                <a:gd name="T0" fmla="*/ 505 w 505"/>
                <a:gd name="T1" fmla="*/ 0 h 382"/>
                <a:gd name="T2" fmla="*/ 505 w 505"/>
                <a:gd name="T3" fmla="*/ 284 h 382"/>
                <a:gd name="T4" fmla="*/ 405 w 505"/>
                <a:gd name="T5" fmla="*/ 382 h 382"/>
                <a:gd name="T6" fmla="*/ 100 w 505"/>
                <a:gd name="T7" fmla="*/ 382 h 382"/>
                <a:gd name="T8" fmla="*/ 0 w 505"/>
                <a:gd name="T9" fmla="*/ 284 h 382"/>
                <a:gd name="T10" fmla="*/ 0 w 505"/>
                <a:gd name="T11" fmla="*/ 0 h 382"/>
                <a:gd name="T12" fmla="*/ 97 w 505"/>
                <a:gd name="T13" fmla="*/ 0 h 382"/>
                <a:gd name="T14" fmla="*/ 97 w 505"/>
                <a:gd name="T15" fmla="*/ 259 h 382"/>
                <a:gd name="T16" fmla="*/ 129 w 505"/>
                <a:gd name="T17" fmla="*/ 291 h 382"/>
                <a:gd name="T18" fmla="*/ 376 w 505"/>
                <a:gd name="T19" fmla="*/ 291 h 382"/>
                <a:gd name="T20" fmla="*/ 408 w 505"/>
                <a:gd name="T21" fmla="*/ 259 h 382"/>
                <a:gd name="T22" fmla="*/ 408 w 505"/>
                <a:gd name="T23" fmla="*/ 0 h 382"/>
                <a:gd name="T24" fmla="*/ 505 w 505"/>
                <a:gd name="T25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5" h="382">
                  <a:moveTo>
                    <a:pt x="505" y="0"/>
                  </a:moveTo>
                  <a:lnTo>
                    <a:pt x="505" y="284"/>
                  </a:lnTo>
                  <a:cubicBezTo>
                    <a:pt x="505" y="339"/>
                    <a:pt x="461" y="382"/>
                    <a:pt x="405" y="382"/>
                  </a:cubicBezTo>
                  <a:lnTo>
                    <a:pt x="100" y="382"/>
                  </a:lnTo>
                  <a:cubicBezTo>
                    <a:pt x="45" y="382"/>
                    <a:pt x="0" y="339"/>
                    <a:pt x="0" y="284"/>
                  </a:cubicBezTo>
                  <a:lnTo>
                    <a:pt x="0" y="0"/>
                  </a:lnTo>
                  <a:lnTo>
                    <a:pt x="97" y="0"/>
                  </a:lnTo>
                  <a:lnTo>
                    <a:pt x="97" y="259"/>
                  </a:lnTo>
                  <a:cubicBezTo>
                    <a:pt x="97" y="276"/>
                    <a:pt x="111" y="291"/>
                    <a:pt x="129" y="291"/>
                  </a:cubicBezTo>
                  <a:lnTo>
                    <a:pt x="376" y="291"/>
                  </a:lnTo>
                  <a:cubicBezTo>
                    <a:pt x="394" y="291"/>
                    <a:pt x="408" y="276"/>
                    <a:pt x="408" y="259"/>
                  </a:cubicBezTo>
                  <a:lnTo>
                    <a:pt x="408" y="0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5" name="Freeform 12">
              <a:extLst>
                <a:ext uri="{FF2B5EF4-FFF2-40B4-BE49-F238E27FC236}">
                  <a16:creationId xmlns:a16="http://schemas.microsoft.com/office/drawing/2014/main" id="{EE0002F8-195B-76FB-1CF5-33CABD88DD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750296" y="155265"/>
              <a:ext cx="177800" cy="134938"/>
            </a:xfrm>
            <a:custGeom>
              <a:avLst/>
              <a:gdLst>
                <a:gd name="T0" fmla="*/ 387 w 508"/>
                <a:gd name="T1" fmla="*/ 382 h 382"/>
                <a:gd name="T2" fmla="*/ 508 w 508"/>
                <a:gd name="T3" fmla="*/ 264 h 382"/>
                <a:gd name="T4" fmla="*/ 387 w 508"/>
                <a:gd name="T5" fmla="*/ 145 h 382"/>
                <a:gd name="T6" fmla="*/ 123 w 508"/>
                <a:gd name="T7" fmla="*/ 145 h 382"/>
                <a:gd name="T8" fmla="*/ 95 w 508"/>
                <a:gd name="T9" fmla="*/ 118 h 382"/>
                <a:gd name="T10" fmla="*/ 123 w 508"/>
                <a:gd name="T11" fmla="*/ 92 h 382"/>
                <a:gd name="T12" fmla="*/ 495 w 508"/>
                <a:gd name="T13" fmla="*/ 92 h 382"/>
                <a:gd name="T14" fmla="*/ 495 w 508"/>
                <a:gd name="T15" fmla="*/ 0 h 382"/>
                <a:gd name="T16" fmla="*/ 121 w 508"/>
                <a:gd name="T17" fmla="*/ 0 h 382"/>
                <a:gd name="T18" fmla="*/ 0 w 508"/>
                <a:gd name="T19" fmla="*/ 119 h 382"/>
                <a:gd name="T20" fmla="*/ 121 w 508"/>
                <a:gd name="T21" fmla="*/ 238 h 382"/>
                <a:gd name="T22" fmla="*/ 385 w 508"/>
                <a:gd name="T23" fmla="*/ 238 h 382"/>
                <a:gd name="T24" fmla="*/ 413 w 508"/>
                <a:gd name="T25" fmla="*/ 265 h 382"/>
                <a:gd name="T26" fmla="*/ 385 w 508"/>
                <a:gd name="T27" fmla="*/ 291 h 382"/>
                <a:gd name="T28" fmla="*/ 8 w 508"/>
                <a:gd name="T29" fmla="*/ 291 h 382"/>
                <a:gd name="T30" fmla="*/ 8 w 508"/>
                <a:gd name="T31" fmla="*/ 382 h 382"/>
                <a:gd name="T32" fmla="*/ 387 w 508"/>
                <a:gd name="T3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8" h="382">
                  <a:moveTo>
                    <a:pt x="387" y="382"/>
                  </a:moveTo>
                  <a:cubicBezTo>
                    <a:pt x="454" y="382"/>
                    <a:pt x="508" y="330"/>
                    <a:pt x="508" y="264"/>
                  </a:cubicBezTo>
                  <a:cubicBezTo>
                    <a:pt x="508" y="199"/>
                    <a:pt x="454" y="145"/>
                    <a:pt x="387" y="145"/>
                  </a:cubicBezTo>
                  <a:lnTo>
                    <a:pt x="123" y="145"/>
                  </a:lnTo>
                  <a:cubicBezTo>
                    <a:pt x="108" y="145"/>
                    <a:pt x="95" y="133"/>
                    <a:pt x="95" y="118"/>
                  </a:cubicBezTo>
                  <a:cubicBezTo>
                    <a:pt x="95" y="103"/>
                    <a:pt x="108" y="92"/>
                    <a:pt x="123" y="92"/>
                  </a:cubicBezTo>
                  <a:lnTo>
                    <a:pt x="495" y="92"/>
                  </a:lnTo>
                  <a:lnTo>
                    <a:pt x="495" y="0"/>
                  </a:lnTo>
                  <a:lnTo>
                    <a:pt x="121" y="0"/>
                  </a:lnTo>
                  <a:cubicBezTo>
                    <a:pt x="54" y="0"/>
                    <a:pt x="0" y="53"/>
                    <a:pt x="0" y="119"/>
                  </a:cubicBezTo>
                  <a:cubicBezTo>
                    <a:pt x="0" y="184"/>
                    <a:pt x="54" y="238"/>
                    <a:pt x="121" y="238"/>
                  </a:cubicBezTo>
                  <a:lnTo>
                    <a:pt x="385" y="238"/>
                  </a:lnTo>
                  <a:cubicBezTo>
                    <a:pt x="401" y="238"/>
                    <a:pt x="413" y="250"/>
                    <a:pt x="413" y="265"/>
                  </a:cubicBezTo>
                  <a:cubicBezTo>
                    <a:pt x="413" y="280"/>
                    <a:pt x="401" y="291"/>
                    <a:pt x="385" y="291"/>
                  </a:cubicBezTo>
                  <a:lnTo>
                    <a:pt x="8" y="291"/>
                  </a:lnTo>
                  <a:lnTo>
                    <a:pt x="8" y="382"/>
                  </a:lnTo>
                  <a:lnTo>
                    <a:pt x="387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6" name="Freeform 13">
              <a:extLst>
                <a:ext uri="{FF2B5EF4-FFF2-40B4-BE49-F238E27FC236}">
                  <a16:creationId xmlns:a16="http://schemas.microsoft.com/office/drawing/2014/main" id="{90E22CFF-6188-BAC1-2686-A726CDC0966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796209" y="155265"/>
              <a:ext cx="176212" cy="134938"/>
            </a:xfrm>
            <a:custGeom>
              <a:avLst/>
              <a:gdLst>
                <a:gd name="T0" fmla="*/ 96 w 500"/>
                <a:gd name="T1" fmla="*/ 145 h 382"/>
                <a:gd name="T2" fmla="*/ 96 w 500"/>
                <a:gd name="T3" fmla="*/ 92 h 382"/>
                <a:gd name="T4" fmla="*/ 376 w 500"/>
                <a:gd name="T5" fmla="*/ 92 h 382"/>
                <a:gd name="T6" fmla="*/ 403 w 500"/>
                <a:gd name="T7" fmla="*/ 119 h 382"/>
                <a:gd name="T8" fmla="*/ 376 w 500"/>
                <a:gd name="T9" fmla="*/ 145 h 382"/>
                <a:gd name="T10" fmla="*/ 96 w 500"/>
                <a:gd name="T11" fmla="*/ 145 h 382"/>
                <a:gd name="T12" fmla="*/ 96 w 500"/>
                <a:gd name="T13" fmla="*/ 238 h 382"/>
                <a:gd name="T14" fmla="*/ 96 w 500"/>
                <a:gd name="T15" fmla="*/ 382 h 382"/>
                <a:gd name="T16" fmla="*/ 0 w 500"/>
                <a:gd name="T17" fmla="*/ 382 h 382"/>
                <a:gd name="T18" fmla="*/ 0 w 500"/>
                <a:gd name="T19" fmla="*/ 0 h 382"/>
                <a:gd name="T20" fmla="*/ 379 w 500"/>
                <a:gd name="T21" fmla="*/ 0 h 382"/>
                <a:gd name="T22" fmla="*/ 500 w 500"/>
                <a:gd name="T23" fmla="*/ 119 h 382"/>
                <a:gd name="T24" fmla="*/ 379 w 500"/>
                <a:gd name="T25" fmla="*/ 238 h 382"/>
                <a:gd name="T26" fmla="*/ 349 w 500"/>
                <a:gd name="T27" fmla="*/ 238 h 382"/>
                <a:gd name="T28" fmla="*/ 495 w 500"/>
                <a:gd name="T29" fmla="*/ 382 h 382"/>
                <a:gd name="T30" fmla="*/ 360 w 500"/>
                <a:gd name="T31" fmla="*/ 382 h 382"/>
                <a:gd name="T32" fmla="*/ 213 w 500"/>
                <a:gd name="T33" fmla="*/ 238 h 382"/>
                <a:gd name="T34" fmla="*/ 96 w 500"/>
                <a:gd name="T35" fmla="*/ 23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0" h="382">
                  <a:moveTo>
                    <a:pt x="96" y="145"/>
                  </a:moveTo>
                  <a:lnTo>
                    <a:pt x="96" y="92"/>
                  </a:lnTo>
                  <a:lnTo>
                    <a:pt x="376" y="92"/>
                  </a:lnTo>
                  <a:cubicBezTo>
                    <a:pt x="391" y="92"/>
                    <a:pt x="403" y="104"/>
                    <a:pt x="403" y="119"/>
                  </a:cubicBezTo>
                  <a:cubicBezTo>
                    <a:pt x="403" y="134"/>
                    <a:pt x="391" y="145"/>
                    <a:pt x="376" y="145"/>
                  </a:cubicBezTo>
                  <a:lnTo>
                    <a:pt x="96" y="145"/>
                  </a:lnTo>
                  <a:close/>
                  <a:moveTo>
                    <a:pt x="96" y="238"/>
                  </a:moveTo>
                  <a:lnTo>
                    <a:pt x="96" y="382"/>
                  </a:lnTo>
                  <a:lnTo>
                    <a:pt x="0" y="382"/>
                  </a:lnTo>
                  <a:lnTo>
                    <a:pt x="0" y="0"/>
                  </a:lnTo>
                  <a:lnTo>
                    <a:pt x="379" y="0"/>
                  </a:lnTo>
                  <a:cubicBezTo>
                    <a:pt x="446" y="0"/>
                    <a:pt x="500" y="53"/>
                    <a:pt x="500" y="119"/>
                  </a:cubicBezTo>
                  <a:cubicBezTo>
                    <a:pt x="500" y="184"/>
                    <a:pt x="446" y="238"/>
                    <a:pt x="379" y="238"/>
                  </a:cubicBezTo>
                  <a:lnTo>
                    <a:pt x="349" y="238"/>
                  </a:lnTo>
                  <a:lnTo>
                    <a:pt x="495" y="382"/>
                  </a:lnTo>
                  <a:lnTo>
                    <a:pt x="360" y="382"/>
                  </a:lnTo>
                  <a:lnTo>
                    <a:pt x="213" y="238"/>
                  </a:lnTo>
                  <a:lnTo>
                    <a:pt x="96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7" name="Freeform 14">
              <a:extLst>
                <a:ext uri="{FF2B5EF4-FFF2-40B4-BE49-F238E27FC236}">
                  <a16:creationId xmlns:a16="http://schemas.microsoft.com/office/drawing/2014/main" id="{E8A25B25-3EBA-60EB-77DB-E7D33EBFA22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650284" y="334653"/>
              <a:ext cx="117475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334 w 334"/>
                <a:gd name="T9" fmla="*/ 0 h 253"/>
                <a:gd name="T10" fmla="*/ 334 w 334"/>
                <a:gd name="T11" fmla="*/ 48 h 253"/>
                <a:gd name="T12" fmla="*/ 76 w 334"/>
                <a:gd name="T13" fmla="*/ 48 h 253"/>
                <a:gd name="T14" fmla="*/ 53 w 334"/>
                <a:gd name="T15" fmla="*/ 72 h 253"/>
                <a:gd name="T16" fmla="*/ 53 w 334"/>
                <a:gd name="T17" fmla="*/ 186 h 253"/>
                <a:gd name="T18" fmla="*/ 76 w 334"/>
                <a:gd name="T19" fmla="*/ 210 h 253"/>
                <a:gd name="T20" fmla="*/ 334 w 334"/>
                <a:gd name="T21" fmla="*/ 210 h 253"/>
                <a:gd name="T22" fmla="*/ 334 w 334"/>
                <a:gd name="T23" fmla="*/ 253 h 253"/>
                <a:gd name="T24" fmla="*/ 27 w 334"/>
                <a:gd name="T25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334" y="0"/>
                  </a:lnTo>
                  <a:lnTo>
                    <a:pt x="334" y="48"/>
                  </a:ln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334" y="210"/>
                  </a:lnTo>
                  <a:lnTo>
                    <a:pt x="334" y="253"/>
                  </a:lnTo>
                  <a:lnTo>
                    <a:pt x="2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8" name="Freeform 15">
              <a:extLst>
                <a:ext uri="{FF2B5EF4-FFF2-40B4-BE49-F238E27FC236}">
                  <a16:creationId xmlns:a16="http://schemas.microsoft.com/office/drawing/2014/main" id="{1D04E0F9-6B0F-D0C3-6CB8-F410CC5BE1D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802684" y="334653"/>
              <a:ext cx="122237" cy="88900"/>
            </a:xfrm>
            <a:custGeom>
              <a:avLst/>
              <a:gdLst>
                <a:gd name="T0" fmla="*/ 6 w 349"/>
                <a:gd name="T1" fmla="*/ 253 h 253"/>
                <a:gd name="T2" fmla="*/ 6 w 349"/>
                <a:gd name="T3" fmla="*/ 210 h 253"/>
                <a:gd name="T4" fmla="*/ 269 w 349"/>
                <a:gd name="T5" fmla="*/ 210 h 253"/>
                <a:gd name="T6" fmla="*/ 298 w 349"/>
                <a:gd name="T7" fmla="*/ 182 h 253"/>
                <a:gd name="T8" fmla="*/ 269 w 349"/>
                <a:gd name="T9" fmla="*/ 154 h 253"/>
                <a:gd name="T10" fmla="*/ 79 w 349"/>
                <a:gd name="T11" fmla="*/ 154 h 253"/>
                <a:gd name="T12" fmla="*/ 0 w 349"/>
                <a:gd name="T13" fmla="*/ 77 h 253"/>
                <a:gd name="T14" fmla="*/ 79 w 349"/>
                <a:gd name="T15" fmla="*/ 0 h 253"/>
                <a:gd name="T16" fmla="*/ 339 w 349"/>
                <a:gd name="T17" fmla="*/ 0 h 253"/>
                <a:gd name="T18" fmla="*/ 339 w 349"/>
                <a:gd name="T19" fmla="*/ 49 h 253"/>
                <a:gd name="T20" fmla="*/ 80 w 349"/>
                <a:gd name="T21" fmla="*/ 49 h 253"/>
                <a:gd name="T22" fmla="*/ 51 w 349"/>
                <a:gd name="T23" fmla="*/ 76 h 253"/>
                <a:gd name="T24" fmla="*/ 80 w 349"/>
                <a:gd name="T25" fmla="*/ 105 h 253"/>
                <a:gd name="T26" fmla="*/ 271 w 349"/>
                <a:gd name="T27" fmla="*/ 105 h 253"/>
                <a:gd name="T28" fmla="*/ 349 w 349"/>
                <a:gd name="T29" fmla="*/ 182 h 253"/>
                <a:gd name="T30" fmla="*/ 299 w 349"/>
                <a:gd name="T31" fmla="*/ 253 h 253"/>
                <a:gd name="T32" fmla="*/ 6 w 349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9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8" y="199"/>
                    <a:pt x="298" y="182"/>
                  </a:cubicBezTo>
                  <a:cubicBezTo>
                    <a:pt x="298" y="166"/>
                    <a:pt x="285" y="154"/>
                    <a:pt x="269" y="154"/>
                  </a:cubicBezTo>
                  <a:lnTo>
                    <a:pt x="79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9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5" y="105"/>
                    <a:pt x="80" y="105"/>
                  </a:cubicBezTo>
                  <a:lnTo>
                    <a:pt x="271" y="105"/>
                  </a:lnTo>
                  <a:cubicBezTo>
                    <a:pt x="314" y="105"/>
                    <a:pt x="349" y="140"/>
                    <a:pt x="349" y="182"/>
                  </a:cubicBezTo>
                  <a:cubicBezTo>
                    <a:pt x="349" y="214"/>
                    <a:pt x="328" y="242"/>
                    <a:pt x="299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9" name="Freeform 16">
              <a:extLst>
                <a:ext uri="{FF2B5EF4-FFF2-40B4-BE49-F238E27FC236}">
                  <a16:creationId xmlns:a16="http://schemas.microsoft.com/office/drawing/2014/main" id="{990A7BCD-A951-4A6C-59F9-8072469F5A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451846" y="334653"/>
              <a:ext cx="106362" cy="88900"/>
            </a:xfrm>
            <a:custGeom>
              <a:avLst/>
              <a:gdLst>
                <a:gd name="T0" fmla="*/ 0 w 302"/>
                <a:gd name="T1" fmla="*/ 0 h 253"/>
                <a:gd name="T2" fmla="*/ 0 w 302"/>
                <a:gd name="T3" fmla="*/ 48 h 253"/>
                <a:gd name="T4" fmla="*/ 125 w 302"/>
                <a:gd name="T5" fmla="*/ 49 h 253"/>
                <a:gd name="T6" fmla="*/ 125 w 302"/>
                <a:gd name="T7" fmla="*/ 253 h 253"/>
                <a:gd name="T8" fmla="*/ 177 w 302"/>
                <a:gd name="T9" fmla="*/ 253 h 253"/>
                <a:gd name="T10" fmla="*/ 177 w 302"/>
                <a:gd name="T11" fmla="*/ 49 h 253"/>
                <a:gd name="T12" fmla="*/ 302 w 302"/>
                <a:gd name="T13" fmla="*/ 49 h 253"/>
                <a:gd name="T14" fmla="*/ 302 w 302"/>
                <a:gd name="T15" fmla="*/ 0 h 253"/>
                <a:gd name="T16" fmla="*/ 0 w 302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253">
                  <a:moveTo>
                    <a:pt x="0" y="0"/>
                  </a:moveTo>
                  <a:lnTo>
                    <a:pt x="0" y="48"/>
                  </a:lnTo>
                  <a:lnTo>
                    <a:pt x="125" y="49"/>
                  </a:lnTo>
                  <a:lnTo>
                    <a:pt x="125" y="253"/>
                  </a:lnTo>
                  <a:lnTo>
                    <a:pt x="177" y="253"/>
                  </a:lnTo>
                  <a:lnTo>
                    <a:pt x="177" y="49"/>
                  </a:lnTo>
                  <a:lnTo>
                    <a:pt x="302" y="49"/>
                  </a:lnTo>
                  <a:lnTo>
                    <a:pt x="3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0" name="Rectangle 17">
              <a:extLst>
                <a:ext uri="{FF2B5EF4-FFF2-40B4-BE49-F238E27FC236}">
                  <a16:creationId xmlns:a16="http://schemas.microsoft.com/office/drawing/2014/main" id="{D42D6C14-5A33-2FF4-F6D7-1BF7A86F8D1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591546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1" name="Freeform 18">
              <a:extLst>
                <a:ext uri="{FF2B5EF4-FFF2-40B4-BE49-F238E27FC236}">
                  <a16:creationId xmlns:a16="http://schemas.microsoft.com/office/drawing/2014/main" id="{21A51B06-3AE0-137B-9BA7-805DD8F03C0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302621" y="334653"/>
              <a:ext cx="122237" cy="88900"/>
            </a:xfrm>
            <a:custGeom>
              <a:avLst/>
              <a:gdLst>
                <a:gd name="T0" fmla="*/ 6 w 348"/>
                <a:gd name="T1" fmla="*/ 253 h 253"/>
                <a:gd name="T2" fmla="*/ 6 w 348"/>
                <a:gd name="T3" fmla="*/ 210 h 253"/>
                <a:gd name="T4" fmla="*/ 269 w 348"/>
                <a:gd name="T5" fmla="*/ 210 h 253"/>
                <a:gd name="T6" fmla="*/ 297 w 348"/>
                <a:gd name="T7" fmla="*/ 182 h 253"/>
                <a:gd name="T8" fmla="*/ 269 w 348"/>
                <a:gd name="T9" fmla="*/ 154 h 253"/>
                <a:gd name="T10" fmla="*/ 78 w 348"/>
                <a:gd name="T11" fmla="*/ 154 h 253"/>
                <a:gd name="T12" fmla="*/ 0 w 348"/>
                <a:gd name="T13" fmla="*/ 77 h 253"/>
                <a:gd name="T14" fmla="*/ 78 w 348"/>
                <a:gd name="T15" fmla="*/ 0 h 253"/>
                <a:gd name="T16" fmla="*/ 339 w 348"/>
                <a:gd name="T17" fmla="*/ 0 h 253"/>
                <a:gd name="T18" fmla="*/ 339 w 348"/>
                <a:gd name="T19" fmla="*/ 49 h 253"/>
                <a:gd name="T20" fmla="*/ 80 w 348"/>
                <a:gd name="T21" fmla="*/ 49 h 253"/>
                <a:gd name="T22" fmla="*/ 51 w 348"/>
                <a:gd name="T23" fmla="*/ 76 h 253"/>
                <a:gd name="T24" fmla="*/ 80 w 348"/>
                <a:gd name="T25" fmla="*/ 105 h 253"/>
                <a:gd name="T26" fmla="*/ 270 w 348"/>
                <a:gd name="T27" fmla="*/ 105 h 253"/>
                <a:gd name="T28" fmla="*/ 348 w 348"/>
                <a:gd name="T29" fmla="*/ 182 h 253"/>
                <a:gd name="T30" fmla="*/ 298 w 348"/>
                <a:gd name="T31" fmla="*/ 253 h 253"/>
                <a:gd name="T32" fmla="*/ 6 w 348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253">
                  <a:moveTo>
                    <a:pt x="6" y="253"/>
                  </a:moveTo>
                  <a:lnTo>
                    <a:pt x="6" y="210"/>
                  </a:lnTo>
                  <a:lnTo>
                    <a:pt x="269" y="210"/>
                  </a:lnTo>
                  <a:cubicBezTo>
                    <a:pt x="284" y="210"/>
                    <a:pt x="297" y="199"/>
                    <a:pt x="297" y="182"/>
                  </a:cubicBezTo>
                  <a:cubicBezTo>
                    <a:pt x="297" y="166"/>
                    <a:pt x="284" y="154"/>
                    <a:pt x="269" y="154"/>
                  </a:cubicBezTo>
                  <a:lnTo>
                    <a:pt x="78" y="154"/>
                  </a:lnTo>
                  <a:cubicBezTo>
                    <a:pt x="35" y="154"/>
                    <a:pt x="0" y="119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lnTo>
                    <a:pt x="339" y="0"/>
                  </a:lnTo>
                  <a:lnTo>
                    <a:pt x="339" y="49"/>
                  </a:lnTo>
                  <a:lnTo>
                    <a:pt x="80" y="49"/>
                  </a:lnTo>
                  <a:cubicBezTo>
                    <a:pt x="65" y="49"/>
                    <a:pt x="51" y="60"/>
                    <a:pt x="51" y="76"/>
                  </a:cubicBezTo>
                  <a:cubicBezTo>
                    <a:pt x="51" y="92"/>
                    <a:pt x="64" y="105"/>
                    <a:pt x="80" y="105"/>
                  </a:cubicBezTo>
                  <a:lnTo>
                    <a:pt x="270" y="105"/>
                  </a:lnTo>
                  <a:cubicBezTo>
                    <a:pt x="314" y="105"/>
                    <a:pt x="348" y="140"/>
                    <a:pt x="348" y="182"/>
                  </a:cubicBezTo>
                  <a:cubicBezTo>
                    <a:pt x="348" y="214"/>
                    <a:pt x="328" y="242"/>
                    <a:pt x="298" y="253"/>
                  </a:cubicBezTo>
                  <a:lnTo>
                    <a:pt x="6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2" name="Rectangle 19">
              <a:extLst>
                <a:ext uri="{FF2B5EF4-FFF2-40B4-BE49-F238E27FC236}">
                  <a16:creationId xmlns:a16="http://schemas.microsoft.com/office/drawing/2014/main" id="{99691CFF-4484-EB20-CC3E-42F011BC3C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247059" y="334653"/>
              <a:ext cx="19050" cy="88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3" name="Freeform 20">
              <a:extLst>
                <a:ext uri="{FF2B5EF4-FFF2-40B4-BE49-F238E27FC236}">
                  <a16:creationId xmlns:a16="http://schemas.microsoft.com/office/drawing/2014/main" id="{C43EC9A6-5237-3A32-C99B-B9CE686A69E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794621" y="334653"/>
              <a:ext cx="115887" cy="88900"/>
            </a:xfrm>
            <a:custGeom>
              <a:avLst/>
              <a:gdLst>
                <a:gd name="T0" fmla="*/ 0 w 330"/>
                <a:gd name="T1" fmla="*/ 0 h 253"/>
                <a:gd name="T2" fmla="*/ 1 w 330"/>
                <a:gd name="T3" fmla="*/ 253 h 253"/>
                <a:gd name="T4" fmla="*/ 330 w 330"/>
                <a:gd name="T5" fmla="*/ 253 h 253"/>
                <a:gd name="T6" fmla="*/ 330 w 330"/>
                <a:gd name="T7" fmla="*/ 210 h 253"/>
                <a:gd name="T8" fmla="*/ 53 w 330"/>
                <a:gd name="T9" fmla="*/ 210 h 253"/>
                <a:gd name="T10" fmla="*/ 53 w 330"/>
                <a:gd name="T11" fmla="*/ 0 h 253"/>
                <a:gd name="T12" fmla="*/ 0 w 330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253">
                  <a:moveTo>
                    <a:pt x="0" y="0"/>
                  </a:moveTo>
                  <a:lnTo>
                    <a:pt x="1" y="253"/>
                  </a:lnTo>
                  <a:lnTo>
                    <a:pt x="330" y="253"/>
                  </a:lnTo>
                  <a:lnTo>
                    <a:pt x="330" y="210"/>
                  </a:lnTo>
                  <a:lnTo>
                    <a:pt x="53" y="210"/>
                  </a:lnTo>
                  <a:lnTo>
                    <a:pt x="5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4" name="Freeform 21">
              <a:extLst>
                <a:ext uri="{FF2B5EF4-FFF2-40B4-BE49-F238E27FC236}">
                  <a16:creationId xmlns:a16="http://schemas.microsoft.com/office/drawing/2014/main" id="{95C38373-B739-773B-8617-4ACC510B615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7934321" y="334653"/>
              <a:ext cx="115887" cy="88900"/>
            </a:xfrm>
            <a:custGeom>
              <a:avLst/>
              <a:gdLst>
                <a:gd name="T0" fmla="*/ 27 w 334"/>
                <a:gd name="T1" fmla="*/ 253 h 253"/>
                <a:gd name="T2" fmla="*/ 0 w 334"/>
                <a:gd name="T3" fmla="*/ 212 h 253"/>
                <a:gd name="T4" fmla="*/ 0 w 334"/>
                <a:gd name="T5" fmla="*/ 45 h 253"/>
                <a:gd name="T6" fmla="*/ 45 w 334"/>
                <a:gd name="T7" fmla="*/ 0 h 253"/>
                <a:gd name="T8" fmla="*/ 105 w 334"/>
                <a:gd name="T9" fmla="*/ 0 h 253"/>
                <a:gd name="T10" fmla="*/ 218 w 334"/>
                <a:gd name="T11" fmla="*/ 0 h 253"/>
                <a:gd name="T12" fmla="*/ 290 w 334"/>
                <a:gd name="T13" fmla="*/ 0 h 253"/>
                <a:gd name="T14" fmla="*/ 334 w 334"/>
                <a:gd name="T15" fmla="*/ 45 h 253"/>
                <a:gd name="T16" fmla="*/ 334 w 334"/>
                <a:gd name="T17" fmla="*/ 212 h 253"/>
                <a:gd name="T18" fmla="*/ 308 w 334"/>
                <a:gd name="T19" fmla="*/ 253 h 253"/>
                <a:gd name="T20" fmla="*/ 27 w 334"/>
                <a:gd name="T21" fmla="*/ 253 h 253"/>
                <a:gd name="T22" fmla="*/ 105 w 334"/>
                <a:gd name="T23" fmla="*/ 48 h 253"/>
                <a:gd name="T24" fmla="*/ 76 w 334"/>
                <a:gd name="T25" fmla="*/ 48 h 253"/>
                <a:gd name="T26" fmla="*/ 53 w 334"/>
                <a:gd name="T27" fmla="*/ 72 h 253"/>
                <a:gd name="T28" fmla="*/ 53 w 334"/>
                <a:gd name="T29" fmla="*/ 186 h 253"/>
                <a:gd name="T30" fmla="*/ 76 w 334"/>
                <a:gd name="T31" fmla="*/ 210 h 253"/>
                <a:gd name="T32" fmla="*/ 105 w 334"/>
                <a:gd name="T33" fmla="*/ 210 h 253"/>
                <a:gd name="T34" fmla="*/ 219 w 334"/>
                <a:gd name="T35" fmla="*/ 210 h 253"/>
                <a:gd name="T36" fmla="*/ 259 w 334"/>
                <a:gd name="T37" fmla="*/ 210 h 253"/>
                <a:gd name="T38" fmla="*/ 282 w 334"/>
                <a:gd name="T39" fmla="*/ 186 h 253"/>
                <a:gd name="T40" fmla="*/ 282 w 334"/>
                <a:gd name="T41" fmla="*/ 72 h 253"/>
                <a:gd name="T42" fmla="*/ 259 w 334"/>
                <a:gd name="T43" fmla="*/ 48 h 253"/>
                <a:gd name="T44" fmla="*/ 219 w 334"/>
                <a:gd name="T45" fmla="*/ 48 h 253"/>
                <a:gd name="T46" fmla="*/ 105 w 334"/>
                <a:gd name="T47" fmla="*/ 4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4" h="253">
                  <a:moveTo>
                    <a:pt x="27" y="253"/>
                  </a:moveTo>
                  <a:cubicBezTo>
                    <a:pt x="11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5" y="0"/>
                  </a:lnTo>
                  <a:lnTo>
                    <a:pt x="218" y="0"/>
                  </a:lnTo>
                  <a:lnTo>
                    <a:pt x="290" y="0"/>
                  </a:lnTo>
                  <a:cubicBezTo>
                    <a:pt x="314" y="0"/>
                    <a:pt x="334" y="20"/>
                    <a:pt x="334" y="45"/>
                  </a:cubicBezTo>
                  <a:lnTo>
                    <a:pt x="334" y="212"/>
                  </a:lnTo>
                  <a:cubicBezTo>
                    <a:pt x="334" y="230"/>
                    <a:pt x="324" y="246"/>
                    <a:pt x="308" y="253"/>
                  </a:cubicBezTo>
                  <a:lnTo>
                    <a:pt x="27" y="253"/>
                  </a:lnTo>
                  <a:close/>
                  <a:moveTo>
                    <a:pt x="105" y="48"/>
                  </a:moveTo>
                  <a:lnTo>
                    <a:pt x="76" y="48"/>
                  </a:lnTo>
                  <a:cubicBezTo>
                    <a:pt x="63" y="48"/>
                    <a:pt x="53" y="59"/>
                    <a:pt x="53" y="72"/>
                  </a:cubicBezTo>
                  <a:lnTo>
                    <a:pt x="53" y="186"/>
                  </a:lnTo>
                  <a:cubicBezTo>
                    <a:pt x="53" y="199"/>
                    <a:pt x="63" y="210"/>
                    <a:pt x="76" y="210"/>
                  </a:cubicBezTo>
                  <a:lnTo>
                    <a:pt x="105" y="210"/>
                  </a:lnTo>
                  <a:lnTo>
                    <a:pt x="219" y="210"/>
                  </a:lnTo>
                  <a:lnTo>
                    <a:pt x="259" y="210"/>
                  </a:lnTo>
                  <a:cubicBezTo>
                    <a:pt x="272" y="210"/>
                    <a:pt x="282" y="199"/>
                    <a:pt x="282" y="186"/>
                  </a:cubicBezTo>
                  <a:lnTo>
                    <a:pt x="282" y="72"/>
                  </a:lnTo>
                  <a:cubicBezTo>
                    <a:pt x="282" y="59"/>
                    <a:pt x="272" y="48"/>
                    <a:pt x="259" y="48"/>
                  </a:cubicBezTo>
                  <a:lnTo>
                    <a:pt x="219" y="48"/>
                  </a:lnTo>
                  <a:lnTo>
                    <a:pt x="105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7" name="Freeform 22">
              <a:extLst>
                <a:ext uri="{FF2B5EF4-FFF2-40B4-BE49-F238E27FC236}">
                  <a16:creationId xmlns:a16="http://schemas.microsoft.com/office/drawing/2014/main" id="{D0108188-5D51-988A-4B93-8072EBA9A27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gray">
            <a:xfrm>
              <a:off x="8085134" y="334653"/>
              <a:ext cx="119062" cy="88900"/>
            </a:xfrm>
            <a:custGeom>
              <a:avLst/>
              <a:gdLst>
                <a:gd name="T0" fmla="*/ 117 w 336"/>
                <a:gd name="T1" fmla="*/ 210 h 253"/>
                <a:gd name="T2" fmla="*/ 171 w 336"/>
                <a:gd name="T3" fmla="*/ 210 h 253"/>
                <a:gd name="T4" fmla="*/ 260 w 336"/>
                <a:gd name="T5" fmla="*/ 210 h 253"/>
                <a:gd name="T6" fmla="*/ 283 w 336"/>
                <a:gd name="T7" fmla="*/ 186 h 253"/>
                <a:gd name="T8" fmla="*/ 283 w 336"/>
                <a:gd name="T9" fmla="*/ 174 h 253"/>
                <a:gd name="T10" fmla="*/ 260 w 336"/>
                <a:gd name="T11" fmla="*/ 150 h 253"/>
                <a:gd name="T12" fmla="*/ 132 w 336"/>
                <a:gd name="T13" fmla="*/ 150 h 253"/>
                <a:gd name="T14" fmla="*/ 132 w 336"/>
                <a:gd name="T15" fmla="*/ 101 h 253"/>
                <a:gd name="T16" fmla="*/ 291 w 336"/>
                <a:gd name="T17" fmla="*/ 101 h 253"/>
                <a:gd name="T18" fmla="*/ 336 w 336"/>
                <a:gd name="T19" fmla="*/ 147 h 253"/>
                <a:gd name="T20" fmla="*/ 336 w 336"/>
                <a:gd name="T21" fmla="*/ 212 h 253"/>
                <a:gd name="T22" fmla="*/ 309 w 336"/>
                <a:gd name="T23" fmla="*/ 253 h 253"/>
                <a:gd name="T24" fmla="*/ 26 w 336"/>
                <a:gd name="T25" fmla="*/ 253 h 253"/>
                <a:gd name="T26" fmla="*/ 0 w 336"/>
                <a:gd name="T27" fmla="*/ 212 h 253"/>
                <a:gd name="T28" fmla="*/ 0 w 336"/>
                <a:gd name="T29" fmla="*/ 45 h 253"/>
                <a:gd name="T30" fmla="*/ 44 w 336"/>
                <a:gd name="T31" fmla="*/ 0 h 253"/>
                <a:gd name="T32" fmla="*/ 335 w 336"/>
                <a:gd name="T33" fmla="*/ 0 h 253"/>
                <a:gd name="T34" fmla="*/ 335 w 336"/>
                <a:gd name="T35" fmla="*/ 48 h 253"/>
                <a:gd name="T36" fmla="*/ 75 w 336"/>
                <a:gd name="T37" fmla="*/ 48 h 253"/>
                <a:gd name="T38" fmla="*/ 52 w 336"/>
                <a:gd name="T39" fmla="*/ 72 h 253"/>
                <a:gd name="T40" fmla="*/ 52 w 336"/>
                <a:gd name="T41" fmla="*/ 186 h 253"/>
                <a:gd name="T42" fmla="*/ 75 w 336"/>
                <a:gd name="T43" fmla="*/ 210 h 253"/>
                <a:gd name="T44" fmla="*/ 117 w 336"/>
                <a:gd name="T45" fmla="*/ 21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253">
                  <a:moveTo>
                    <a:pt x="117" y="210"/>
                  </a:moveTo>
                  <a:lnTo>
                    <a:pt x="171" y="210"/>
                  </a:lnTo>
                  <a:lnTo>
                    <a:pt x="260" y="210"/>
                  </a:lnTo>
                  <a:cubicBezTo>
                    <a:pt x="273" y="210"/>
                    <a:pt x="283" y="199"/>
                    <a:pt x="283" y="186"/>
                  </a:cubicBezTo>
                  <a:lnTo>
                    <a:pt x="283" y="174"/>
                  </a:lnTo>
                  <a:cubicBezTo>
                    <a:pt x="283" y="161"/>
                    <a:pt x="273" y="150"/>
                    <a:pt x="260" y="150"/>
                  </a:cubicBezTo>
                  <a:lnTo>
                    <a:pt x="132" y="150"/>
                  </a:lnTo>
                  <a:lnTo>
                    <a:pt x="132" y="101"/>
                  </a:lnTo>
                  <a:lnTo>
                    <a:pt x="291" y="101"/>
                  </a:lnTo>
                  <a:cubicBezTo>
                    <a:pt x="315" y="101"/>
                    <a:pt x="336" y="122"/>
                    <a:pt x="336" y="147"/>
                  </a:cubicBezTo>
                  <a:lnTo>
                    <a:pt x="336" y="212"/>
                  </a:lnTo>
                  <a:cubicBezTo>
                    <a:pt x="336" y="230"/>
                    <a:pt x="325" y="246"/>
                    <a:pt x="309" y="253"/>
                  </a:cubicBezTo>
                  <a:lnTo>
                    <a:pt x="26" y="253"/>
                  </a:lnTo>
                  <a:cubicBezTo>
                    <a:pt x="10" y="246"/>
                    <a:pt x="0" y="230"/>
                    <a:pt x="0" y="21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4" y="0"/>
                  </a:cubicBezTo>
                  <a:lnTo>
                    <a:pt x="335" y="0"/>
                  </a:lnTo>
                  <a:lnTo>
                    <a:pt x="335" y="48"/>
                  </a:lnTo>
                  <a:lnTo>
                    <a:pt x="75" y="48"/>
                  </a:lnTo>
                  <a:cubicBezTo>
                    <a:pt x="62" y="48"/>
                    <a:pt x="52" y="59"/>
                    <a:pt x="52" y="72"/>
                  </a:cubicBezTo>
                  <a:lnTo>
                    <a:pt x="52" y="186"/>
                  </a:lnTo>
                  <a:cubicBezTo>
                    <a:pt x="52" y="199"/>
                    <a:pt x="62" y="210"/>
                    <a:pt x="75" y="210"/>
                  </a:cubicBezTo>
                  <a:lnTo>
                    <a:pt x="11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469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26036DF3-B971-38B7-29B3-CD10C963E3A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flipV="1">
            <a:off x="137891" y="5010883"/>
            <a:ext cx="3895143" cy="1444922"/>
          </a:xfrm>
          <a:prstGeom prst="snip1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416BA1C2-BC17-7008-E14B-D708A32FD73D}"/>
              </a:ext>
            </a:extLst>
          </p:cNvPr>
          <p:cNvSpPr txBox="1">
            <a:spLocks/>
          </p:cNvSpPr>
          <p:nvPr/>
        </p:nvSpPr>
        <p:spPr bwMode="gray">
          <a:xfrm>
            <a:off x="268811" y="5105748"/>
            <a:ext cx="4227839" cy="1286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cap="all" dirty="0">
                <a:solidFill>
                  <a:schemeClr val="accent2"/>
                </a:solidFill>
              </a:rPr>
              <a:t>Южный коридор </a:t>
            </a:r>
            <a:br>
              <a:rPr lang="ru-RU" sz="1200" cap="all" dirty="0">
                <a:solidFill>
                  <a:schemeClr val="accent2"/>
                </a:solidFill>
              </a:rPr>
            </a:br>
            <a:r>
              <a:rPr lang="ru-RU" sz="1200" cap="all" dirty="0">
                <a:solidFill>
                  <a:schemeClr val="accent2"/>
                </a:solidFill>
              </a:rPr>
              <a:t>(новый шелковый путь</a:t>
            </a:r>
            <a:r>
              <a:rPr lang="nl-BE" sz="1200" cap="all" dirty="0">
                <a:solidFill>
                  <a:schemeClr val="accent2"/>
                </a:solidFill>
              </a:rPr>
              <a:t>)</a:t>
            </a:r>
            <a:endParaRPr lang="nl-BE" sz="1200" dirty="0">
              <a:solidFill>
                <a:srgbClr val="00469B"/>
              </a:solidFill>
            </a:endParaRPr>
          </a:p>
          <a:p>
            <a:pPr marL="179388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Китай</a:t>
            </a:r>
            <a:r>
              <a:rPr lang="de-DE" sz="1000" dirty="0">
                <a:solidFill>
                  <a:schemeClr val="tx2"/>
                </a:solidFill>
              </a:rPr>
              <a:t>: Chengdu / Zhengzhou / Wuhan / Yiwu /</a:t>
            </a:r>
          </a:p>
          <a:p>
            <a:pPr marL="612000" lvl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de-DE" sz="1000" dirty="0">
                <a:solidFill>
                  <a:schemeClr val="tx2"/>
                </a:solidFill>
              </a:rPr>
              <a:t>Hefei / Xian</a:t>
            </a:r>
            <a:r>
              <a:rPr lang="en-US" sz="1000" dirty="0">
                <a:solidFill>
                  <a:schemeClr val="tx2"/>
                </a:solidFill>
              </a:rPr>
              <a:t> / Chongqing / Xiamen </a:t>
            </a:r>
            <a:endParaRPr lang="de-DE" sz="1000" dirty="0">
              <a:solidFill>
                <a:schemeClr val="tx2"/>
              </a:solidFill>
            </a:endParaRPr>
          </a:p>
          <a:p>
            <a:pPr marL="179388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1: </a:t>
            </a:r>
            <a:r>
              <a:rPr lang="de-DE" sz="1000" dirty="0" err="1">
                <a:solidFill>
                  <a:schemeClr val="tx2"/>
                </a:solidFill>
              </a:rPr>
              <a:t>Alashankou</a:t>
            </a:r>
            <a:r>
              <a:rPr lang="de-DE" sz="1000" dirty="0">
                <a:solidFill>
                  <a:schemeClr val="tx2"/>
                </a:solidFill>
              </a:rPr>
              <a:t> (CN) </a:t>
            </a:r>
            <a:r>
              <a:rPr lang="de-DE" sz="1000" dirty="0" err="1">
                <a:solidFill>
                  <a:schemeClr val="tx2"/>
                </a:solidFill>
              </a:rPr>
              <a:t>Dostyk</a:t>
            </a:r>
            <a:r>
              <a:rPr lang="de-DE" sz="1000" dirty="0">
                <a:solidFill>
                  <a:schemeClr val="tx2"/>
                </a:solidFill>
              </a:rPr>
              <a:t> (KZ)</a:t>
            </a:r>
          </a:p>
          <a:p>
            <a:pPr marL="179388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2: Brest (BY) / </a:t>
            </a:r>
            <a:r>
              <a:rPr lang="de-DE" sz="1000" dirty="0" err="1">
                <a:solidFill>
                  <a:schemeClr val="tx2"/>
                </a:solidFill>
              </a:rPr>
              <a:t>Malaszewicze</a:t>
            </a:r>
            <a:r>
              <a:rPr lang="de-DE" sz="1000" dirty="0">
                <a:solidFill>
                  <a:schemeClr val="tx2"/>
                </a:solidFill>
              </a:rPr>
              <a:t> (PL)</a:t>
            </a:r>
          </a:p>
        </p:txBody>
      </p:sp>
      <p:sp>
        <p:nvSpPr>
          <p:cNvPr id="936" name="Germany">
            <a:extLst>
              <a:ext uri="{FF2B5EF4-FFF2-40B4-BE49-F238E27FC236}">
                <a16:creationId xmlns:a16="http://schemas.microsoft.com/office/drawing/2014/main" id="{A1A4A574-AF51-4A7E-C57B-9E6E88FADD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93293" y="2647604"/>
            <a:ext cx="500926" cy="521605"/>
          </a:xfrm>
          <a:custGeom>
            <a:avLst/>
            <a:gdLst>
              <a:gd name="T0" fmla="*/ 21 w 373"/>
              <a:gd name="T1" fmla="*/ 294 h 393"/>
              <a:gd name="T2" fmla="*/ 62 w 373"/>
              <a:gd name="T3" fmla="*/ 297 h 393"/>
              <a:gd name="T4" fmla="*/ 90 w 373"/>
              <a:gd name="T5" fmla="*/ 305 h 393"/>
              <a:gd name="T6" fmla="*/ 74 w 373"/>
              <a:gd name="T7" fmla="*/ 330 h 393"/>
              <a:gd name="T8" fmla="*/ 75 w 373"/>
              <a:gd name="T9" fmla="*/ 381 h 393"/>
              <a:gd name="T10" fmla="*/ 101 w 373"/>
              <a:gd name="T11" fmla="*/ 378 h 393"/>
              <a:gd name="T12" fmla="*/ 128 w 373"/>
              <a:gd name="T13" fmla="*/ 372 h 393"/>
              <a:gd name="T14" fmla="*/ 148 w 373"/>
              <a:gd name="T15" fmla="*/ 383 h 393"/>
              <a:gd name="T16" fmla="*/ 161 w 373"/>
              <a:gd name="T17" fmla="*/ 382 h 393"/>
              <a:gd name="T18" fmla="*/ 182 w 373"/>
              <a:gd name="T19" fmla="*/ 377 h 393"/>
              <a:gd name="T20" fmla="*/ 224 w 373"/>
              <a:gd name="T21" fmla="*/ 387 h 393"/>
              <a:gd name="T22" fmla="*/ 258 w 373"/>
              <a:gd name="T23" fmla="*/ 372 h 393"/>
              <a:gd name="T24" fmla="*/ 290 w 373"/>
              <a:gd name="T25" fmla="*/ 385 h 393"/>
              <a:gd name="T26" fmla="*/ 282 w 373"/>
              <a:gd name="T27" fmla="*/ 358 h 393"/>
              <a:gd name="T28" fmla="*/ 309 w 373"/>
              <a:gd name="T29" fmla="*/ 335 h 393"/>
              <a:gd name="T30" fmla="*/ 324 w 373"/>
              <a:gd name="T31" fmla="*/ 316 h 393"/>
              <a:gd name="T32" fmla="*/ 301 w 373"/>
              <a:gd name="T33" fmla="*/ 295 h 393"/>
              <a:gd name="T34" fmla="*/ 281 w 373"/>
              <a:gd name="T35" fmla="*/ 285 h 393"/>
              <a:gd name="T36" fmla="*/ 271 w 373"/>
              <a:gd name="T37" fmla="*/ 271 h 393"/>
              <a:gd name="T38" fmla="*/ 263 w 373"/>
              <a:gd name="T39" fmla="*/ 248 h 393"/>
              <a:gd name="T40" fmla="*/ 263 w 373"/>
              <a:gd name="T41" fmla="*/ 239 h 393"/>
              <a:gd name="T42" fmla="*/ 283 w 373"/>
              <a:gd name="T43" fmla="*/ 227 h 393"/>
              <a:gd name="T44" fmla="*/ 308 w 373"/>
              <a:gd name="T45" fmla="*/ 221 h 393"/>
              <a:gd name="T46" fmla="*/ 325 w 373"/>
              <a:gd name="T47" fmla="*/ 210 h 393"/>
              <a:gd name="T48" fmla="*/ 360 w 373"/>
              <a:gd name="T49" fmla="*/ 208 h 393"/>
              <a:gd name="T50" fmla="*/ 369 w 373"/>
              <a:gd name="T51" fmla="*/ 177 h 393"/>
              <a:gd name="T52" fmla="*/ 351 w 373"/>
              <a:gd name="T53" fmla="*/ 157 h 393"/>
              <a:gd name="T54" fmla="*/ 356 w 373"/>
              <a:gd name="T55" fmla="*/ 136 h 393"/>
              <a:gd name="T56" fmla="*/ 352 w 373"/>
              <a:gd name="T57" fmla="*/ 115 h 393"/>
              <a:gd name="T58" fmla="*/ 334 w 373"/>
              <a:gd name="T59" fmla="*/ 106 h 393"/>
              <a:gd name="T60" fmla="*/ 339 w 373"/>
              <a:gd name="T61" fmla="*/ 72 h 393"/>
              <a:gd name="T62" fmla="*/ 321 w 373"/>
              <a:gd name="T63" fmla="*/ 55 h 393"/>
              <a:gd name="T64" fmla="*/ 296 w 373"/>
              <a:gd name="T65" fmla="*/ 35 h 393"/>
              <a:gd name="T66" fmla="*/ 226 w 373"/>
              <a:gd name="T67" fmla="*/ 35 h 393"/>
              <a:gd name="T68" fmla="*/ 202 w 373"/>
              <a:gd name="T69" fmla="*/ 35 h 393"/>
              <a:gd name="T70" fmla="*/ 168 w 373"/>
              <a:gd name="T71" fmla="*/ 22 h 393"/>
              <a:gd name="T72" fmla="*/ 145 w 373"/>
              <a:gd name="T73" fmla="*/ 3 h 393"/>
              <a:gd name="T74" fmla="*/ 112 w 373"/>
              <a:gd name="T75" fmla="*/ 0 h 393"/>
              <a:gd name="T76" fmla="*/ 130 w 373"/>
              <a:gd name="T77" fmla="*/ 49 h 393"/>
              <a:gd name="T78" fmla="*/ 105 w 373"/>
              <a:gd name="T79" fmla="*/ 55 h 393"/>
              <a:gd name="T80" fmla="*/ 82 w 373"/>
              <a:gd name="T81" fmla="*/ 62 h 393"/>
              <a:gd name="T82" fmla="*/ 57 w 373"/>
              <a:gd name="T83" fmla="*/ 85 h 393"/>
              <a:gd name="T84" fmla="*/ 47 w 373"/>
              <a:gd name="T85" fmla="*/ 103 h 393"/>
              <a:gd name="T86" fmla="*/ 30 w 373"/>
              <a:gd name="T87" fmla="*/ 122 h 393"/>
              <a:gd name="T88" fmla="*/ 35 w 373"/>
              <a:gd name="T89" fmla="*/ 153 h 393"/>
              <a:gd name="T90" fmla="*/ 1 w 373"/>
              <a:gd name="T91" fmla="*/ 155 h 393"/>
              <a:gd name="T92" fmla="*/ 0 w 373"/>
              <a:gd name="T93" fmla="*/ 191 h 393"/>
              <a:gd name="T94" fmla="*/ 5 w 373"/>
              <a:gd name="T95" fmla="*/ 216 h 393"/>
              <a:gd name="T96" fmla="*/ 9 w 373"/>
              <a:gd name="T97" fmla="*/ 239 h 393"/>
              <a:gd name="T98" fmla="*/ 17 w 373"/>
              <a:gd name="T99" fmla="*/ 274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73" h="393">
                <a:moveTo>
                  <a:pt x="17" y="274"/>
                </a:moveTo>
                <a:cubicBezTo>
                  <a:pt x="17" y="274"/>
                  <a:pt x="19" y="278"/>
                  <a:pt x="22" y="281"/>
                </a:cubicBezTo>
                <a:cubicBezTo>
                  <a:pt x="25" y="284"/>
                  <a:pt x="21" y="294"/>
                  <a:pt x="21" y="294"/>
                </a:cubicBezTo>
                <a:cubicBezTo>
                  <a:pt x="38" y="294"/>
                  <a:pt x="38" y="294"/>
                  <a:pt x="38" y="294"/>
                </a:cubicBezTo>
                <a:cubicBezTo>
                  <a:pt x="38" y="294"/>
                  <a:pt x="36" y="299"/>
                  <a:pt x="42" y="300"/>
                </a:cubicBezTo>
                <a:cubicBezTo>
                  <a:pt x="48" y="301"/>
                  <a:pt x="62" y="297"/>
                  <a:pt x="62" y="297"/>
                </a:cubicBezTo>
                <a:cubicBezTo>
                  <a:pt x="62" y="301"/>
                  <a:pt x="62" y="301"/>
                  <a:pt x="62" y="301"/>
                </a:cubicBezTo>
                <a:cubicBezTo>
                  <a:pt x="80" y="300"/>
                  <a:pt x="80" y="300"/>
                  <a:pt x="80" y="300"/>
                </a:cubicBezTo>
                <a:cubicBezTo>
                  <a:pt x="90" y="305"/>
                  <a:pt x="90" y="305"/>
                  <a:pt x="90" y="305"/>
                </a:cubicBezTo>
                <a:cubicBezTo>
                  <a:pt x="88" y="311"/>
                  <a:pt x="88" y="311"/>
                  <a:pt x="88" y="311"/>
                </a:cubicBezTo>
                <a:cubicBezTo>
                  <a:pt x="74" y="322"/>
                  <a:pt x="74" y="322"/>
                  <a:pt x="74" y="322"/>
                </a:cubicBezTo>
                <a:cubicBezTo>
                  <a:pt x="74" y="330"/>
                  <a:pt x="74" y="330"/>
                  <a:pt x="74" y="330"/>
                </a:cubicBezTo>
                <a:cubicBezTo>
                  <a:pt x="74" y="330"/>
                  <a:pt x="64" y="349"/>
                  <a:pt x="62" y="360"/>
                </a:cubicBezTo>
                <a:cubicBezTo>
                  <a:pt x="60" y="369"/>
                  <a:pt x="63" y="377"/>
                  <a:pt x="64" y="379"/>
                </a:cubicBezTo>
                <a:cubicBezTo>
                  <a:pt x="75" y="381"/>
                  <a:pt x="75" y="381"/>
                  <a:pt x="75" y="381"/>
                </a:cubicBezTo>
                <a:cubicBezTo>
                  <a:pt x="87" y="381"/>
                  <a:pt x="87" y="381"/>
                  <a:pt x="87" y="381"/>
                </a:cubicBezTo>
                <a:cubicBezTo>
                  <a:pt x="97" y="374"/>
                  <a:pt x="97" y="374"/>
                  <a:pt x="97" y="374"/>
                </a:cubicBezTo>
                <a:cubicBezTo>
                  <a:pt x="101" y="378"/>
                  <a:pt x="101" y="378"/>
                  <a:pt x="101" y="378"/>
                </a:cubicBezTo>
                <a:cubicBezTo>
                  <a:pt x="101" y="378"/>
                  <a:pt x="96" y="366"/>
                  <a:pt x="103" y="365"/>
                </a:cubicBezTo>
                <a:cubicBezTo>
                  <a:pt x="110" y="364"/>
                  <a:pt x="119" y="372"/>
                  <a:pt x="119" y="372"/>
                </a:cubicBezTo>
                <a:cubicBezTo>
                  <a:pt x="128" y="372"/>
                  <a:pt x="128" y="372"/>
                  <a:pt x="128" y="372"/>
                </a:cubicBezTo>
                <a:cubicBezTo>
                  <a:pt x="138" y="375"/>
                  <a:pt x="138" y="375"/>
                  <a:pt x="138" y="375"/>
                </a:cubicBezTo>
                <a:cubicBezTo>
                  <a:pt x="144" y="383"/>
                  <a:pt x="144" y="383"/>
                  <a:pt x="144" y="383"/>
                </a:cubicBezTo>
                <a:cubicBezTo>
                  <a:pt x="148" y="383"/>
                  <a:pt x="148" y="383"/>
                  <a:pt x="148" y="383"/>
                </a:cubicBezTo>
                <a:cubicBezTo>
                  <a:pt x="148" y="383"/>
                  <a:pt x="149" y="384"/>
                  <a:pt x="149" y="385"/>
                </a:cubicBezTo>
                <a:cubicBezTo>
                  <a:pt x="149" y="385"/>
                  <a:pt x="149" y="385"/>
                  <a:pt x="149" y="385"/>
                </a:cubicBezTo>
                <a:cubicBezTo>
                  <a:pt x="151" y="383"/>
                  <a:pt x="155" y="380"/>
                  <a:pt x="161" y="382"/>
                </a:cubicBezTo>
                <a:cubicBezTo>
                  <a:pt x="170" y="383"/>
                  <a:pt x="171" y="393"/>
                  <a:pt x="175" y="392"/>
                </a:cubicBezTo>
                <a:cubicBezTo>
                  <a:pt x="179" y="391"/>
                  <a:pt x="182" y="386"/>
                  <a:pt x="182" y="386"/>
                </a:cubicBezTo>
                <a:cubicBezTo>
                  <a:pt x="182" y="377"/>
                  <a:pt x="182" y="377"/>
                  <a:pt x="182" y="377"/>
                </a:cubicBezTo>
                <a:cubicBezTo>
                  <a:pt x="195" y="378"/>
                  <a:pt x="195" y="378"/>
                  <a:pt x="195" y="378"/>
                </a:cubicBezTo>
                <a:cubicBezTo>
                  <a:pt x="195" y="378"/>
                  <a:pt x="205" y="389"/>
                  <a:pt x="212" y="389"/>
                </a:cubicBezTo>
                <a:cubicBezTo>
                  <a:pt x="218" y="389"/>
                  <a:pt x="224" y="387"/>
                  <a:pt x="224" y="387"/>
                </a:cubicBezTo>
                <a:cubicBezTo>
                  <a:pt x="233" y="379"/>
                  <a:pt x="233" y="379"/>
                  <a:pt x="233" y="379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267" y="373"/>
                  <a:pt x="267" y="373"/>
                  <a:pt x="267" y="373"/>
                </a:cubicBezTo>
                <a:cubicBezTo>
                  <a:pt x="280" y="378"/>
                  <a:pt x="280" y="378"/>
                  <a:pt x="280" y="378"/>
                </a:cubicBezTo>
                <a:cubicBezTo>
                  <a:pt x="280" y="378"/>
                  <a:pt x="288" y="392"/>
                  <a:pt x="290" y="385"/>
                </a:cubicBezTo>
                <a:cubicBezTo>
                  <a:pt x="291" y="379"/>
                  <a:pt x="290" y="369"/>
                  <a:pt x="290" y="369"/>
                </a:cubicBezTo>
                <a:cubicBezTo>
                  <a:pt x="290" y="360"/>
                  <a:pt x="290" y="360"/>
                  <a:pt x="290" y="360"/>
                </a:cubicBezTo>
                <a:cubicBezTo>
                  <a:pt x="282" y="358"/>
                  <a:pt x="282" y="358"/>
                  <a:pt x="282" y="358"/>
                </a:cubicBezTo>
                <a:cubicBezTo>
                  <a:pt x="282" y="358"/>
                  <a:pt x="287" y="345"/>
                  <a:pt x="291" y="344"/>
                </a:cubicBezTo>
                <a:cubicBezTo>
                  <a:pt x="296" y="343"/>
                  <a:pt x="309" y="346"/>
                  <a:pt x="309" y="346"/>
                </a:cubicBezTo>
                <a:cubicBezTo>
                  <a:pt x="309" y="335"/>
                  <a:pt x="309" y="335"/>
                  <a:pt x="309" y="335"/>
                </a:cubicBezTo>
                <a:cubicBezTo>
                  <a:pt x="305" y="328"/>
                  <a:pt x="305" y="328"/>
                  <a:pt x="305" y="328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24" y="316"/>
                  <a:pt x="324" y="316"/>
                  <a:pt x="324" y="316"/>
                </a:cubicBezTo>
                <a:cubicBezTo>
                  <a:pt x="324" y="316"/>
                  <a:pt x="323" y="309"/>
                  <a:pt x="317" y="305"/>
                </a:cubicBezTo>
                <a:cubicBezTo>
                  <a:pt x="312" y="302"/>
                  <a:pt x="307" y="304"/>
                  <a:pt x="307" y="304"/>
                </a:cubicBezTo>
                <a:cubicBezTo>
                  <a:pt x="301" y="295"/>
                  <a:pt x="301" y="295"/>
                  <a:pt x="301" y="295"/>
                </a:cubicBezTo>
                <a:cubicBezTo>
                  <a:pt x="297" y="295"/>
                  <a:pt x="297" y="295"/>
                  <a:pt x="297" y="295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7"/>
                  <a:pt x="288" y="285"/>
                  <a:pt x="281" y="285"/>
                </a:cubicBezTo>
                <a:cubicBezTo>
                  <a:pt x="273" y="284"/>
                  <a:pt x="279" y="279"/>
                  <a:pt x="279" y="279"/>
                </a:cubicBezTo>
                <a:cubicBezTo>
                  <a:pt x="273" y="277"/>
                  <a:pt x="273" y="277"/>
                  <a:pt x="273" y="277"/>
                </a:cubicBezTo>
                <a:cubicBezTo>
                  <a:pt x="271" y="271"/>
                  <a:pt x="271" y="271"/>
                  <a:pt x="271" y="271"/>
                </a:cubicBezTo>
                <a:cubicBezTo>
                  <a:pt x="271" y="271"/>
                  <a:pt x="263" y="265"/>
                  <a:pt x="262" y="263"/>
                </a:cubicBezTo>
                <a:cubicBezTo>
                  <a:pt x="261" y="261"/>
                  <a:pt x="269" y="257"/>
                  <a:pt x="269" y="257"/>
                </a:cubicBezTo>
                <a:cubicBezTo>
                  <a:pt x="263" y="248"/>
                  <a:pt x="263" y="248"/>
                  <a:pt x="263" y="248"/>
                </a:cubicBezTo>
                <a:cubicBezTo>
                  <a:pt x="257" y="247"/>
                  <a:pt x="257" y="247"/>
                  <a:pt x="257" y="247"/>
                </a:cubicBezTo>
                <a:cubicBezTo>
                  <a:pt x="257" y="247"/>
                  <a:pt x="252" y="238"/>
                  <a:pt x="255" y="235"/>
                </a:cubicBezTo>
                <a:cubicBezTo>
                  <a:pt x="259" y="233"/>
                  <a:pt x="259" y="239"/>
                  <a:pt x="263" y="239"/>
                </a:cubicBezTo>
                <a:cubicBezTo>
                  <a:pt x="267" y="238"/>
                  <a:pt x="266" y="233"/>
                  <a:pt x="266" y="233"/>
                </a:cubicBezTo>
                <a:cubicBezTo>
                  <a:pt x="273" y="233"/>
                  <a:pt x="273" y="233"/>
                  <a:pt x="273" y="233"/>
                </a:cubicBezTo>
                <a:cubicBezTo>
                  <a:pt x="273" y="233"/>
                  <a:pt x="275" y="225"/>
                  <a:pt x="283" y="227"/>
                </a:cubicBezTo>
                <a:cubicBezTo>
                  <a:pt x="292" y="229"/>
                  <a:pt x="290" y="233"/>
                  <a:pt x="290" y="233"/>
                </a:cubicBezTo>
                <a:cubicBezTo>
                  <a:pt x="297" y="224"/>
                  <a:pt x="297" y="224"/>
                  <a:pt x="297" y="224"/>
                </a:cubicBezTo>
                <a:cubicBezTo>
                  <a:pt x="308" y="221"/>
                  <a:pt x="308" y="221"/>
                  <a:pt x="308" y="221"/>
                </a:cubicBezTo>
                <a:cubicBezTo>
                  <a:pt x="310" y="217"/>
                  <a:pt x="310" y="217"/>
                  <a:pt x="310" y="217"/>
                </a:cubicBezTo>
                <a:cubicBezTo>
                  <a:pt x="310" y="217"/>
                  <a:pt x="321" y="217"/>
                  <a:pt x="324" y="216"/>
                </a:cubicBezTo>
                <a:cubicBezTo>
                  <a:pt x="327" y="215"/>
                  <a:pt x="325" y="210"/>
                  <a:pt x="325" y="210"/>
                </a:cubicBezTo>
                <a:cubicBezTo>
                  <a:pt x="325" y="210"/>
                  <a:pt x="336" y="211"/>
                  <a:pt x="339" y="208"/>
                </a:cubicBezTo>
                <a:cubicBezTo>
                  <a:pt x="341" y="205"/>
                  <a:pt x="346" y="199"/>
                  <a:pt x="348" y="198"/>
                </a:cubicBezTo>
                <a:cubicBezTo>
                  <a:pt x="350" y="197"/>
                  <a:pt x="355" y="209"/>
                  <a:pt x="360" y="208"/>
                </a:cubicBezTo>
                <a:cubicBezTo>
                  <a:pt x="365" y="207"/>
                  <a:pt x="371" y="195"/>
                  <a:pt x="372" y="191"/>
                </a:cubicBezTo>
                <a:cubicBezTo>
                  <a:pt x="373" y="188"/>
                  <a:pt x="367" y="187"/>
                  <a:pt x="367" y="187"/>
                </a:cubicBezTo>
                <a:cubicBezTo>
                  <a:pt x="367" y="187"/>
                  <a:pt x="371" y="182"/>
                  <a:pt x="369" y="177"/>
                </a:cubicBezTo>
                <a:cubicBezTo>
                  <a:pt x="368" y="171"/>
                  <a:pt x="360" y="177"/>
                  <a:pt x="360" y="177"/>
                </a:cubicBezTo>
                <a:cubicBezTo>
                  <a:pt x="361" y="165"/>
                  <a:pt x="361" y="165"/>
                  <a:pt x="361" y="165"/>
                </a:cubicBezTo>
                <a:cubicBezTo>
                  <a:pt x="361" y="165"/>
                  <a:pt x="352" y="163"/>
                  <a:pt x="351" y="157"/>
                </a:cubicBezTo>
                <a:cubicBezTo>
                  <a:pt x="351" y="152"/>
                  <a:pt x="360" y="146"/>
                  <a:pt x="360" y="146"/>
                </a:cubicBezTo>
                <a:cubicBezTo>
                  <a:pt x="360" y="146"/>
                  <a:pt x="357" y="144"/>
                  <a:pt x="355" y="143"/>
                </a:cubicBezTo>
                <a:cubicBezTo>
                  <a:pt x="353" y="143"/>
                  <a:pt x="356" y="136"/>
                  <a:pt x="356" y="136"/>
                </a:cubicBezTo>
                <a:cubicBezTo>
                  <a:pt x="356" y="136"/>
                  <a:pt x="351" y="135"/>
                  <a:pt x="350" y="132"/>
                </a:cubicBezTo>
                <a:cubicBezTo>
                  <a:pt x="349" y="129"/>
                  <a:pt x="355" y="126"/>
                  <a:pt x="355" y="126"/>
                </a:cubicBezTo>
                <a:cubicBezTo>
                  <a:pt x="355" y="126"/>
                  <a:pt x="355" y="120"/>
                  <a:pt x="352" y="115"/>
                </a:cubicBezTo>
                <a:cubicBezTo>
                  <a:pt x="349" y="111"/>
                  <a:pt x="345" y="115"/>
                  <a:pt x="345" y="115"/>
                </a:cubicBezTo>
                <a:cubicBezTo>
                  <a:pt x="341" y="109"/>
                  <a:pt x="341" y="109"/>
                  <a:pt x="341" y="109"/>
                </a:cubicBezTo>
                <a:cubicBezTo>
                  <a:pt x="341" y="109"/>
                  <a:pt x="337" y="113"/>
                  <a:pt x="334" y="106"/>
                </a:cubicBezTo>
                <a:cubicBezTo>
                  <a:pt x="331" y="99"/>
                  <a:pt x="337" y="98"/>
                  <a:pt x="343" y="93"/>
                </a:cubicBezTo>
                <a:cubicBezTo>
                  <a:pt x="349" y="89"/>
                  <a:pt x="347" y="87"/>
                  <a:pt x="345" y="79"/>
                </a:cubicBezTo>
                <a:cubicBezTo>
                  <a:pt x="342" y="70"/>
                  <a:pt x="337" y="78"/>
                  <a:pt x="339" y="72"/>
                </a:cubicBezTo>
                <a:cubicBezTo>
                  <a:pt x="340" y="69"/>
                  <a:pt x="339" y="65"/>
                  <a:pt x="338" y="62"/>
                </a:cubicBezTo>
                <a:cubicBezTo>
                  <a:pt x="334" y="60"/>
                  <a:pt x="334" y="60"/>
                  <a:pt x="334" y="60"/>
                </a:cubicBezTo>
                <a:cubicBezTo>
                  <a:pt x="321" y="55"/>
                  <a:pt x="321" y="55"/>
                  <a:pt x="321" y="55"/>
                </a:cubicBezTo>
                <a:cubicBezTo>
                  <a:pt x="321" y="55"/>
                  <a:pt x="323" y="50"/>
                  <a:pt x="318" y="44"/>
                </a:cubicBezTo>
                <a:cubicBezTo>
                  <a:pt x="313" y="38"/>
                  <a:pt x="301" y="41"/>
                  <a:pt x="301" y="41"/>
                </a:cubicBezTo>
                <a:cubicBezTo>
                  <a:pt x="296" y="35"/>
                  <a:pt x="296" y="35"/>
                  <a:pt x="296" y="35"/>
                </a:cubicBezTo>
                <a:cubicBezTo>
                  <a:pt x="296" y="35"/>
                  <a:pt x="270" y="23"/>
                  <a:pt x="265" y="26"/>
                </a:cubicBezTo>
                <a:cubicBezTo>
                  <a:pt x="260" y="29"/>
                  <a:pt x="253" y="36"/>
                  <a:pt x="253" y="36"/>
                </a:cubicBezTo>
                <a:cubicBezTo>
                  <a:pt x="226" y="35"/>
                  <a:pt x="226" y="35"/>
                  <a:pt x="226" y="35"/>
                </a:cubicBezTo>
                <a:cubicBezTo>
                  <a:pt x="226" y="47"/>
                  <a:pt x="226" y="47"/>
                  <a:pt x="226" y="47"/>
                </a:cubicBezTo>
                <a:cubicBezTo>
                  <a:pt x="200" y="46"/>
                  <a:pt x="200" y="46"/>
                  <a:pt x="200" y="46"/>
                </a:cubicBezTo>
                <a:cubicBezTo>
                  <a:pt x="200" y="46"/>
                  <a:pt x="198" y="38"/>
                  <a:pt x="202" y="35"/>
                </a:cubicBezTo>
                <a:cubicBezTo>
                  <a:pt x="206" y="32"/>
                  <a:pt x="209" y="20"/>
                  <a:pt x="209" y="20"/>
                </a:cubicBezTo>
                <a:cubicBezTo>
                  <a:pt x="196" y="27"/>
                  <a:pt x="196" y="27"/>
                  <a:pt x="196" y="27"/>
                </a:cubicBezTo>
                <a:cubicBezTo>
                  <a:pt x="168" y="22"/>
                  <a:pt x="168" y="22"/>
                  <a:pt x="168" y="22"/>
                </a:cubicBezTo>
                <a:cubicBezTo>
                  <a:pt x="168" y="22"/>
                  <a:pt x="160" y="14"/>
                  <a:pt x="156" y="4"/>
                </a:cubicBezTo>
                <a:cubicBezTo>
                  <a:pt x="154" y="5"/>
                  <a:pt x="153" y="6"/>
                  <a:pt x="153" y="6"/>
                </a:cubicBezTo>
                <a:cubicBezTo>
                  <a:pt x="153" y="6"/>
                  <a:pt x="152" y="2"/>
                  <a:pt x="145" y="3"/>
                </a:cubicBezTo>
                <a:cubicBezTo>
                  <a:pt x="137" y="3"/>
                  <a:pt x="135" y="5"/>
                  <a:pt x="135" y="5"/>
                </a:cubicBezTo>
                <a:cubicBezTo>
                  <a:pt x="135" y="5"/>
                  <a:pt x="127" y="0"/>
                  <a:pt x="123" y="0"/>
                </a:cubicBezTo>
                <a:cubicBezTo>
                  <a:pt x="119" y="0"/>
                  <a:pt x="112" y="0"/>
                  <a:pt x="112" y="0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42" y="58"/>
                  <a:pt x="142" y="58"/>
                  <a:pt x="142" y="58"/>
                </a:cubicBezTo>
                <a:cubicBezTo>
                  <a:pt x="123" y="51"/>
                  <a:pt x="123" y="51"/>
                  <a:pt x="123" y="51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105" y="55"/>
                  <a:pt x="110" y="70"/>
                  <a:pt x="104" y="72"/>
                </a:cubicBezTo>
                <a:cubicBezTo>
                  <a:pt x="98" y="74"/>
                  <a:pt x="88" y="72"/>
                  <a:pt x="88" y="72"/>
                </a:cubicBezTo>
                <a:cubicBezTo>
                  <a:pt x="82" y="62"/>
                  <a:pt x="82" y="62"/>
                  <a:pt x="82" y="62"/>
                </a:cubicBezTo>
                <a:cubicBezTo>
                  <a:pt x="82" y="62"/>
                  <a:pt x="55" y="59"/>
                  <a:pt x="54" y="64"/>
                </a:cubicBezTo>
                <a:cubicBezTo>
                  <a:pt x="53" y="69"/>
                  <a:pt x="53" y="82"/>
                  <a:pt x="53" y="82"/>
                </a:cubicBezTo>
                <a:cubicBezTo>
                  <a:pt x="57" y="85"/>
                  <a:pt x="57" y="85"/>
                  <a:pt x="57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5"/>
                  <a:pt x="59" y="95"/>
                  <a:pt x="59" y="95"/>
                </a:cubicBezTo>
                <a:cubicBezTo>
                  <a:pt x="59" y="95"/>
                  <a:pt x="48" y="99"/>
                  <a:pt x="47" y="103"/>
                </a:cubicBezTo>
                <a:cubicBezTo>
                  <a:pt x="45" y="107"/>
                  <a:pt x="49" y="115"/>
                  <a:pt x="49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29" y="119"/>
                  <a:pt x="30" y="122"/>
                </a:cubicBezTo>
                <a:cubicBezTo>
                  <a:pt x="31" y="125"/>
                  <a:pt x="45" y="130"/>
                  <a:pt x="45" y="134"/>
                </a:cubicBezTo>
                <a:cubicBezTo>
                  <a:pt x="45" y="138"/>
                  <a:pt x="37" y="142"/>
                  <a:pt x="37" y="142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29" y="152"/>
                  <a:pt x="29" y="152"/>
                  <a:pt x="29" y="152"/>
                </a:cubicBezTo>
                <a:cubicBezTo>
                  <a:pt x="29" y="152"/>
                  <a:pt x="27" y="157"/>
                  <a:pt x="25" y="160"/>
                </a:cubicBezTo>
                <a:cubicBezTo>
                  <a:pt x="23" y="163"/>
                  <a:pt x="1" y="155"/>
                  <a:pt x="1" y="155"/>
                </a:cubicBezTo>
                <a:cubicBezTo>
                  <a:pt x="7" y="170"/>
                  <a:pt x="7" y="170"/>
                  <a:pt x="7" y="170"/>
                </a:cubicBezTo>
                <a:cubicBezTo>
                  <a:pt x="7" y="170"/>
                  <a:pt x="12" y="178"/>
                  <a:pt x="11" y="181"/>
                </a:cubicBezTo>
                <a:cubicBezTo>
                  <a:pt x="11" y="185"/>
                  <a:pt x="0" y="191"/>
                  <a:pt x="0" y="191"/>
                </a:cubicBezTo>
                <a:cubicBezTo>
                  <a:pt x="0" y="191"/>
                  <a:pt x="5" y="197"/>
                  <a:pt x="4" y="199"/>
                </a:cubicBezTo>
                <a:cubicBezTo>
                  <a:pt x="3" y="201"/>
                  <a:pt x="0" y="215"/>
                  <a:pt x="0" y="215"/>
                </a:cubicBezTo>
                <a:cubicBezTo>
                  <a:pt x="5" y="216"/>
                  <a:pt x="5" y="216"/>
                  <a:pt x="5" y="216"/>
                </a:cubicBezTo>
                <a:cubicBezTo>
                  <a:pt x="5" y="216"/>
                  <a:pt x="14" y="219"/>
                  <a:pt x="15" y="225"/>
                </a:cubicBezTo>
                <a:cubicBezTo>
                  <a:pt x="15" y="231"/>
                  <a:pt x="18" y="238"/>
                  <a:pt x="18" y="238"/>
                </a:cubicBezTo>
                <a:cubicBezTo>
                  <a:pt x="9" y="239"/>
                  <a:pt x="9" y="239"/>
                  <a:pt x="9" y="239"/>
                </a:cubicBezTo>
                <a:cubicBezTo>
                  <a:pt x="9" y="239"/>
                  <a:pt x="4" y="247"/>
                  <a:pt x="7" y="253"/>
                </a:cubicBezTo>
                <a:cubicBezTo>
                  <a:pt x="11" y="259"/>
                  <a:pt x="21" y="261"/>
                  <a:pt x="22" y="265"/>
                </a:cubicBezTo>
                <a:cubicBezTo>
                  <a:pt x="23" y="270"/>
                  <a:pt x="17" y="274"/>
                  <a:pt x="17" y="274"/>
                </a:cubicBezTo>
                <a:close/>
              </a:path>
            </a:pathLst>
          </a:custGeom>
          <a:solidFill>
            <a:srgbClr val="CCE0EE"/>
          </a:solidFill>
          <a:ln w="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937" name="Group 82">
            <a:extLst>
              <a:ext uri="{FF2B5EF4-FFF2-40B4-BE49-F238E27FC236}">
                <a16:creationId xmlns:a16="http://schemas.microsoft.com/office/drawing/2014/main" id="{7523997E-BB2A-CAFC-CDE2-D7EB479A977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281927" y="1111487"/>
            <a:ext cx="9631970" cy="5249813"/>
            <a:chOff x="5439729" y="1126149"/>
            <a:chExt cx="4911391" cy="2758480"/>
          </a:xfrm>
          <a:solidFill>
            <a:schemeClr val="accent1"/>
          </a:solidFill>
          <a:effectLst/>
        </p:grpSpPr>
        <p:sp>
          <p:nvSpPr>
            <p:cNvPr id="93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BF11A887-4A93-27AA-F4C7-98DFAB5154D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50253" y="3224722"/>
              <a:ext cx="329909" cy="22529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39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D40F2067-7BDE-61C3-17AB-27E959C6A33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38661"/>
              <a:ext cx="19510" cy="42575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0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A201948-232A-16E2-7480-B5B5732A38A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39367" y="2268566"/>
              <a:ext cx="532111" cy="299797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C576F2C2-5359-30DA-85C1-8C11261E013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07323" y="3066839"/>
              <a:ext cx="273150" cy="535730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2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64848062-ECE5-663B-0E42-DC3CF38C0A1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31962" y="1741706"/>
              <a:ext cx="258961" cy="370754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3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E478DDB2-D6DD-47F8-60CB-FB0E6D5C021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16310" y="2953309"/>
              <a:ext cx="150764" cy="143690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4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5C63C209-4E77-6656-96FA-B2B1ED8DC25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60282" y="2027310"/>
              <a:ext cx="501958" cy="282057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5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41A2C2B-E04E-5EFB-B500-7F911714483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57777" y="2366134"/>
              <a:ext cx="454069" cy="271413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9FB04992-B9EF-6F73-5B5B-244829AFCD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63157" y="2387421"/>
              <a:ext cx="597738" cy="227063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7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A3A18B6-0FFA-9C90-2252-0B56C944EC3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776069" y="3175051"/>
              <a:ext cx="278472" cy="533956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ACCFB22-A65D-B2DA-A777-26ACE23E787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17167" y="2429996"/>
              <a:ext cx="248319" cy="15788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9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84BEF11B-7FD9-695F-6E6D-093F6E6A5B3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55399" y="2997656"/>
              <a:ext cx="53210" cy="120628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0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C877CC80-173F-CE45-E050-59C6F726864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559493"/>
              <a:ext cx="202203" cy="186264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15D0B1F-9931-47A2-4B5C-A227FF77964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04440" y="2185192"/>
              <a:ext cx="129479" cy="709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2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9913EADF-6EAD-AD5A-5D65-70EEF37F5D4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51657" y="1477388"/>
              <a:ext cx="312172" cy="445261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ED5D994D-6C99-F58B-B68B-21C637F1478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242183" y="3567092"/>
              <a:ext cx="76269" cy="136594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7CDF345-2AA4-8A53-3147-DD73EC2B52D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5692" y="2330655"/>
              <a:ext cx="393764" cy="276735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592C717E-849F-9E97-CF32-6160433A32F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11963" y="2215347"/>
              <a:ext cx="94006" cy="54992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9B3B2B1-CAAB-FC7E-D948-04E40197885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07743" y="2124877"/>
              <a:ext cx="161406" cy="65636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355C2E-0A0D-23F5-1C14-6F1A53F3D63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2423" y="2749305"/>
              <a:ext cx="666913" cy="57298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8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9BAF0904-468E-AD58-7733-7C3E4E89D4A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932526" y="1791377"/>
              <a:ext cx="136575" cy="53927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9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195C418E-DB4E-4945-D2E0-C076C12F780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82239" y="1126149"/>
              <a:ext cx="4068881" cy="129497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0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FA63387-9421-C75C-EAA0-7E2903B0525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2171001"/>
              <a:ext cx="276698" cy="164977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1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6BCA3AA5-96E2-647C-886E-96CF226F4B1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93251" y="2963952"/>
              <a:ext cx="30153" cy="63862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6D50CF00-CCC6-858F-38B9-40D5A9F8DF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39729" y="2390969"/>
              <a:ext cx="102875" cy="18449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BB10E97-A25E-D8BC-63AC-1E2B7785C52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31475" y="1942161"/>
              <a:ext cx="280246" cy="202229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9F29428-5CBC-6790-9A83-B3F1A5D7606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39435" y="3235365"/>
              <a:ext cx="321039" cy="541052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BC2026-1334-48AF-7248-5FAD3DBA7DF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85913" y="2573685"/>
              <a:ext cx="471805" cy="47364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6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78181C7-8C85-636E-D5C5-1638F4BE2CD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21270" y="3288583"/>
              <a:ext cx="42570" cy="283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7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92A8312B-E6C6-3ADB-E304-5D153FB08BA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342915" y="3006526"/>
              <a:ext cx="242997" cy="30334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8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5A9AC6BC-F0BB-0096-0FF6-B1D0BF70A82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3797" y="1159853"/>
              <a:ext cx="611928" cy="672324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9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D4177C71-88BC-2F60-27F5-1658B1F537A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22850" y="1990058"/>
              <a:ext cx="122385" cy="94019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B9FA46D6-C697-3A47-3239-6B889BE5DB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80104" y="2809619"/>
              <a:ext cx="264281" cy="14901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7FDB1C5-970B-9842-3CF6-63E1D38D7CF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595151" y="2880576"/>
              <a:ext cx="285567" cy="674098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F62EDE3F-5C16-B65C-E7C2-6BE1C2F6DE8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0953" y="2335976"/>
              <a:ext cx="51437" cy="6031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16056109-38BC-F2B8-4718-2B5E694DF4B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196068" y="2035134"/>
              <a:ext cx="943611" cy="374302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11E5807B-43A7-53C1-42FD-AC1DE98235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487988" y="2163905"/>
              <a:ext cx="97553" cy="106437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405710E-C1F2-FF3F-6574-BA8CF127E3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42117" y="2602067"/>
              <a:ext cx="14191" cy="12418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9B8EE7C-FC8C-0D11-96E0-F806DC7219E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93133" y="3669981"/>
              <a:ext cx="138349" cy="196908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7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DCFC59E-9392-D2AA-014C-D8E6EFAD24D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215948" y="3646920"/>
              <a:ext cx="308625" cy="237709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1A6B3FE-1ED4-EDC5-C0DD-CC265886E8D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2378551"/>
              <a:ext cx="74496" cy="56766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9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BA281847-1134-C578-7A2E-C9BE04C16DB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97344" y="2105365"/>
              <a:ext cx="23058" cy="19514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0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F2B73B6-DC94-5FAE-EA9E-08E9CCCE9FB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12392" y="1885395"/>
              <a:ext cx="152538" cy="8869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50543D90-FCD3-E42E-3E61-F6B88EE927F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98446" y="2202930"/>
              <a:ext cx="7095" cy="1064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122AB012-A903-3B63-8F0D-64348A8860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73556" y="2658834"/>
              <a:ext cx="47890" cy="709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12574FD2-C946-E177-18CB-C21ED778AA1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08844" y="1830402"/>
              <a:ext cx="191560" cy="81601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4DF3AB96-590A-7305-B395-F181D934ABF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848792" y="3098771"/>
              <a:ext cx="269603" cy="31221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3CAFC06-4520-8028-7B82-A0B2383710E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768604" y="2351942"/>
              <a:ext cx="301530" cy="1401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CF6E9437-ABA4-FB53-6B15-AA3E87D0DE9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146034" y="2825584"/>
              <a:ext cx="62079" cy="54992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8178AF6B-2941-81F4-7FC7-6C75CD415F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494421" y="2518693"/>
              <a:ext cx="122385" cy="19158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F5B09741-20DB-F9FB-3A44-A6A0AA22AA3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391546" y="2360812"/>
              <a:ext cx="147218" cy="188038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E46358C-4A27-C977-3F72-11B536C2EE5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1922648"/>
              <a:ext cx="1131624" cy="523314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E44931A-CFC1-BE74-16C6-3E399704CC0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87745" y="2708504"/>
              <a:ext cx="125933" cy="150786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1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5C79A23-93C1-449E-B2EE-FE19B063B75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9563593" y="2268566"/>
              <a:ext cx="393764" cy="76811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190532E2-019C-11C5-FBF1-67097B7B567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18630" y="2210026"/>
              <a:ext cx="349420" cy="374302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41DAF8C2-3DB7-415B-11D5-7B1AE71E21D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761140" y="2703183"/>
              <a:ext cx="46117" cy="143690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4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C5C525F-F993-2DB5-F998-85D40FBAA64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459239" y="1926196"/>
              <a:ext cx="125933" cy="133046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31E3F6C4-794F-61B2-77D6-C2205CBA8B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92393" y="2563041"/>
              <a:ext cx="308625" cy="296249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8765BEE-AF58-779D-FC66-C0861D6AF1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23647" y="2472570"/>
              <a:ext cx="647402" cy="53040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7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B0ACAE04-445C-4A5F-50A9-D46E77D2EE8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843099" y="2609163"/>
              <a:ext cx="877984" cy="1060817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8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7080D1AA-0702-A329-D7E8-25470AE0586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93552" y="2160356"/>
              <a:ext cx="191560" cy="99341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9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C8D82F4E-6584-4C16-BD7D-93413166E9F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3035" y="2401612"/>
              <a:ext cx="239450" cy="248353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C4E2D07-2740-E285-112F-1CA6BB64A60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887072" y="2335976"/>
              <a:ext cx="207523" cy="94019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1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0907CBF7-8E81-0C01-166B-7730B35059D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595815" y="2066337"/>
              <a:ext cx="409726" cy="353014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2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10BC829-3B15-D310-3440-50C7DBB0E2E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68048" y="1447232"/>
              <a:ext cx="283793" cy="32285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3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B9EA9343-C97E-8828-6EE6-414450909CD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24807" y="1780733"/>
              <a:ext cx="156086" cy="69184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4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43B9BCF2-1997-D62E-A40E-9AB89829C90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966519" y="1846368"/>
              <a:ext cx="124159" cy="106437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9B2F863-6CAD-55FD-C02E-BFF26332CF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76489" y="2073433"/>
              <a:ext cx="189786" cy="86923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5D7509-D073-FCD3-8B63-D30FE030DDB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686643" y="2623355"/>
              <a:ext cx="67401" cy="39028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7DCE06DF-DB9E-B291-B9B5-4302DDA1A0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22606" y="2233088"/>
              <a:ext cx="164954" cy="12417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8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C9F4902A-E049-2C1F-011A-47813838EEC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903406" y="1982963"/>
              <a:ext cx="1645999" cy="1270142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9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16CDDF51-307B-A699-B66E-86BFF71094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953439" y="3387924"/>
              <a:ext cx="170276" cy="150786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33C9A668-7C0F-B2B9-9AE4-BD919213FEB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8019" y="2316463"/>
              <a:ext cx="177370" cy="101116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F8992670-D8AC-DF31-82CE-22D39ECE7C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177590" y="2275662"/>
              <a:ext cx="118839" cy="106437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2A210609-B440-745D-4B33-CCF6269846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60349" y="2887674"/>
              <a:ext cx="104648" cy="60314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3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32B0FB98-E9E2-3D4C-826C-C09C30C334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817528" y="2059241"/>
              <a:ext cx="101100" cy="69184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4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8FA08EA2-1560-67D1-0843-1B4B9D00E4F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8446159" y="2953309"/>
              <a:ext cx="168501" cy="191586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5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A07E99B4-1516-53E4-B8AF-24EF6660B84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379793" y="1896039"/>
              <a:ext cx="255413" cy="166751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6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8661F4BA-C1E6-1824-30E9-433023FA200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279061" y="2955083"/>
              <a:ext cx="12416" cy="2483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7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54E0CBB8-5135-85F3-F5A7-355759E9666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44933" y="2396290"/>
              <a:ext cx="163181" cy="13127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8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D90AB903-ED15-B253-5618-D34209E846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005540" y="2144390"/>
              <a:ext cx="205750" cy="90471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9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873BCD2B-AD80-9058-45BD-805EE666359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000590" y="2415803"/>
              <a:ext cx="99328" cy="95792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20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745733C4-1E23-4AFB-FD15-2CA1D4E6FB4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5767864" y="2371456"/>
              <a:ext cx="14191" cy="709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21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ABF0B259-E9A9-A40B-AE86-AC4CFE2B9F1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6278691" y="2371456"/>
              <a:ext cx="65626" cy="10998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22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FA22339-FEF5-62A7-A8A6-1B394DA8DE0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gray">
            <a:xfrm>
              <a:off x="7545117" y="2518693"/>
              <a:ext cx="407952" cy="331728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spcBef>
                  <a:spcPct val="0"/>
                </a:spcBef>
              </a:pPr>
              <a:endParaRPr lang="de-DE" sz="2133" dirty="0"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1023" name="Group 340">
              <a:extLst>
                <a:ext uri="{FF2B5EF4-FFF2-40B4-BE49-F238E27FC236}">
                  <a16:creationId xmlns:a16="http://schemas.microsoft.com/office/drawing/2014/main" id="{F0FC103F-42FA-5CA2-FE1E-DD89BD227A37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 bwMode="auto">
            <a:xfrm>
              <a:off x="6268048" y="2245510"/>
              <a:ext cx="124159" cy="152559"/>
              <a:chOff x="2184" y="1242"/>
              <a:chExt cx="257" cy="316"/>
            </a:xfrm>
            <a:grpFill/>
          </p:grpSpPr>
          <p:sp>
            <p:nvSpPr>
              <p:cNvPr id="110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2846B29-0997-6A24-7217-AA0C741C8E8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10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B1DD0DA-9FCE-98CC-DE73-D71F2020D4A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1024" name="Gruppieren 70">
              <a:extLst>
                <a:ext uri="{FF2B5EF4-FFF2-40B4-BE49-F238E27FC236}">
                  <a16:creationId xmlns:a16="http://schemas.microsoft.com/office/drawing/2014/main" id="{6D4124D2-CC47-1161-3FD8-A05391E7A556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913034" y="1944270"/>
              <a:ext cx="196076" cy="202747"/>
              <a:chOff x="4318001" y="1228725"/>
              <a:chExt cx="2952752" cy="3989388"/>
            </a:xfrm>
            <a:grpFill/>
            <a:effectLst/>
          </p:grpSpPr>
          <p:sp>
            <p:nvSpPr>
              <p:cNvPr id="1091" name="Freeform 45">
                <a:extLst>
                  <a:ext uri="{FF2B5EF4-FFF2-40B4-BE49-F238E27FC236}">
                    <a16:creationId xmlns:a16="http://schemas.microsoft.com/office/drawing/2014/main" id="{2B2CF3D7-9528-A58D-785F-B17A77081CC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4318001" y="4873625"/>
                <a:ext cx="457200" cy="344488"/>
              </a:xfrm>
              <a:custGeom>
                <a:avLst/>
                <a:gdLst>
                  <a:gd name="T0" fmla="*/ 260 w 288"/>
                  <a:gd name="T1" fmla="*/ 164 h 217"/>
                  <a:gd name="T2" fmla="*/ 279 w 288"/>
                  <a:gd name="T3" fmla="*/ 148 h 217"/>
                  <a:gd name="T4" fmla="*/ 282 w 288"/>
                  <a:gd name="T5" fmla="*/ 137 h 217"/>
                  <a:gd name="T6" fmla="*/ 288 w 288"/>
                  <a:gd name="T7" fmla="*/ 127 h 217"/>
                  <a:gd name="T8" fmla="*/ 288 w 288"/>
                  <a:gd name="T9" fmla="*/ 116 h 217"/>
                  <a:gd name="T10" fmla="*/ 264 w 288"/>
                  <a:gd name="T11" fmla="*/ 108 h 217"/>
                  <a:gd name="T12" fmla="*/ 260 w 288"/>
                  <a:gd name="T13" fmla="*/ 95 h 217"/>
                  <a:gd name="T14" fmla="*/ 245 w 288"/>
                  <a:gd name="T15" fmla="*/ 82 h 217"/>
                  <a:gd name="T16" fmla="*/ 260 w 288"/>
                  <a:gd name="T17" fmla="*/ 67 h 217"/>
                  <a:gd name="T18" fmla="*/ 258 w 288"/>
                  <a:gd name="T19" fmla="*/ 50 h 217"/>
                  <a:gd name="T20" fmla="*/ 252 w 288"/>
                  <a:gd name="T21" fmla="*/ 24 h 217"/>
                  <a:gd name="T22" fmla="*/ 237 w 288"/>
                  <a:gd name="T23" fmla="*/ 27 h 217"/>
                  <a:gd name="T24" fmla="*/ 229 w 288"/>
                  <a:gd name="T25" fmla="*/ 19 h 217"/>
                  <a:gd name="T26" fmla="*/ 207 w 288"/>
                  <a:gd name="T27" fmla="*/ 14 h 217"/>
                  <a:gd name="T28" fmla="*/ 195 w 288"/>
                  <a:gd name="T29" fmla="*/ 0 h 217"/>
                  <a:gd name="T30" fmla="*/ 165 w 288"/>
                  <a:gd name="T31" fmla="*/ 0 h 217"/>
                  <a:gd name="T32" fmla="*/ 136 w 288"/>
                  <a:gd name="T33" fmla="*/ 16 h 217"/>
                  <a:gd name="T34" fmla="*/ 101 w 288"/>
                  <a:gd name="T35" fmla="*/ 34 h 217"/>
                  <a:gd name="T36" fmla="*/ 69 w 288"/>
                  <a:gd name="T37" fmla="*/ 50 h 217"/>
                  <a:gd name="T38" fmla="*/ 43 w 288"/>
                  <a:gd name="T39" fmla="*/ 39 h 217"/>
                  <a:gd name="T40" fmla="*/ 1 w 288"/>
                  <a:gd name="T41" fmla="*/ 39 h 217"/>
                  <a:gd name="T42" fmla="*/ 0 w 288"/>
                  <a:gd name="T43" fmla="*/ 67 h 217"/>
                  <a:gd name="T44" fmla="*/ 22 w 288"/>
                  <a:gd name="T45" fmla="*/ 67 h 217"/>
                  <a:gd name="T46" fmla="*/ 56 w 288"/>
                  <a:gd name="T47" fmla="*/ 98 h 217"/>
                  <a:gd name="T48" fmla="*/ 67 w 288"/>
                  <a:gd name="T49" fmla="*/ 128 h 217"/>
                  <a:gd name="T50" fmla="*/ 81 w 288"/>
                  <a:gd name="T51" fmla="*/ 148 h 217"/>
                  <a:gd name="T52" fmla="*/ 96 w 288"/>
                  <a:gd name="T53" fmla="*/ 193 h 217"/>
                  <a:gd name="T54" fmla="*/ 110 w 288"/>
                  <a:gd name="T55" fmla="*/ 193 h 217"/>
                  <a:gd name="T56" fmla="*/ 131 w 288"/>
                  <a:gd name="T57" fmla="*/ 201 h 217"/>
                  <a:gd name="T58" fmla="*/ 131 w 288"/>
                  <a:gd name="T59" fmla="*/ 175 h 217"/>
                  <a:gd name="T60" fmla="*/ 162 w 288"/>
                  <a:gd name="T61" fmla="*/ 175 h 217"/>
                  <a:gd name="T62" fmla="*/ 181 w 288"/>
                  <a:gd name="T63" fmla="*/ 185 h 217"/>
                  <a:gd name="T64" fmla="*/ 187 w 288"/>
                  <a:gd name="T65" fmla="*/ 212 h 217"/>
                  <a:gd name="T66" fmla="*/ 205 w 288"/>
                  <a:gd name="T67" fmla="*/ 201 h 217"/>
                  <a:gd name="T68" fmla="*/ 218 w 288"/>
                  <a:gd name="T69" fmla="*/ 217 h 217"/>
                  <a:gd name="T70" fmla="*/ 253 w 288"/>
                  <a:gd name="T71" fmla="*/ 217 h 217"/>
                  <a:gd name="T72" fmla="*/ 272 w 288"/>
                  <a:gd name="T73" fmla="*/ 194 h 217"/>
                  <a:gd name="T74" fmla="*/ 260 w 288"/>
                  <a:gd name="T75" fmla="*/ 181 h 217"/>
                  <a:gd name="T76" fmla="*/ 260 w 288"/>
                  <a:gd name="T77" fmla="*/ 16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217">
                    <a:moveTo>
                      <a:pt x="260" y="164"/>
                    </a:moveTo>
                    <a:lnTo>
                      <a:pt x="279" y="148"/>
                    </a:lnTo>
                    <a:lnTo>
                      <a:pt x="282" y="137"/>
                    </a:lnTo>
                    <a:lnTo>
                      <a:pt x="288" y="127"/>
                    </a:lnTo>
                    <a:lnTo>
                      <a:pt x="288" y="116"/>
                    </a:lnTo>
                    <a:lnTo>
                      <a:pt x="264" y="108"/>
                    </a:lnTo>
                    <a:lnTo>
                      <a:pt x="260" y="95"/>
                    </a:lnTo>
                    <a:lnTo>
                      <a:pt x="245" y="82"/>
                    </a:lnTo>
                    <a:lnTo>
                      <a:pt x="260" y="67"/>
                    </a:lnTo>
                    <a:lnTo>
                      <a:pt x="258" y="50"/>
                    </a:lnTo>
                    <a:lnTo>
                      <a:pt x="252" y="24"/>
                    </a:lnTo>
                    <a:lnTo>
                      <a:pt x="237" y="27"/>
                    </a:lnTo>
                    <a:lnTo>
                      <a:pt x="229" y="19"/>
                    </a:lnTo>
                    <a:lnTo>
                      <a:pt x="207" y="14"/>
                    </a:lnTo>
                    <a:lnTo>
                      <a:pt x="195" y="0"/>
                    </a:lnTo>
                    <a:lnTo>
                      <a:pt x="165" y="0"/>
                    </a:lnTo>
                    <a:lnTo>
                      <a:pt x="136" y="16"/>
                    </a:lnTo>
                    <a:lnTo>
                      <a:pt x="101" y="34"/>
                    </a:lnTo>
                    <a:lnTo>
                      <a:pt x="69" y="50"/>
                    </a:lnTo>
                    <a:lnTo>
                      <a:pt x="43" y="39"/>
                    </a:lnTo>
                    <a:lnTo>
                      <a:pt x="1" y="39"/>
                    </a:lnTo>
                    <a:lnTo>
                      <a:pt x="0" y="67"/>
                    </a:lnTo>
                    <a:lnTo>
                      <a:pt x="22" y="67"/>
                    </a:lnTo>
                    <a:lnTo>
                      <a:pt x="56" y="98"/>
                    </a:lnTo>
                    <a:lnTo>
                      <a:pt x="67" y="128"/>
                    </a:lnTo>
                    <a:lnTo>
                      <a:pt x="81" y="148"/>
                    </a:lnTo>
                    <a:lnTo>
                      <a:pt x="96" y="193"/>
                    </a:lnTo>
                    <a:lnTo>
                      <a:pt x="110" y="193"/>
                    </a:lnTo>
                    <a:lnTo>
                      <a:pt x="131" y="201"/>
                    </a:lnTo>
                    <a:lnTo>
                      <a:pt x="131" y="175"/>
                    </a:lnTo>
                    <a:lnTo>
                      <a:pt x="162" y="175"/>
                    </a:lnTo>
                    <a:lnTo>
                      <a:pt x="181" y="185"/>
                    </a:lnTo>
                    <a:lnTo>
                      <a:pt x="187" y="212"/>
                    </a:lnTo>
                    <a:lnTo>
                      <a:pt x="205" y="201"/>
                    </a:lnTo>
                    <a:lnTo>
                      <a:pt x="218" y="217"/>
                    </a:lnTo>
                    <a:lnTo>
                      <a:pt x="253" y="217"/>
                    </a:lnTo>
                    <a:lnTo>
                      <a:pt x="272" y="194"/>
                    </a:lnTo>
                    <a:lnTo>
                      <a:pt x="260" y="181"/>
                    </a:lnTo>
                    <a:lnTo>
                      <a:pt x="260" y="1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grpSp>
            <p:nvGrpSpPr>
              <p:cNvPr id="1092" name="Group 210">
                <a:extLst>
                  <a:ext uri="{FF2B5EF4-FFF2-40B4-BE49-F238E27FC236}">
                    <a16:creationId xmlns:a16="http://schemas.microsoft.com/office/drawing/2014/main" id="{E1887A44-B11C-2B99-E790-5C76D880BF8D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149851" y="1228725"/>
                <a:ext cx="1317625" cy="265113"/>
                <a:chOff x="5149851" y="1228725"/>
                <a:chExt cx="1317625" cy="265113"/>
              </a:xfrm>
              <a:grpFill/>
            </p:grpSpPr>
            <p:sp>
              <p:nvSpPr>
                <p:cNvPr id="1101" name="Freeform 53">
                  <a:extLst>
                    <a:ext uri="{FF2B5EF4-FFF2-40B4-BE49-F238E27FC236}">
                      <a16:creationId xmlns:a16="http://schemas.microsoft.com/office/drawing/2014/main" id="{2112B6E0-5E06-1C61-CCA7-3806E05A3FD6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86376" y="1379538"/>
                  <a:ext cx="44450" cy="50800"/>
                </a:xfrm>
                <a:custGeom>
                  <a:avLst/>
                  <a:gdLst>
                    <a:gd name="T0" fmla="*/ 1 w 28"/>
                    <a:gd name="T1" fmla="*/ 26 h 32"/>
                    <a:gd name="T2" fmla="*/ 8 w 28"/>
                    <a:gd name="T3" fmla="*/ 32 h 32"/>
                    <a:gd name="T4" fmla="*/ 28 w 28"/>
                    <a:gd name="T5" fmla="*/ 24 h 32"/>
                    <a:gd name="T6" fmla="*/ 28 w 28"/>
                    <a:gd name="T7" fmla="*/ 0 h 32"/>
                    <a:gd name="T8" fmla="*/ 8 w 28"/>
                    <a:gd name="T9" fmla="*/ 5 h 32"/>
                    <a:gd name="T10" fmla="*/ 0 w 28"/>
                    <a:gd name="T11" fmla="*/ 13 h 32"/>
                    <a:gd name="T12" fmla="*/ 1 w 28"/>
                    <a:gd name="T13" fmla="*/ 2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2">
                      <a:moveTo>
                        <a:pt x="1" y="26"/>
                      </a:moveTo>
                      <a:lnTo>
                        <a:pt x="8" y="32"/>
                      </a:lnTo>
                      <a:lnTo>
                        <a:pt x="28" y="24"/>
                      </a:lnTo>
                      <a:lnTo>
                        <a:pt x="28" y="0"/>
                      </a:lnTo>
                      <a:lnTo>
                        <a:pt x="8" y="5"/>
                      </a:lnTo>
                      <a:lnTo>
                        <a:pt x="0" y="13"/>
                      </a:lnTo>
                      <a:lnTo>
                        <a:pt x="1" y="2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102" name="Freeform 54">
                  <a:extLst>
                    <a:ext uri="{FF2B5EF4-FFF2-40B4-BE49-F238E27FC236}">
                      <a16:creationId xmlns:a16="http://schemas.microsoft.com/office/drawing/2014/main" id="{DDFDDCF9-C532-98F3-7023-240648F8793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59388" y="1311275"/>
                  <a:ext cx="44450" cy="14288"/>
                </a:xfrm>
                <a:custGeom>
                  <a:avLst/>
                  <a:gdLst>
                    <a:gd name="T0" fmla="*/ 10 w 28"/>
                    <a:gd name="T1" fmla="*/ 0 h 9"/>
                    <a:gd name="T2" fmla="*/ 0 w 28"/>
                    <a:gd name="T3" fmla="*/ 9 h 9"/>
                    <a:gd name="T4" fmla="*/ 13 w 28"/>
                    <a:gd name="T5" fmla="*/ 9 h 9"/>
                    <a:gd name="T6" fmla="*/ 28 w 28"/>
                    <a:gd name="T7" fmla="*/ 0 h 9"/>
                    <a:gd name="T8" fmla="*/ 10 w 28"/>
                    <a:gd name="T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9">
                      <a:moveTo>
                        <a:pt x="10" y="0"/>
                      </a:moveTo>
                      <a:lnTo>
                        <a:pt x="0" y="9"/>
                      </a:lnTo>
                      <a:lnTo>
                        <a:pt x="13" y="9"/>
                      </a:lnTo>
                      <a:lnTo>
                        <a:pt x="28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103" name="Freeform 55">
                  <a:extLst>
                    <a:ext uri="{FF2B5EF4-FFF2-40B4-BE49-F238E27FC236}">
                      <a16:creationId xmlns:a16="http://schemas.microsoft.com/office/drawing/2014/main" id="{5BB806C2-FA78-812F-51AD-9D88DD0757F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149851" y="1270000"/>
                  <a:ext cx="49213" cy="68263"/>
                </a:xfrm>
                <a:custGeom>
                  <a:avLst/>
                  <a:gdLst>
                    <a:gd name="T0" fmla="*/ 21 w 31"/>
                    <a:gd name="T1" fmla="*/ 13 h 43"/>
                    <a:gd name="T2" fmla="*/ 17 w 31"/>
                    <a:gd name="T3" fmla="*/ 0 h 43"/>
                    <a:gd name="T4" fmla="*/ 0 w 31"/>
                    <a:gd name="T5" fmla="*/ 19 h 43"/>
                    <a:gd name="T6" fmla="*/ 10 w 31"/>
                    <a:gd name="T7" fmla="*/ 27 h 43"/>
                    <a:gd name="T8" fmla="*/ 21 w 31"/>
                    <a:gd name="T9" fmla="*/ 43 h 43"/>
                    <a:gd name="T10" fmla="*/ 31 w 31"/>
                    <a:gd name="T11" fmla="*/ 43 h 43"/>
                    <a:gd name="T12" fmla="*/ 25 w 31"/>
                    <a:gd name="T13" fmla="*/ 26 h 43"/>
                    <a:gd name="T14" fmla="*/ 21 w 31"/>
                    <a:gd name="T15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43">
                      <a:moveTo>
                        <a:pt x="21" y="13"/>
                      </a:moveTo>
                      <a:lnTo>
                        <a:pt x="17" y="0"/>
                      </a:lnTo>
                      <a:lnTo>
                        <a:pt x="0" y="19"/>
                      </a:lnTo>
                      <a:lnTo>
                        <a:pt x="10" y="27"/>
                      </a:lnTo>
                      <a:lnTo>
                        <a:pt x="21" y="43"/>
                      </a:lnTo>
                      <a:lnTo>
                        <a:pt x="31" y="43"/>
                      </a:lnTo>
                      <a:lnTo>
                        <a:pt x="25" y="26"/>
                      </a:ln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104" name="Freeform 56">
                  <a:extLst>
                    <a:ext uri="{FF2B5EF4-FFF2-40B4-BE49-F238E27FC236}">
                      <a16:creationId xmlns:a16="http://schemas.microsoft.com/office/drawing/2014/main" id="{7ADB5A3D-71FD-0797-08A5-5A63ACCB8A6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5203826" y="1228725"/>
                  <a:ext cx="82550" cy="58738"/>
                </a:xfrm>
                <a:custGeom>
                  <a:avLst/>
                  <a:gdLst>
                    <a:gd name="T0" fmla="*/ 52 w 52"/>
                    <a:gd name="T1" fmla="*/ 8 h 37"/>
                    <a:gd name="T2" fmla="*/ 39 w 52"/>
                    <a:gd name="T3" fmla="*/ 0 h 37"/>
                    <a:gd name="T4" fmla="*/ 10 w 52"/>
                    <a:gd name="T5" fmla="*/ 0 h 37"/>
                    <a:gd name="T6" fmla="*/ 0 w 52"/>
                    <a:gd name="T7" fmla="*/ 10 h 37"/>
                    <a:gd name="T8" fmla="*/ 0 w 52"/>
                    <a:gd name="T9" fmla="*/ 21 h 37"/>
                    <a:gd name="T10" fmla="*/ 16 w 52"/>
                    <a:gd name="T11" fmla="*/ 37 h 37"/>
                    <a:gd name="T12" fmla="*/ 48 w 52"/>
                    <a:gd name="T13" fmla="*/ 34 h 37"/>
                    <a:gd name="T14" fmla="*/ 52 w 52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37">
                      <a:moveTo>
                        <a:pt x="52" y="8"/>
                      </a:moveTo>
                      <a:lnTo>
                        <a:pt x="39" y="0"/>
                      </a:lnTo>
                      <a:lnTo>
                        <a:pt x="10" y="0"/>
                      </a:lnTo>
                      <a:lnTo>
                        <a:pt x="0" y="10"/>
                      </a:lnTo>
                      <a:lnTo>
                        <a:pt x="0" y="21"/>
                      </a:lnTo>
                      <a:lnTo>
                        <a:pt x="16" y="37"/>
                      </a:lnTo>
                      <a:lnTo>
                        <a:pt x="48" y="34"/>
                      </a:lnTo>
                      <a:lnTo>
                        <a:pt x="52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105" name="Freeform 57">
                  <a:extLst>
                    <a:ext uri="{FF2B5EF4-FFF2-40B4-BE49-F238E27FC236}">
                      <a16:creationId xmlns:a16="http://schemas.microsoft.com/office/drawing/2014/main" id="{40BDDC28-E97D-38C8-5804-7944F6AE7CD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6340476" y="1395413"/>
                  <a:ext cx="127000" cy="98425"/>
                </a:xfrm>
                <a:custGeom>
                  <a:avLst/>
                  <a:gdLst>
                    <a:gd name="T0" fmla="*/ 74 w 80"/>
                    <a:gd name="T1" fmla="*/ 42 h 62"/>
                    <a:gd name="T2" fmla="*/ 64 w 80"/>
                    <a:gd name="T3" fmla="*/ 16 h 62"/>
                    <a:gd name="T4" fmla="*/ 34 w 80"/>
                    <a:gd name="T5" fmla="*/ 3 h 62"/>
                    <a:gd name="T6" fmla="*/ 11 w 80"/>
                    <a:gd name="T7" fmla="*/ 0 h 62"/>
                    <a:gd name="T8" fmla="*/ 0 w 80"/>
                    <a:gd name="T9" fmla="*/ 17 h 62"/>
                    <a:gd name="T10" fmla="*/ 0 w 80"/>
                    <a:gd name="T11" fmla="*/ 42 h 62"/>
                    <a:gd name="T12" fmla="*/ 19 w 80"/>
                    <a:gd name="T13" fmla="*/ 42 h 62"/>
                    <a:gd name="T14" fmla="*/ 23 w 80"/>
                    <a:gd name="T15" fmla="*/ 53 h 62"/>
                    <a:gd name="T16" fmla="*/ 32 w 80"/>
                    <a:gd name="T17" fmla="*/ 62 h 62"/>
                    <a:gd name="T18" fmla="*/ 47 w 80"/>
                    <a:gd name="T19" fmla="*/ 59 h 62"/>
                    <a:gd name="T20" fmla="*/ 58 w 80"/>
                    <a:gd name="T21" fmla="*/ 56 h 62"/>
                    <a:gd name="T22" fmla="*/ 80 w 80"/>
                    <a:gd name="T23" fmla="*/ 62 h 62"/>
                    <a:gd name="T24" fmla="*/ 74 w 80"/>
                    <a:gd name="T25" fmla="*/ 4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0" h="62">
                      <a:moveTo>
                        <a:pt x="74" y="42"/>
                      </a:moveTo>
                      <a:lnTo>
                        <a:pt x="64" y="16"/>
                      </a:lnTo>
                      <a:lnTo>
                        <a:pt x="34" y="3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42"/>
                      </a:lnTo>
                      <a:lnTo>
                        <a:pt x="19" y="42"/>
                      </a:lnTo>
                      <a:lnTo>
                        <a:pt x="23" y="53"/>
                      </a:lnTo>
                      <a:lnTo>
                        <a:pt x="32" y="62"/>
                      </a:lnTo>
                      <a:lnTo>
                        <a:pt x="47" y="59"/>
                      </a:lnTo>
                      <a:lnTo>
                        <a:pt x="58" y="56"/>
                      </a:lnTo>
                      <a:lnTo>
                        <a:pt x="80" y="62"/>
                      </a:lnTo>
                      <a:lnTo>
                        <a:pt x="74" y="42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grpSp>
            <p:nvGrpSpPr>
              <p:cNvPr id="1093" name="Group 212">
                <a:extLst>
                  <a:ext uri="{FF2B5EF4-FFF2-40B4-BE49-F238E27FC236}">
                    <a16:creationId xmlns:a16="http://schemas.microsoft.com/office/drawing/2014/main" id="{309FD878-37EA-CBB9-2C29-5FB079DFB556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4446588" y="1955800"/>
                <a:ext cx="504826" cy="157163"/>
                <a:chOff x="4446588" y="1955800"/>
                <a:chExt cx="504826" cy="157163"/>
              </a:xfrm>
              <a:grpFill/>
            </p:grpSpPr>
            <p:sp>
              <p:nvSpPr>
                <p:cNvPr id="1095" name="Freeform 60">
                  <a:extLst>
                    <a:ext uri="{FF2B5EF4-FFF2-40B4-BE49-F238E27FC236}">
                      <a16:creationId xmlns:a16="http://schemas.microsoft.com/office/drawing/2014/main" id="{652F8224-E509-DE77-2426-4C6798E1C64F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446588" y="2085975"/>
                  <a:ext cx="53975" cy="26988"/>
                </a:xfrm>
                <a:custGeom>
                  <a:avLst/>
                  <a:gdLst>
                    <a:gd name="T0" fmla="*/ 28 w 34"/>
                    <a:gd name="T1" fmla="*/ 17 h 17"/>
                    <a:gd name="T2" fmla="*/ 23 w 34"/>
                    <a:gd name="T3" fmla="*/ 8 h 17"/>
                    <a:gd name="T4" fmla="*/ 34 w 34"/>
                    <a:gd name="T5" fmla="*/ 0 h 17"/>
                    <a:gd name="T6" fmla="*/ 0 w 34"/>
                    <a:gd name="T7" fmla="*/ 0 h 17"/>
                    <a:gd name="T8" fmla="*/ 0 w 34"/>
                    <a:gd name="T9" fmla="*/ 13 h 17"/>
                    <a:gd name="T10" fmla="*/ 12 w 34"/>
                    <a:gd name="T11" fmla="*/ 17 h 17"/>
                    <a:gd name="T12" fmla="*/ 28 w 34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7">
                      <a:moveTo>
                        <a:pt x="28" y="17"/>
                      </a:moveTo>
                      <a:lnTo>
                        <a:pt x="23" y="8"/>
                      </a:lnTo>
                      <a:lnTo>
                        <a:pt x="34" y="0"/>
                      </a:ln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7"/>
                      </a:lnTo>
                      <a:lnTo>
                        <a:pt x="28" y="17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096" name="Freeform 61">
                  <a:extLst>
                    <a:ext uri="{FF2B5EF4-FFF2-40B4-BE49-F238E27FC236}">
                      <a16:creationId xmlns:a16="http://schemas.microsoft.com/office/drawing/2014/main" id="{551FFFB3-1785-8C4F-4ADF-69EF5B98200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537076" y="2027238"/>
                  <a:ext cx="85725" cy="42863"/>
                </a:xfrm>
                <a:custGeom>
                  <a:avLst/>
                  <a:gdLst>
                    <a:gd name="T0" fmla="*/ 12 w 54"/>
                    <a:gd name="T1" fmla="*/ 13 h 27"/>
                    <a:gd name="T2" fmla="*/ 24 w 54"/>
                    <a:gd name="T3" fmla="*/ 6 h 27"/>
                    <a:gd name="T4" fmla="*/ 54 w 54"/>
                    <a:gd name="T5" fmla="*/ 0 h 27"/>
                    <a:gd name="T6" fmla="*/ 24 w 54"/>
                    <a:gd name="T7" fmla="*/ 0 h 27"/>
                    <a:gd name="T8" fmla="*/ 0 w 54"/>
                    <a:gd name="T9" fmla="*/ 8 h 27"/>
                    <a:gd name="T10" fmla="*/ 0 w 54"/>
                    <a:gd name="T11" fmla="*/ 18 h 27"/>
                    <a:gd name="T12" fmla="*/ 8 w 54"/>
                    <a:gd name="T13" fmla="*/ 27 h 27"/>
                    <a:gd name="T14" fmla="*/ 12 w 54"/>
                    <a:gd name="T15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27">
                      <a:moveTo>
                        <a:pt x="12" y="13"/>
                      </a:moveTo>
                      <a:lnTo>
                        <a:pt x="24" y="6"/>
                      </a:lnTo>
                      <a:lnTo>
                        <a:pt x="54" y="0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097" name="Freeform 62">
                  <a:extLst>
                    <a:ext uri="{FF2B5EF4-FFF2-40B4-BE49-F238E27FC236}">
                      <a16:creationId xmlns:a16="http://schemas.microsoft.com/office/drawing/2014/main" id="{C3E9310C-2767-F955-E767-4F4820F61951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659313" y="1989138"/>
                  <a:ext cx="80963" cy="26988"/>
                </a:xfrm>
                <a:custGeom>
                  <a:avLst/>
                  <a:gdLst>
                    <a:gd name="T0" fmla="*/ 51 w 51"/>
                    <a:gd name="T1" fmla="*/ 8 h 17"/>
                    <a:gd name="T2" fmla="*/ 29 w 51"/>
                    <a:gd name="T3" fmla="*/ 0 h 17"/>
                    <a:gd name="T4" fmla="*/ 4 w 51"/>
                    <a:gd name="T5" fmla="*/ 3 h 17"/>
                    <a:gd name="T6" fmla="*/ 0 w 51"/>
                    <a:gd name="T7" fmla="*/ 17 h 17"/>
                    <a:gd name="T8" fmla="*/ 27 w 51"/>
                    <a:gd name="T9" fmla="*/ 14 h 17"/>
                    <a:gd name="T10" fmla="*/ 51 w 51"/>
                    <a:gd name="T11" fmla="*/ 8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17">
                      <a:moveTo>
                        <a:pt x="51" y="8"/>
                      </a:moveTo>
                      <a:lnTo>
                        <a:pt x="29" y="0"/>
                      </a:lnTo>
                      <a:lnTo>
                        <a:pt x="4" y="3"/>
                      </a:lnTo>
                      <a:lnTo>
                        <a:pt x="0" y="17"/>
                      </a:lnTo>
                      <a:lnTo>
                        <a:pt x="27" y="14"/>
                      </a:lnTo>
                      <a:lnTo>
                        <a:pt x="51" y="8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098" name="Freeform 63">
                  <a:extLst>
                    <a:ext uri="{FF2B5EF4-FFF2-40B4-BE49-F238E27FC236}">
                      <a16:creationId xmlns:a16="http://schemas.microsoft.com/office/drawing/2014/main" id="{B2B44B8B-0511-38CD-6B15-EF62A4BCFEA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883151" y="1955800"/>
                  <a:ext cx="68263" cy="22225"/>
                </a:xfrm>
                <a:custGeom>
                  <a:avLst/>
                  <a:gdLst>
                    <a:gd name="T0" fmla="*/ 43 w 43"/>
                    <a:gd name="T1" fmla="*/ 0 h 14"/>
                    <a:gd name="T2" fmla="*/ 6 w 43"/>
                    <a:gd name="T3" fmla="*/ 0 h 14"/>
                    <a:gd name="T4" fmla="*/ 0 w 43"/>
                    <a:gd name="T5" fmla="*/ 14 h 14"/>
                    <a:gd name="T6" fmla="*/ 21 w 43"/>
                    <a:gd name="T7" fmla="*/ 11 h 14"/>
                    <a:gd name="T8" fmla="*/ 43 w 43"/>
                    <a:gd name="T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14">
                      <a:moveTo>
                        <a:pt x="43" y="0"/>
                      </a:moveTo>
                      <a:lnTo>
                        <a:pt x="6" y="0"/>
                      </a:lnTo>
                      <a:lnTo>
                        <a:pt x="0" y="14"/>
                      </a:lnTo>
                      <a:lnTo>
                        <a:pt x="21" y="11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099" name="Freeform 64">
                  <a:extLst>
                    <a:ext uri="{FF2B5EF4-FFF2-40B4-BE49-F238E27FC236}">
                      <a16:creationId xmlns:a16="http://schemas.microsoft.com/office/drawing/2014/main" id="{EF04424E-3764-195E-A749-1B141A92E0B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60913" y="1989138"/>
                  <a:ext cx="17463" cy="9525"/>
                </a:xfrm>
                <a:custGeom>
                  <a:avLst/>
                  <a:gdLst>
                    <a:gd name="T0" fmla="*/ 11 w 11"/>
                    <a:gd name="T1" fmla="*/ 0 h 6"/>
                    <a:gd name="T2" fmla="*/ 0 w 11"/>
                    <a:gd name="T3" fmla="*/ 0 h 6"/>
                    <a:gd name="T4" fmla="*/ 0 w 11"/>
                    <a:gd name="T5" fmla="*/ 6 h 6"/>
                    <a:gd name="T6" fmla="*/ 11 w 11"/>
                    <a:gd name="T7" fmla="*/ 5 h 6"/>
                    <a:gd name="T8" fmla="*/ 11 w 1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6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1" y="5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sp>
              <p:nvSpPr>
                <p:cNvPr id="1100" name="Freeform 65">
                  <a:extLst>
                    <a:ext uri="{FF2B5EF4-FFF2-40B4-BE49-F238E27FC236}">
                      <a16:creationId xmlns:a16="http://schemas.microsoft.com/office/drawing/2014/main" id="{B5A1F458-70FD-6A9C-6011-FBC62219E68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795838" y="1978025"/>
                  <a:ext cx="36513" cy="25400"/>
                </a:xfrm>
                <a:custGeom>
                  <a:avLst/>
                  <a:gdLst>
                    <a:gd name="T0" fmla="*/ 13 w 23"/>
                    <a:gd name="T1" fmla="*/ 13 h 16"/>
                    <a:gd name="T2" fmla="*/ 23 w 23"/>
                    <a:gd name="T3" fmla="*/ 4 h 16"/>
                    <a:gd name="T4" fmla="*/ 0 w 23"/>
                    <a:gd name="T5" fmla="*/ 0 h 16"/>
                    <a:gd name="T6" fmla="*/ 4 w 23"/>
                    <a:gd name="T7" fmla="*/ 16 h 16"/>
                    <a:gd name="T8" fmla="*/ 13 w 23"/>
                    <a:gd name="T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6">
                      <a:moveTo>
                        <a:pt x="13" y="13"/>
                      </a:moveTo>
                      <a:lnTo>
                        <a:pt x="23" y="4"/>
                      </a:lnTo>
                      <a:lnTo>
                        <a:pt x="0" y="0"/>
                      </a:lnTo>
                      <a:lnTo>
                        <a:pt x="4" y="16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  <p:sp>
            <p:nvSpPr>
              <p:cNvPr id="1094" name="Freeform 68">
                <a:extLst>
                  <a:ext uri="{FF2B5EF4-FFF2-40B4-BE49-F238E27FC236}">
                    <a16:creationId xmlns:a16="http://schemas.microsoft.com/office/drawing/2014/main" id="{F440E0A6-ED17-6D68-77DE-E8E3AA8D04E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auto">
              <a:xfrm>
                <a:off x="7235830" y="1357322"/>
                <a:ext cx="34923" cy="73024"/>
              </a:xfrm>
              <a:custGeom>
                <a:avLst/>
                <a:gdLst>
                  <a:gd name="T0" fmla="*/ 16 w 22"/>
                  <a:gd name="T1" fmla="*/ 6 h 46"/>
                  <a:gd name="T2" fmla="*/ 22 w 22"/>
                  <a:gd name="T3" fmla="*/ 0 h 46"/>
                  <a:gd name="T4" fmla="*/ 6 w 22"/>
                  <a:gd name="T5" fmla="*/ 0 h 46"/>
                  <a:gd name="T6" fmla="*/ 0 w 22"/>
                  <a:gd name="T7" fmla="*/ 35 h 46"/>
                  <a:gd name="T8" fmla="*/ 0 w 22"/>
                  <a:gd name="T9" fmla="*/ 46 h 46"/>
                  <a:gd name="T10" fmla="*/ 6 w 22"/>
                  <a:gd name="T11" fmla="*/ 24 h 46"/>
                  <a:gd name="T12" fmla="*/ 16 w 22"/>
                  <a:gd name="T1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46">
                    <a:moveTo>
                      <a:pt x="16" y="6"/>
                    </a:moveTo>
                    <a:lnTo>
                      <a:pt x="22" y="0"/>
                    </a:lnTo>
                    <a:lnTo>
                      <a:pt x="6" y="0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6" y="2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grpSp>
          <p:nvGrpSpPr>
            <p:cNvPr id="1025" name="Group 334">
              <a:extLst>
                <a:ext uri="{FF2B5EF4-FFF2-40B4-BE49-F238E27FC236}">
                  <a16:creationId xmlns:a16="http://schemas.microsoft.com/office/drawing/2014/main" id="{8796F5EF-14D0-47F9-B4A2-89A61F8C449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439729" y="1126149"/>
              <a:ext cx="4911391" cy="1733141"/>
              <a:chOff x="5439729" y="1126149"/>
              <a:chExt cx="4911391" cy="1733141"/>
            </a:xfrm>
            <a:grpFill/>
          </p:grpSpPr>
          <p:sp>
            <p:nvSpPr>
              <p:cNvPr id="1026" name="United Kingdo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D569D47-FE72-5DD2-ADD7-49A2D76910B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31962" y="1741706"/>
                <a:ext cx="258961" cy="370754"/>
              </a:xfrm>
              <a:custGeom>
                <a:avLst/>
                <a:gdLst>
                  <a:gd name="T0" fmla="*/ 2147483647 w 576"/>
                  <a:gd name="T1" fmla="*/ 2147483647 h 822"/>
                  <a:gd name="T2" fmla="*/ 2147483647 w 576"/>
                  <a:gd name="T3" fmla="*/ 2147483647 h 822"/>
                  <a:gd name="T4" fmla="*/ 2147483647 w 576"/>
                  <a:gd name="T5" fmla="*/ 2147483647 h 822"/>
                  <a:gd name="T6" fmla="*/ 2147483647 w 576"/>
                  <a:gd name="T7" fmla="*/ 2147483647 h 822"/>
                  <a:gd name="T8" fmla="*/ 2147483647 w 576"/>
                  <a:gd name="T9" fmla="*/ 2147483647 h 822"/>
                  <a:gd name="T10" fmla="*/ 2147483647 w 576"/>
                  <a:gd name="T11" fmla="*/ 2147483647 h 822"/>
                  <a:gd name="T12" fmla="*/ 2147483647 w 576"/>
                  <a:gd name="T13" fmla="*/ 2147483647 h 822"/>
                  <a:gd name="T14" fmla="*/ 2147483647 w 576"/>
                  <a:gd name="T15" fmla="*/ 0 h 822"/>
                  <a:gd name="T16" fmla="*/ 2147483647 w 576"/>
                  <a:gd name="T17" fmla="*/ 0 h 822"/>
                  <a:gd name="T18" fmla="*/ 2147483647 w 576"/>
                  <a:gd name="T19" fmla="*/ 2147483647 h 822"/>
                  <a:gd name="T20" fmla="*/ 2147483647 w 576"/>
                  <a:gd name="T21" fmla="*/ 2147483647 h 822"/>
                  <a:gd name="T22" fmla="*/ 2147483647 w 576"/>
                  <a:gd name="T23" fmla="*/ 2147483647 h 822"/>
                  <a:gd name="T24" fmla="*/ 2147483647 w 576"/>
                  <a:gd name="T25" fmla="*/ 2147483647 h 822"/>
                  <a:gd name="T26" fmla="*/ 2147483647 w 576"/>
                  <a:gd name="T27" fmla="*/ 2147483647 h 822"/>
                  <a:gd name="T28" fmla="*/ 2147483647 w 576"/>
                  <a:gd name="T29" fmla="*/ 2147483647 h 822"/>
                  <a:gd name="T30" fmla="*/ 2147483647 w 576"/>
                  <a:gd name="T31" fmla="*/ 2147483647 h 822"/>
                  <a:gd name="T32" fmla="*/ 2147483647 w 576"/>
                  <a:gd name="T33" fmla="*/ 2147483647 h 822"/>
                  <a:gd name="T34" fmla="*/ 2147483647 w 576"/>
                  <a:gd name="T35" fmla="*/ 2147483647 h 822"/>
                  <a:gd name="T36" fmla="*/ 2147483647 w 576"/>
                  <a:gd name="T37" fmla="*/ 2147483647 h 822"/>
                  <a:gd name="T38" fmla="*/ 2147483647 w 576"/>
                  <a:gd name="T39" fmla="*/ 2147483647 h 822"/>
                  <a:gd name="T40" fmla="*/ 2147483647 w 576"/>
                  <a:gd name="T41" fmla="*/ 2147483647 h 822"/>
                  <a:gd name="T42" fmla="*/ 2147483647 w 576"/>
                  <a:gd name="T43" fmla="*/ 2147483647 h 822"/>
                  <a:gd name="T44" fmla="*/ 2147483647 w 576"/>
                  <a:gd name="T45" fmla="*/ 2147483647 h 822"/>
                  <a:gd name="T46" fmla="*/ 2147483647 w 576"/>
                  <a:gd name="T47" fmla="*/ 2147483647 h 822"/>
                  <a:gd name="T48" fmla="*/ 2147483647 w 576"/>
                  <a:gd name="T49" fmla="*/ 2147483647 h 822"/>
                  <a:gd name="T50" fmla="*/ 2147483647 w 576"/>
                  <a:gd name="T51" fmla="*/ 2147483647 h 822"/>
                  <a:gd name="T52" fmla="*/ 2147483647 w 576"/>
                  <a:gd name="T53" fmla="*/ 2147483647 h 822"/>
                  <a:gd name="T54" fmla="*/ 2147483647 w 576"/>
                  <a:gd name="T55" fmla="*/ 2147483647 h 822"/>
                  <a:gd name="T56" fmla="*/ 2147483647 w 576"/>
                  <a:gd name="T57" fmla="*/ 2147483647 h 822"/>
                  <a:gd name="T58" fmla="*/ 2147483647 w 576"/>
                  <a:gd name="T59" fmla="*/ 2147483647 h 822"/>
                  <a:gd name="T60" fmla="*/ 2147483647 w 576"/>
                  <a:gd name="T61" fmla="*/ 2147483647 h 822"/>
                  <a:gd name="T62" fmla="*/ 2147483647 w 576"/>
                  <a:gd name="T63" fmla="*/ 2147483647 h 822"/>
                  <a:gd name="T64" fmla="*/ 2147483647 w 576"/>
                  <a:gd name="T65" fmla="*/ 2147483647 h 822"/>
                  <a:gd name="T66" fmla="*/ 2147483647 w 576"/>
                  <a:gd name="T67" fmla="*/ 2147483647 h 822"/>
                  <a:gd name="T68" fmla="*/ 2147483647 w 576"/>
                  <a:gd name="T69" fmla="*/ 2147483647 h 822"/>
                  <a:gd name="T70" fmla="*/ 2147483647 w 576"/>
                  <a:gd name="T71" fmla="*/ 2147483647 h 822"/>
                  <a:gd name="T72" fmla="*/ 2147483647 w 576"/>
                  <a:gd name="T73" fmla="*/ 2147483647 h 822"/>
                  <a:gd name="T74" fmla="*/ 2147483647 w 576"/>
                  <a:gd name="T75" fmla="*/ 2147483647 h 822"/>
                  <a:gd name="T76" fmla="*/ 2147483647 w 576"/>
                  <a:gd name="T77" fmla="*/ 2147483647 h 822"/>
                  <a:gd name="T78" fmla="*/ 2147483647 w 576"/>
                  <a:gd name="T79" fmla="*/ 2147483647 h 822"/>
                  <a:gd name="T80" fmla="*/ 2147483647 w 576"/>
                  <a:gd name="T81" fmla="*/ 2147483647 h 822"/>
                  <a:gd name="T82" fmla="*/ 2147483647 w 576"/>
                  <a:gd name="T83" fmla="*/ 2147483647 h 822"/>
                  <a:gd name="T84" fmla="*/ 2147483647 w 576"/>
                  <a:gd name="T85" fmla="*/ 2147483647 h 822"/>
                  <a:gd name="T86" fmla="*/ 2147483647 w 576"/>
                  <a:gd name="T87" fmla="*/ 2147483647 h 822"/>
                  <a:gd name="T88" fmla="*/ 2147483647 w 576"/>
                  <a:gd name="T89" fmla="*/ 2147483647 h 822"/>
                  <a:gd name="T90" fmla="*/ 2147483647 w 576"/>
                  <a:gd name="T91" fmla="*/ 2147483647 h 822"/>
                  <a:gd name="T92" fmla="*/ 2147483647 w 576"/>
                  <a:gd name="T93" fmla="*/ 2147483647 h 822"/>
                  <a:gd name="T94" fmla="*/ 2147483647 w 576"/>
                  <a:gd name="T95" fmla="*/ 2147483647 h 822"/>
                  <a:gd name="T96" fmla="*/ 2147483647 w 576"/>
                  <a:gd name="T97" fmla="*/ 2147483647 h 822"/>
                  <a:gd name="T98" fmla="*/ 2147483647 w 576"/>
                  <a:gd name="T99" fmla="*/ 2147483647 h 822"/>
                  <a:gd name="T100" fmla="*/ 2147483647 w 576"/>
                  <a:gd name="T101" fmla="*/ 2147483647 h 822"/>
                  <a:gd name="T102" fmla="*/ 2147483647 w 576"/>
                  <a:gd name="T103" fmla="*/ 2147483647 h 822"/>
                  <a:gd name="T104" fmla="*/ 2147483647 w 576"/>
                  <a:gd name="T105" fmla="*/ 2147483647 h 822"/>
                  <a:gd name="T106" fmla="*/ 2147483647 w 576"/>
                  <a:gd name="T107" fmla="*/ 2147483647 h 822"/>
                  <a:gd name="T108" fmla="*/ 2147483647 w 576"/>
                  <a:gd name="T109" fmla="*/ 2147483647 h 822"/>
                  <a:gd name="T110" fmla="*/ 2147483647 w 576"/>
                  <a:gd name="T111" fmla="*/ 2147483647 h 822"/>
                  <a:gd name="T112" fmla="*/ 2147483647 w 576"/>
                  <a:gd name="T113" fmla="*/ 2147483647 h 822"/>
                  <a:gd name="T114" fmla="*/ 2147483647 w 576"/>
                  <a:gd name="T115" fmla="*/ 2147483647 h 822"/>
                  <a:gd name="T116" fmla="*/ 2147483647 w 576"/>
                  <a:gd name="T117" fmla="*/ 2147483647 h 822"/>
                  <a:gd name="T118" fmla="*/ 2147483647 w 576"/>
                  <a:gd name="T119" fmla="*/ 2147483647 h 822"/>
                  <a:gd name="T120" fmla="*/ 2147483647 w 576"/>
                  <a:gd name="T121" fmla="*/ 2147483647 h 822"/>
                  <a:gd name="T122" fmla="*/ 2147483647 w 576"/>
                  <a:gd name="T123" fmla="*/ 2147483647 h 8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6"/>
                  <a:gd name="T187" fmla="*/ 0 h 822"/>
                  <a:gd name="T188" fmla="*/ 576 w 576"/>
                  <a:gd name="T189" fmla="*/ 822 h 8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6" h="822">
                    <a:moveTo>
                      <a:pt x="162" y="378"/>
                    </a:moveTo>
                    <a:lnTo>
                      <a:pt x="156" y="378"/>
                    </a:lnTo>
                    <a:lnTo>
                      <a:pt x="150" y="384"/>
                    </a:lnTo>
                    <a:lnTo>
                      <a:pt x="150" y="396"/>
                    </a:lnTo>
                    <a:lnTo>
                      <a:pt x="144" y="414"/>
                    </a:lnTo>
                    <a:lnTo>
                      <a:pt x="156" y="402"/>
                    </a:lnTo>
                    <a:lnTo>
                      <a:pt x="162" y="390"/>
                    </a:lnTo>
                    <a:lnTo>
                      <a:pt x="162" y="378"/>
                    </a:lnTo>
                    <a:close/>
                    <a:moveTo>
                      <a:pt x="132" y="312"/>
                    </a:moveTo>
                    <a:lnTo>
                      <a:pt x="126" y="312"/>
                    </a:lnTo>
                    <a:lnTo>
                      <a:pt x="126" y="336"/>
                    </a:lnTo>
                    <a:lnTo>
                      <a:pt x="132" y="336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44" y="318"/>
                    </a:lnTo>
                    <a:lnTo>
                      <a:pt x="138" y="312"/>
                    </a:lnTo>
                    <a:lnTo>
                      <a:pt x="132" y="312"/>
                    </a:lnTo>
                    <a:close/>
                    <a:moveTo>
                      <a:pt x="114" y="390"/>
                    </a:moveTo>
                    <a:lnTo>
                      <a:pt x="126" y="390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72"/>
                    </a:lnTo>
                    <a:lnTo>
                      <a:pt x="108" y="384"/>
                    </a:lnTo>
                    <a:lnTo>
                      <a:pt x="108" y="390"/>
                    </a:lnTo>
                    <a:lnTo>
                      <a:pt x="114" y="390"/>
                    </a:lnTo>
                    <a:close/>
                    <a:moveTo>
                      <a:pt x="330" y="120"/>
                    </a:moveTo>
                    <a:lnTo>
                      <a:pt x="324" y="120"/>
                    </a:lnTo>
                    <a:lnTo>
                      <a:pt x="318" y="126"/>
                    </a:lnTo>
                    <a:lnTo>
                      <a:pt x="318" y="138"/>
                    </a:lnTo>
                    <a:lnTo>
                      <a:pt x="330" y="138"/>
                    </a:lnTo>
                    <a:lnTo>
                      <a:pt x="336" y="126"/>
                    </a:lnTo>
                    <a:lnTo>
                      <a:pt x="330" y="120"/>
                    </a:lnTo>
                    <a:close/>
                    <a:moveTo>
                      <a:pt x="138" y="258"/>
                    </a:moveTo>
                    <a:lnTo>
                      <a:pt x="138" y="234"/>
                    </a:lnTo>
                    <a:lnTo>
                      <a:pt x="126" y="234"/>
                    </a:lnTo>
                    <a:lnTo>
                      <a:pt x="120" y="240"/>
                    </a:lnTo>
                    <a:lnTo>
                      <a:pt x="120" y="246"/>
                    </a:lnTo>
                    <a:lnTo>
                      <a:pt x="126" y="252"/>
                    </a:lnTo>
                    <a:lnTo>
                      <a:pt x="108" y="252"/>
                    </a:lnTo>
                    <a:lnTo>
                      <a:pt x="108" y="258"/>
                    </a:lnTo>
                    <a:lnTo>
                      <a:pt x="114" y="264"/>
                    </a:lnTo>
                    <a:lnTo>
                      <a:pt x="120" y="264"/>
                    </a:lnTo>
                    <a:lnTo>
                      <a:pt x="126" y="270"/>
                    </a:lnTo>
                    <a:lnTo>
                      <a:pt x="150" y="270"/>
                    </a:lnTo>
                    <a:lnTo>
                      <a:pt x="138" y="258"/>
                    </a:lnTo>
                    <a:close/>
                    <a:moveTo>
                      <a:pt x="474" y="0"/>
                    </a:moveTo>
                    <a:lnTo>
                      <a:pt x="468" y="0"/>
                    </a:lnTo>
                    <a:lnTo>
                      <a:pt x="456" y="12"/>
                    </a:lnTo>
                    <a:lnTo>
                      <a:pt x="474" y="12"/>
                    </a:lnTo>
                    <a:lnTo>
                      <a:pt x="474" y="6"/>
                    </a:lnTo>
                    <a:lnTo>
                      <a:pt x="480" y="0"/>
                    </a:lnTo>
                    <a:lnTo>
                      <a:pt x="474" y="0"/>
                    </a:lnTo>
                    <a:close/>
                    <a:moveTo>
                      <a:pt x="432" y="48"/>
                    </a:moveTo>
                    <a:lnTo>
                      <a:pt x="432" y="66"/>
                    </a:lnTo>
                    <a:lnTo>
                      <a:pt x="438" y="66"/>
                    </a:lnTo>
                    <a:lnTo>
                      <a:pt x="444" y="60"/>
                    </a:lnTo>
                    <a:lnTo>
                      <a:pt x="450" y="48"/>
                    </a:lnTo>
                    <a:lnTo>
                      <a:pt x="450" y="24"/>
                    </a:lnTo>
                    <a:lnTo>
                      <a:pt x="438" y="12"/>
                    </a:lnTo>
                    <a:lnTo>
                      <a:pt x="432" y="24"/>
                    </a:lnTo>
                    <a:lnTo>
                      <a:pt x="426" y="30"/>
                    </a:lnTo>
                    <a:lnTo>
                      <a:pt x="420" y="30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2" y="48"/>
                    </a:lnTo>
                    <a:close/>
                    <a:moveTo>
                      <a:pt x="342" y="138"/>
                    </a:moveTo>
                    <a:lnTo>
                      <a:pt x="342" y="150"/>
                    </a:lnTo>
                    <a:lnTo>
                      <a:pt x="354" y="138"/>
                    </a:lnTo>
                    <a:lnTo>
                      <a:pt x="342" y="138"/>
                    </a:lnTo>
                    <a:close/>
                    <a:moveTo>
                      <a:pt x="192" y="402"/>
                    </a:moveTo>
                    <a:lnTo>
                      <a:pt x="192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74" y="390"/>
                    </a:lnTo>
                    <a:lnTo>
                      <a:pt x="174" y="396"/>
                    </a:lnTo>
                    <a:lnTo>
                      <a:pt x="180" y="402"/>
                    </a:lnTo>
                    <a:lnTo>
                      <a:pt x="192" y="402"/>
                    </a:lnTo>
                    <a:close/>
                    <a:moveTo>
                      <a:pt x="504" y="588"/>
                    </a:moveTo>
                    <a:lnTo>
                      <a:pt x="498" y="594"/>
                    </a:lnTo>
                    <a:lnTo>
                      <a:pt x="498" y="600"/>
                    </a:lnTo>
                    <a:lnTo>
                      <a:pt x="480" y="600"/>
                    </a:lnTo>
                    <a:lnTo>
                      <a:pt x="480" y="588"/>
                    </a:lnTo>
                    <a:lnTo>
                      <a:pt x="486" y="576"/>
                    </a:lnTo>
                    <a:lnTo>
                      <a:pt x="498" y="564"/>
                    </a:lnTo>
                    <a:lnTo>
                      <a:pt x="492" y="558"/>
                    </a:lnTo>
                    <a:lnTo>
                      <a:pt x="456" y="540"/>
                    </a:lnTo>
                    <a:lnTo>
                      <a:pt x="450" y="540"/>
                    </a:lnTo>
                    <a:lnTo>
                      <a:pt x="444" y="534"/>
                    </a:lnTo>
                    <a:lnTo>
                      <a:pt x="450" y="534"/>
                    </a:lnTo>
                    <a:lnTo>
                      <a:pt x="456" y="528"/>
                    </a:lnTo>
                    <a:lnTo>
                      <a:pt x="480" y="528"/>
                    </a:lnTo>
                    <a:lnTo>
                      <a:pt x="468" y="516"/>
                    </a:lnTo>
                    <a:lnTo>
                      <a:pt x="468" y="510"/>
                    </a:lnTo>
                    <a:lnTo>
                      <a:pt x="456" y="498"/>
                    </a:lnTo>
                    <a:lnTo>
                      <a:pt x="450" y="486"/>
                    </a:lnTo>
                    <a:lnTo>
                      <a:pt x="432" y="468"/>
                    </a:lnTo>
                    <a:lnTo>
                      <a:pt x="420" y="468"/>
                    </a:lnTo>
                    <a:lnTo>
                      <a:pt x="414" y="456"/>
                    </a:lnTo>
                    <a:lnTo>
                      <a:pt x="402" y="450"/>
                    </a:lnTo>
                    <a:lnTo>
                      <a:pt x="390" y="438"/>
                    </a:lnTo>
                    <a:lnTo>
                      <a:pt x="390" y="414"/>
                    </a:lnTo>
                    <a:lnTo>
                      <a:pt x="396" y="402"/>
                    </a:lnTo>
                    <a:lnTo>
                      <a:pt x="396" y="390"/>
                    </a:lnTo>
                    <a:lnTo>
                      <a:pt x="384" y="390"/>
                    </a:lnTo>
                    <a:lnTo>
                      <a:pt x="378" y="384"/>
                    </a:lnTo>
                    <a:lnTo>
                      <a:pt x="372" y="372"/>
                    </a:lnTo>
                    <a:lnTo>
                      <a:pt x="360" y="360"/>
                    </a:lnTo>
                    <a:lnTo>
                      <a:pt x="342" y="354"/>
                    </a:lnTo>
                    <a:lnTo>
                      <a:pt x="324" y="354"/>
                    </a:lnTo>
                    <a:lnTo>
                      <a:pt x="306" y="360"/>
                    </a:lnTo>
                    <a:lnTo>
                      <a:pt x="294" y="366"/>
                    </a:lnTo>
                    <a:lnTo>
                      <a:pt x="288" y="366"/>
                    </a:lnTo>
                    <a:lnTo>
                      <a:pt x="270" y="348"/>
                    </a:lnTo>
                    <a:lnTo>
                      <a:pt x="282" y="348"/>
                    </a:lnTo>
                    <a:lnTo>
                      <a:pt x="294" y="354"/>
                    </a:lnTo>
                    <a:lnTo>
                      <a:pt x="306" y="354"/>
                    </a:lnTo>
                    <a:lnTo>
                      <a:pt x="330" y="342"/>
                    </a:lnTo>
                    <a:lnTo>
                      <a:pt x="336" y="336"/>
                    </a:lnTo>
                    <a:lnTo>
                      <a:pt x="330" y="336"/>
                    </a:lnTo>
                    <a:lnTo>
                      <a:pt x="324" y="330"/>
                    </a:lnTo>
                    <a:lnTo>
                      <a:pt x="306" y="330"/>
                    </a:lnTo>
                    <a:lnTo>
                      <a:pt x="330" y="324"/>
                    </a:lnTo>
                    <a:lnTo>
                      <a:pt x="336" y="318"/>
                    </a:lnTo>
                    <a:lnTo>
                      <a:pt x="348" y="312"/>
                    </a:lnTo>
                    <a:lnTo>
                      <a:pt x="360" y="300"/>
                    </a:lnTo>
                    <a:lnTo>
                      <a:pt x="360" y="288"/>
                    </a:lnTo>
                    <a:lnTo>
                      <a:pt x="366" y="276"/>
                    </a:lnTo>
                    <a:lnTo>
                      <a:pt x="372" y="270"/>
                    </a:lnTo>
                    <a:lnTo>
                      <a:pt x="378" y="258"/>
                    </a:lnTo>
                    <a:lnTo>
                      <a:pt x="384" y="252"/>
                    </a:lnTo>
                    <a:lnTo>
                      <a:pt x="396" y="246"/>
                    </a:lnTo>
                    <a:lnTo>
                      <a:pt x="402" y="246"/>
                    </a:lnTo>
                    <a:lnTo>
                      <a:pt x="402" y="240"/>
                    </a:lnTo>
                    <a:lnTo>
                      <a:pt x="396" y="234"/>
                    </a:lnTo>
                    <a:lnTo>
                      <a:pt x="318" y="234"/>
                    </a:lnTo>
                    <a:lnTo>
                      <a:pt x="318" y="228"/>
                    </a:lnTo>
                    <a:lnTo>
                      <a:pt x="288" y="228"/>
                    </a:lnTo>
                    <a:lnTo>
                      <a:pt x="276" y="234"/>
                    </a:lnTo>
                    <a:lnTo>
                      <a:pt x="264" y="234"/>
                    </a:lnTo>
                    <a:lnTo>
                      <a:pt x="258" y="240"/>
                    </a:lnTo>
                    <a:lnTo>
                      <a:pt x="252" y="240"/>
                    </a:lnTo>
                    <a:lnTo>
                      <a:pt x="264" y="228"/>
                    </a:lnTo>
                    <a:lnTo>
                      <a:pt x="252" y="216"/>
                    </a:lnTo>
                    <a:lnTo>
                      <a:pt x="270" y="210"/>
                    </a:lnTo>
                    <a:lnTo>
                      <a:pt x="300" y="192"/>
                    </a:lnTo>
                    <a:lnTo>
                      <a:pt x="312" y="186"/>
                    </a:lnTo>
                    <a:lnTo>
                      <a:pt x="324" y="162"/>
                    </a:lnTo>
                    <a:lnTo>
                      <a:pt x="318" y="156"/>
                    </a:lnTo>
                    <a:lnTo>
                      <a:pt x="288" y="156"/>
                    </a:lnTo>
                    <a:lnTo>
                      <a:pt x="276" y="162"/>
                    </a:lnTo>
                    <a:lnTo>
                      <a:pt x="258" y="168"/>
                    </a:lnTo>
                    <a:lnTo>
                      <a:pt x="240" y="168"/>
                    </a:lnTo>
                    <a:lnTo>
                      <a:pt x="228" y="162"/>
                    </a:lnTo>
                    <a:lnTo>
                      <a:pt x="216" y="162"/>
                    </a:lnTo>
                    <a:lnTo>
                      <a:pt x="210" y="168"/>
                    </a:lnTo>
                    <a:lnTo>
                      <a:pt x="210" y="174"/>
                    </a:lnTo>
                    <a:lnTo>
                      <a:pt x="216" y="180"/>
                    </a:lnTo>
                    <a:lnTo>
                      <a:pt x="204" y="180"/>
                    </a:lnTo>
                    <a:lnTo>
                      <a:pt x="192" y="192"/>
                    </a:lnTo>
                    <a:lnTo>
                      <a:pt x="192" y="210"/>
                    </a:lnTo>
                    <a:lnTo>
                      <a:pt x="198" y="216"/>
                    </a:lnTo>
                    <a:lnTo>
                      <a:pt x="156" y="222"/>
                    </a:lnTo>
                    <a:lnTo>
                      <a:pt x="156" y="234"/>
                    </a:lnTo>
                    <a:lnTo>
                      <a:pt x="168" y="240"/>
                    </a:lnTo>
                    <a:lnTo>
                      <a:pt x="180" y="264"/>
                    </a:lnTo>
                    <a:lnTo>
                      <a:pt x="162" y="282"/>
                    </a:lnTo>
                    <a:lnTo>
                      <a:pt x="162" y="294"/>
                    </a:lnTo>
                    <a:lnTo>
                      <a:pt x="144" y="300"/>
                    </a:lnTo>
                    <a:lnTo>
                      <a:pt x="156" y="312"/>
                    </a:lnTo>
                    <a:lnTo>
                      <a:pt x="168" y="312"/>
                    </a:lnTo>
                    <a:lnTo>
                      <a:pt x="180" y="306"/>
                    </a:lnTo>
                    <a:lnTo>
                      <a:pt x="186" y="300"/>
                    </a:lnTo>
                    <a:lnTo>
                      <a:pt x="186" y="318"/>
                    </a:lnTo>
                    <a:lnTo>
                      <a:pt x="180" y="318"/>
                    </a:lnTo>
                    <a:lnTo>
                      <a:pt x="168" y="330"/>
                    </a:lnTo>
                    <a:lnTo>
                      <a:pt x="156" y="336"/>
                    </a:lnTo>
                    <a:lnTo>
                      <a:pt x="156" y="360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98" y="366"/>
                    </a:lnTo>
                    <a:lnTo>
                      <a:pt x="210" y="360"/>
                    </a:lnTo>
                    <a:lnTo>
                      <a:pt x="216" y="354"/>
                    </a:lnTo>
                    <a:lnTo>
                      <a:pt x="198" y="372"/>
                    </a:lnTo>
                    <a:lnTo>
                      <a:pt x="210" y="402"/>
                    </a:lnTo>
                    <a:lnTo>
                      <a:pt x="204" y="408"/>
                    </a:lnTo>
                    <a:lnTo>
                      <a:pt x="198" y="420"/>
                    </a:lnTo>
                    <a:lnTo>
                      <a:pt x="186" y="426"/>
                    </a:ln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204" y="456"/>
                    </a:lnTo>
                    <a:lnTo>
                      <a:pt x="216" y="450"/>
                    </a:lnTo>
                    <a:lnTo>
                      <a:pt x="240" y="450"/>
                    </a:lnTo>
                    <a:lnTo>
                      <a:pt x="252" y="444"/>
                    </a:lnTo>
                    <a:lnTo>
                      <a:pt x="258" y="438"/>
                    </a:lnTo>
                    <a:lnTo>
                      <a:pt x="270" y="432"/>
                    </a:lnTo>
                    <a:lnTo>
                      <a:pt x="300" y="438"/>
                    </a:lnTo>
                    <a:lnTo>
                      <a:pt x="288" y="444"/>
                    </a:lnTo>
                    <a:lnTo>
                      <a:pt x="264" y="468"/>
                    </a:lnTo>
                    <a:lnTo>
                      <a:pt x="264" y="474"/>
                    </a:lnTo>
                    <a:lnTo>
                      <a:pt x="282" y="492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6" y="498"/>
                    </a:lnTo>
                    <a:lnTo>
                      <a:pt x="312" y="516"/>
                    </a:lnTo>
                    <a:lnTo>
                      <a:pt x="294" y="534"/>
                    </a:lnTo>
                    <a:lnTo>
                      <a:pt x="294" y="564"/>
                    </a:lnTo>
                    <a:lnTo>
                      <a:pt x="222" y="564"/>
                    </a:lnTo>
                    <a:lnTo>
                      <a:pt x="216" y="558"/>
                    </a:lnTo>
                    <a:lnTo>
                      <a:pt x="198" y="558"/>
                    </a:lnTo>
                    <a:lnTo>
                      <a:pt x="192" y="564"/>
                    </a:lnTo>
                    <a:lnTo>
                      <a:pt x="210" y="582"/>
                    </a:lnTo>
                    <a:lnTo>
                      <a:pt x="186" y="600"/>
                    </a:lnTo>
                    <a:lnTo>
                      <a:pt x="228" y="594"/>
                    </a:lnTo>
                    <a:lnTo>
                      <a:pt x="228" y="618"/>
                    </a:lnTo>
                    <a:lnTo>
                      <a:pt x="216" y="642"/>
                    </a:lnTo>
                    <a:lnTo>
                      <a:pt x="210" y="648"/>
                    </a:lnTo>
                    <a:lnTo>
                      <a:pt x="198" y="654"/>
                    </a:lnTo>
                    <a:lnTo>
                      <a:pt x="180" y="660"/>
                    </a:lnTo>
                    <a:lnTo>
                      <a:pt x="168" y="666"/>
                    </a:lnTo>
                    <a:lnTo>
                      <a:pt x="162" y="666"/>
                    </a:lnTo>
                    <a:lnTo>
                      <a:pt x="162" y="690"/>
                    </a:lnTo>
                    <a:lnTo>
                      <a:pt x="168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92" y="684"/>
                    </a:lnTo>
                    <a:lnTo>
                      <a:pt x="198" y="678"/>
                    </a:lnTo>
                    <a:lnTo>
                      <a:pt x="204" y="684"/>
                    </a:lnTo>
                    <a:lnTo>
                      <a:pt x="204" y="690"/>
                    </a:lnTo>
                    <a:lnTo>
                      <a:pt x="210" y="696"/>
                    </a:lnTo>
                    <a:lnTo>
                      <a:pt x="234" y="696"/>
                    </a:lnTo>
                    <a:lnTo>
                      <a:pt x="240" y="702"/>
                    </a:lnTo>
                    <a:lnTo>
                      <a:pt x="252" y="708"/>
                    </a:lnTo>
                    <a:lnTo>
                      <a:pt x="258" y="708"/>
                    </a:lnTo>
                    <a:lnTo>
                      <a:pt x="276" y="702"/>
                    </a:lnTo>
                    <a:lnTo>
                      <a:pt x="288" y="696"/>
                    </a:lnTo>
                    <a:lnTo>
                      <a:pt x="294" y="690"/>
                    </a:lnTo>
                    <a:lnTo>
                      <a:pt x="318" y="690"/>
                    </a:lnTo>
                    <a:lnTo>
                      <a:pt x="312" y="696"/>
                    </a:lnTo>
                    <a:lnTo>
                      <a:pt x="300" y="702"/>
                    </a:lnTo>
                    <a:lnTo>
                      <a:pt x="294" y="714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10" y="726"/>
                    </a:lnTo>
                    <a:lnTo>
                      <a:pt x="210" y="738"/>
                    </a:lnTo>
                    <a:lnTo>
                      <a:pt x="198" y="738"/>
                    </a:lnTo>
                    <a:lnTo>
                      <a:pt x="186" y="744"/>
                    </a:lnTo>
                    <a:lnTo>
                      <a:pt x="180" y="750"/>
                    </a:lnTo>
                    <a:lnTo>
                      <a:pt x="180" y="768"/>
                    </a:lnTo>
                    <a:lnTo>
                      <a:pt x="174" y="774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86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14" y="810"/>
                    </a:lnTo>
                    <a:lnTo>
                      <a:pt x="108" y="810"/>
                    </a:lnTo>
                    <a:lnTo>
                      <a:pt x="108" y="816"/>
                    </a:lnTo>
                    <a:lnTo>
                      <a:pt x="114" y="816"/>
                    </a:lnTo>
                    <a:lnTo>
                      <a:pt x="120" y="822"/>
                    </a:lnTo>
                    <a:lnTo>
                      <a:pt x="150" y="822"/>
                    </a:lnTo>
                    <a:lnTo>
                      <a:pt x="156" y="810"/>
                    </a:lnTo>
                    <a:lnTo>
                      <a:pt x="174" y="792"/>
                    </a:lnTo>
                    <a:lnTo>
                      <a:pt x="210" y="792"/>
                    </a:lnTo>
                    <a:lnTo>
                      <a:pt x="216" y="798"/>
                    </a:lnTo>
                    <a:lnTo>
                      <a:pt x="228" y="804"/>
                    </a:lnTo>
                    <a:lnTo>
                      <a:pt x="240" y="804"/>
                    </a:lnTo>
                    <a:lnTo>
                      <a:pt x="246" y="792"/>
                    </a:lnTo>
                    <a:lnTo>
                      <a:pt x="252" y="786"/>
                    </a:lnTo>
                    <a:lnTo>
                      <a:pt x="258" y="774"/>
                    </a:lnTo>
                    <a:lnTo>
                      <a:pt x="270" y="762"/>
                    </a:lnTo>
                    <a:lnTo>
                      <a:pt x="288" y="762"/>
                    </a:lnTo>
                    <a:lnTo>
                      <a:pt x="300" y="774"/>
                    </a:lnTo>
                    <a:lnTo>
                      <a:pt x="330" y="774"/>
                    </a:lnTo>
                    <a:lnTo>
                      <a:pt x="354" y="762"/>
                    </a:lnTo>
                    <a:lnTo>
                      <a:pt x="360" y="762"/>
                    </a:lnTo>
                    <a:lnTo>
                      <a:pt x="366" y="768"/>
                    </a:lnTo>
                    <a:lnTo>
                      <a:pt x="378" y="768"/>
                    </a:lnTo>
                    <a:lnTo>
                      <a:pt x="390" y="774"/>
                    </a:lnTo>
                    <a:lnTo>
                      <a:pt x="396" y="774"/>
                    </a:lnTo>
                    <a:lnTo>
                      <a:pt x="396" y="768"/>
                    </a:lnTo>
                    <a:lnTo>
                      <a:pt x="390" y="762"/>
                    </a:lnTo>
                    <a:lnTo>
                      <a:pt x="390" y="750"/>
                    </a:lnTo>
                    <a:lnTo>
                      <a:pt x="396" y="750"/>
                    </a:lnTo>
                    <a:lnTo>
                      <a:pt x="408" y="756"/>
                    </a:lnTo>
                    <a:lnTo>
                      <a:pt x="414" y="762"/>
                    </a:lnTo>
                    <a:lnTo>
                      <a:pt x="426" y="756"/>
                    </a:lnTo>
                    <a:lnTo>
                      <a:pt x="498" y="756"/>
                    </a:lnTo>
                    <a:lnTo>
                      <a:pt x="522" y="750"/>
                    </a:lnTo>
                    <a:lnTo>
                      <a:pt x="534" y="744"/>
                    </a:lnTo>
                    <a:lnTo>
                      <a:pt x="540" y="732"/>
                    </a:lnTo>
                    <a:lnTo>
                      <a:pt x="546" y="726"/>
                    </a:lnTo>
                    <a:lnTo>
                      <a:pt x="552" y="714"/>
                    </a:lnTo>
                    <a:lnTo>
                      <a:pt x="498" y="708"/>
                    </a:lnTo>
                    <a:lnTo>
                      <a:pt x="522" y="702"/>
                    </a:lnTo>
                    <a:lnTo>
                      <a:pt x="516" y="684"/>
                    </a:lnTo>
                    <a:lnTo>
                      <a:pt x="528" y="672"/>
                    </a:lnTo>
                    <a:lnTo>
                      <a:pt x="540" y="666"/>
                    </a:lnTo>
                    <a:lnTo>
                      <a:pt x="546" y="666"/>
                    </a:lnTo>
                    <a:lnTo>
                      <a:pt x="558" y="660"/>
                    </a:lnTo>
                    <a:lnTo>
                      <a:pt x="564" y="654"/>
                    </a:lnTo>
                    <a:lnTo>
                      <a:pt x="576" y="618"/>
                    </a:lnTo>
                    <a:lnTo>
                      <a:pt x="570" y="606"/>
                    </a:lnTo>
                    <a:lnTo>
                      <a:pt x="564" y="600"/>
                    </a:lnTo>
                    <a:lnTo>
                      <a:pt x="552" y="594"/>
                    </a:lnTo>
                    <a:lnTo>
                      <a:pt x="540" y="594"/>
                    </a:lnTo>
                    <a:lnTo>
                      <a:pt x="528" y="588"/>
                    </a:lnTo>
                    <a:lnTo>
                      <a:pt x="504" y="588"/>
                    </a:lnTo>
                    <a:close/>
                    <a:moveTo>
                      <a:pt x="222" y="486"/>
                    </a:moveTo>
                    <a:lnTo>
                      <a:pt x="216" y="480"/>
                    </a:lnTo>
                    <a:lnTo>
                      <a:pt x="204" y="480"/>
                    </a:lnTo>
                    <a:lnTo>
                      <a:pt x="204" y="486"/>
                    </a:lnTo>
                    <a:lnTo>
                      <a:pt x="198" y="498"/>
                    </a:lnTo>
                    <a:lnTo>
                      <a:pt x="192" y="504"/>
                    </a:lnTo>
                    <a:lnTo>
                      <a:pt x="210" y="504"/>
                    </a:lnTo>
                    <a:lnTo>
                      <a:pt x="222" y="492"/>
                    </a:lnTo>
                    <a:lnTo>
                      <a:pt x="222" y="486"/>
                    </a:lnTo>
                    <a:close/>
                    <a:moveTo>
                      <a:pt x="126" y="504"/>
                    </a:moveTo>
                    <a:lnTo>
                      <a:pt x="132" y="498"/>
                    </a:lnTo>
                    <a:lnTo>
                      <a:pt x="132" y="492"/>
                    </a:lnTo>
                    <a:lnTo>
                      <a:pt x="144" y="492"/>
                    </a:lnTo>
                    <a:lnTo>
                      <a:pt x="150" y="480"/>
                    </a:lnTo>
                    <a:lnTo>
                      <a:pt x="156" y="474"/>
                    </a:lnTo>
                    <a:lnTo>
                      <a:pt x="156" y="462"/>
                    </a:lnTo>
                    <a:lnTo>
                      <a:pt x="138" y="444"/>
                    </a:lnTo>
                    <a:lnTo>
                      <a:pt x="138" y="432"/>
                    </a:lnTo>
                    <a:lnTo>
                      <a:pt x="132" y="438"/>
                    </a:lnTo>
                    <a:lnTo>
                      <a:pt x="126" y="426"/>
                    </a:lnTo>
                    <a:lnTo>
                      <a:pt x="120" y="420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30" y="450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18" y="468"/>
                    </a:lnTo>
                    <a:lnTo>
                      <a:pt x="12" y="468"/>
                    </a:lnTo>
                    <a:lnTo>
                      <a:pt x="0" y="480"/>
                    </a:lnTo>
                    <a:lnTo>
                      <a:pt x="6" y="486"/>
                    </a:lnTo>
                    <a:lnTo>
                      <a:pt x="30" y="498"/>
                    </a:lnTo>
                    <a:lnTo>
                      <a:pt x="42" y="498"/>
                    </a:lnTo>
                    <a:lnTo>
                      <a:pt x="66" y="474"/>
                    </a:lnTo>
                    <a:lnTo>
                      <a:pt x="84" y="498"/>
                    </a:lnTo>
                    <a:lnTo>
                      <a:pt x="120" y="504"/>
                    </a:lnTo>
                    <a:lnTo>
                      <a:pt x="126" y="504"/>
                    </a:lnTo>
                    <a:close/>
                    <a:moveTo>
                      <a:pt x="78" y="228"/>
                    </a:moveTo>
                    <a:lnTo>
                      <a:pt x="72" y="228"/>
                    </a:lnTo>
                    <a:lnTo>
                      <a:pt x="66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84" y="228"/>
                    </a:lnTo>
                    <a:lnTo>
                      <a:pt x="78" y="228"/>
                    </a:lnTo>
                    <a:close/>
                    <a:moveTo>
                      <a:pt x="108" y="210"/>
                    </a:moveTo>
                    <a:lnTo>
                      <a:pt x="126" y="210"/>
                    </a:lnTo>
                    <a:lnTo>
                      <a:pt x="132" y="204"/>
                    </a:lnTo>
                    <a:lnTo>
                      <a:pt x="132" y="198"/>
                    </a:lnTo>
                    <a:lnTo>
                      <a:pt x="138" y="186"/>
                    </a:lnTo>
                    <a:lnTo>
                      <a:pt x="150" y="174"/>
                    </a:lnTo>
                    <a:lnTo>
                      <a:pt x="150" y="168"/>
                    </a:lnTo>
                    <a:lnTo>
                      <a:pt x="138" y="174"/>
                    </a:lnTo>
                    <a:lnTo>
                      <a:pt x="132" y="174"/>
                    </a:lnTo>
                    <a:lnTo>
                      <a:pt x="114" y="192"/>
                    </a:lnTo>
                    <a:lnTo>
                      <a:pt x="108" y="186"/>
                    </a:lnTo>
                    <a:lnTo>
                      <a:pt x="96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6" y="216"/>
                    </a:lnTo>
                    <a:lnTo>
                      <a:pt x="96" y="228"/>
                    </a:lnTo>
                    <a:lnTo>
                      <a:pt x="108" y="210"/>
                    </a:lnTo>
                    <a:close/>
                    <a:moveTo>
                      <a:pt x="72" y="252"/>
                    </a:moveTo>
                    <a:lnTo>
                      <a:pt x="60" y="282"/>
                    </a:lnTo>
                    <a:lnTo>
                      <a:pt x="78" y="258"/>
                    </a:lnTo>
                    <a:lnTo>
                      <a:pt x="72" y="25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27" name="Ukrai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717BF18-15A0-B1F3-F633-44BE9343995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60282" y="2027310"/>
                <a:ext cx="501958" cy="282057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28" name="Turke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33E01EF-FBD3-23A4-C863-65384E0D202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63157" y="2387421"/>
                <a:ext cx="597738" cy="227063"/>
              </a:xfrm>
              <a:custGeom>
                <a:avLst/>
                <a:gdLst>
                  <a:gd name="T0" fmla="*/ 2147483647 w 1332"/>
                  <a:gd name="T1" fmla="*/ 2147483647 h 510"/>
                  <a:gd name="T2" fmla="*/ 2147483647 w 1332"/>
                  <a:gd name="T3" fmla="*/ 2147483647 h 510"/>
                  <a:gd name="T4" fmla="*/ 2147483647 w 1332"/>
                  <a:gd name="T5" fmla="*/ 2147483647 h 510"/>
                  <a:gd name="T6" fmla="*/ 2147483647 w 1332"/>
                  <a:gd name="T7" fmla="*/ 2147483647 h 510"/>
                  <a:gd name="T8" fmla="*/ 2147483647 w 1332"/>
                  <a:gd name="T9" fmla="*/ 2147483647 h 510"/>
                  <a:gd name="T10" fmla="*/ 2147483647 w 1332"/>
                  <a:gd name="T11" fmla="*/ 2147483647 h 510"/>
                  <a:gd name="T12" fmla="*/ 2147483647 w 1332"/>
                  <a:gd name="T13" fmla="*/ 2147483647 h 510"/>
                  <a:gd name="T14" fmla="*/ 2147483647 w 1332"/>
                  <a:gd name="T15" fmla="*/ 2147483647 h 510"/>
                  <a:gd name="T16" fmla="*/ 2147483647 w 1332"/>
                  <a:gd name="T17" fmla="*/ 2147483647 h 510"/>
                  <a:gd name="T18" fmla="*/ 2147483647 w 1332"/>
                  <a:gd name="T19" fmla="*/ 2147483647 h 510"/>
                  <a:gd name="T20" fmla="*/ 2147483647 w 1332"/>
                  <a:gd name="T21" fmla="*/ 2147483647 h 510"/>
                  <a:gd name="T22" fmla="*/ 2147483647 w 1332"/>
                  <a:gd name="T23" fmla="*/ 2147483647 h 510"/>
                  <a:gd name="T24" fmla="*/ 2147483647 w 1332"/>
                  <a:gd name="T25" fmla="*/ 2147483647 h 510"/>
                  <a:gd name="T26" fmla="*/ 2147483647 w 1332"/>
                  <a:gd name="T27" fmla="*/ 2147483647 h 510"/>
                  <a:gd name="T28" fmla="*/ 2147483647 w 1332"/>
                  <a:gd name="T29" fmla="*/ 2147483647 h 510"/>
                  <a:gd name="T30" fmla="*/ 2147483647 w 1332"/>
                  <a:gd name="T31" fmla="*/ 2147483647 h 510"/>
                  <a:gd name="T32" fmla="*/ 2147483647 w 1332"/>
                  <a:gd name="T33" fmla="*/ 2147483647 h 510"/>
                  <a:gd name="T34" fmla="*/ 2147483647 w 1332"/>
                  <a:gd name="T35" fmla="*/ 2147483647 h 510"/>
                  <a:gd name="T36" fmla="*/ 2147483647 w 1332"/>
                  <a:gd name="T37" fmla="*/ 2147483647 h 510"/>
                  <a:gd name="T38" fmla="*/ 2147483647 w 1332"/>
                  <a:gd name="T39" fmla="*/ 2147483647 h 510"/>
                  <a:gd name="T40" fmla="*/ 2147483647 w 1332"/>
                  <a:gd name="T41" fmla="*/ 2147483647 h 510"/>
                  <a:gd name="T42" fmla="*/ 2147483647 w 1332"/>
                  <a:gd name="T43" fmla="*/ 2147483647 h 510"/>
                  <a:gd name="T44" fmla="*/ 2147483647 w 1332"/>
                  <a:gd name="T45" fmla="*/ 2147483647 h 510"/>
                  <a:gd name="T46" fmla="*/ 2147483647 w 1332"/>
                  <a:gd name="T47" fmla="*/ 2147483647 h 510"/>
                  <a:gd name="T48" fmla="*/ 2147483647 w 1332"/>
                  <a:gd name="T49" fmla="*/ 2147483647 h 510"/>
                  <a:gd name="T50" fmla="*/ 2147483647 w 1332"/>
                  <a:gd name="T51" fmla="*/ 2147483647 h 510"/>
                  <a:gd name="T52" fmla="*/ 2147483647 w 1332"/>
                  <a:gd name="T53" fmla="*/ 2147483647 h 510"/>
                  <a:gd name="T54" fmla="*/ 2147483647 w 1332"/>
                  <a:gd name="T55" fmla="*/ 2147483647 h 510"/>
                  <a:gd name="T56" fmla="*/ 2147483647 w 1332"/>
                  <a:gd name="T57" fmla="*/ 2147483647 h 510"/>
                  <a:gd name="T58" fmla="*/ 2147483647 w 1332"/>
                  <a:gd name="T59" fmla="*/ 2147483647 h 510"/>
                  <a:gd name="T60" fmla="*/ 2147483647 w 1332"/>
                  <a:gd name="T61" fmla="*/ 2147483647 h 510"/>
                  <a:gd name="T62" fmla="*/ 2147483647 w 1332"/>
                  <a:gd name="T63" fmla="*/ 2147483647 h 510"/>
                  <a:gd name="T64" fmla="*/ 2147483647 w 1332"/>
                  <a:gd name="T65" fmla="*/ 2147483647 h 510"/>
                  <a:gd name="T66" fmla="*/ 2147483647 w 1332"/>
                  <a:gd name="T67" fmla="*/ 2147483647 h 510"/>
                  <a:gd name="T68" fmla="*/ 2147483647 w 1332"/>
                  <a:gd name="T69" fmla="*/ 2147483647 h 510"/>
                  <a:gd name="T70" fmla="*/ 2147483647 w 1332"/>
                  <a:gd name="T71" fmla="*/ 2147483647 h 510"/>
                  <a:gd name="T72" fmla="*/ 2147483647 w 1332"/>
                  <a:gd name="T73" fmla="*/ 2147483647 h 510"/>
                  <a:gd name="T74" fmla="*/ 2147483647 w 1332"/>
                  <a:gd name="T75" fmla="*/ 2147483647 h 510"/>
                  <a:gd name="T76" fmla="*/ 2147483647 w 1332"/>
                  <a:gd name="T77" fmla="*/ 2147483647 h 510"/>
                  <a:gd name="T78" fmla="*/ 2147483647 w 1332"/>
                  <a:gd name="T79" fmla="*/ 2147483647 h 510"/>
                  <a:gd name="T80" fmla="*/ 2147483647 w 1332"/>
                  <a:gd name="T81" fmla="*/ 2147483647 h 510"/>
                  <a:gd name="T82" fmla="*/ 2147483647 w 1332"/>
                  <a:gd name="T83" fmla="*/ 2147483647 h 510"/>
                  <a:gd name="T84" fmla="*/ 2147483647 w 1332"/>
                  <a:gd name="T85" fmla="*/ 2147483647 h 510"/>
                  <a:gd name="T86" fmla="*/ 2147483647 w 1332"/>
                  <a:gd name="T87" fmla="*/ 2147483647 h 510"/>
                  <a:gd name="T88" fmla="*/ 2147483647 w 1332"/>
                  <a:gd name="T89" fmla="*/ 2147483647 h 510"/>
                  <a:gd name="T90" fmla="*/ 2147483647 w 1332"/>
                  <a:gd name="T91" fmla="*/ 2147483647 h 510"/>
                  <a:gd name="T92" fmla="*/ 2147483647 w 1332"/>
                  <a:gd name="T93" fmla="*/ 2147483647 h 510"/>
                  <a:gd name="T94" fmla="*/ 2147483647 w 1332"/>
                  <a:gd name="T95" fmla="*/ 2147483647 h 510"/>
                  <a:gd name="T96" fmla="*/ 2147483647 w 1332"/>
                  <a:gd name="T97" fmla="*/ 2147483647 h 510"/>
                  <a:gd name="T98" fmla="*/ 2147483647 w 1332"/>
                  <a:gd name="T99" fmla="*/ 2147483647 h 510"/>
                  <a:gd name="T100" fmla="*/ 2147483647 w 1332"/>
                  <a:gd name="T101" fmla="*/ 2147483647 h 510"/>
                  <a:gd name="T102" fmla="*/ 2147483647 w 1332"/>
                  <a:gd name="T103" fmla="*/ 2147483647 h 510"/>
                  <a:gd name="T104" fmla="*/ 2147483647 w 1332"/>
                  <a:gd name="T105" fmla="*/ 2147483647 h 510"/>
                  <a:gd name="T106" fmla="*/ 2147483647 w 1332"/>
                  <a:gd name="T107" fmla="*/ 2147483647 h 510"/>
                  <a:gd name="T108" fmla="*/ 2147483647 w 1332"/>
                  <a:gd name="T109" fmla="*/ 2147483647 h 510"/>
                  <a:gd name="T110" fmla="*/ 2147483647 w 1332"/>
                  <a:gd name="T111" fmla="*/ 2147483647 h 510"/>
                  <a:gd name="T112" fmla="*/ 2147483647 w 1332"/>
                  <a:gd name="T113" fmla="*/ 2147483647 h 510"/>
                  <a:gd name="T114" fmla="*/ 2147483647 w 1332"/>
                  <a:gd name="T115" fmla="*/ 2147483647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32"/>
                  <a:gd name="T175" fmla="*/ 0 h 510"/>
                  <a:gd name="T176" fmla="*/ 1332 w 1332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32" h="510">
                    <a:moveTo>
                      <a:pt x="6" y="192"/>
                    </a:moveTo>
                    <a:lnTo>
                      <a:pt x="24" y="186"/>
                    </a:lnTo>
                    <a:lnTo>
                      <a:pt x="30" y="174"/>
                    </a:lnTo>
                    <a:lnTo>
                      <a:pt x="0" y="174"/>
                    </a:lnTo>
                    <a:lnTo>
                      <a:pt x="6" y="192"/>
                    </a:lnTo>
                    <a:close/>
                    <a:moveTo>
                      <a:pt x="42" y="162"/>
                    </a:move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42" y="162"/>
                    </a:lnTo>
                    <a:close/>
                    <a:moveTo>
                      <a:pt x="96" y="138"/>
                    </a:moveTo>
                    <a:lnTo>
                      <a:pt x="66" y="138"/>
                    </a:lnTo>
                    <a:lnTo>
                      <a:pt x="66" y="174"/>
                    </a:lnTo>
                    <a:lnTo>
                      <a:pt x="78" y="150"/>
                    </a:lnTo>
                    <a:lnTo>
                      <a:pt x="96" y="138"/>
                    </a:lnTo>
                    <a:close/>
                    <a:moveTo>
                      <a:pt x="1332" y="402"/>
                    </a:moveTo>
                    <a:lnTo>
                      <a:pt x="1332" y="390"/>
                    </a:lnTo>
                    <a:lnTo>
                      <a:pt x="1308" y="384"/>
                    </a:lnTo>
                    <a:lnTo>
                      <a:pt x="1308" y="354"/>
                    </a:lnTo>
                    <a:lnTo>
                      <a:pt x="1272" y="336"/>
                    </a:lnTo>
                    <a:lnTo>
                      <a:pt x="1278" y="330"/>
                    </a:lnTo>
                    <a:lnTo>
                      <a:pt x="1284" y="318"/>
                    </a:lnTo>
                    <a:lnTo>
                      <a:pt x="1284" y="312"/>
                    </a:lnTo>
                    <a:lnTo>
                      <a:pt x="1290" y="306"/>
                    </a:lnTo>
                    <a:lnTo>
                      <a:pt x="1284" y="306"/>
                    </a:lnTo>
                    <a:lnTo>
                      <a:pt x="1278" y="300"/>
                    </a:lnTo>
                    <a:lnTo>
                      <a:pt x="1278" y="288"/>
                    </a:lnTo>
                    <a:lnTo>
                      <a:pt x="1266" y="276"/>
                    </a:lnTo>
                    <a:lnTo>
                      <a:pt x="1266" y="246"/>
                    </a:lnTo>
                    <a:lnTo>
                      <a:pt x="1248" y="222"/>
                    </a:lnTo>
                    <a:lnTo>
                      <a:pt x="1272" y="222"/>
                    </a:lnTo>
                    <a:lnTo>
                      <a:pt x="1272" y="216"/>
                    </a:lnTo>
                    <a:lnTo>
                      <a:pt x="1278" y="210"/>
                    </a:lnTo>
                    <a:lnTo>
                      <a:pt x="1272" y="198"/>
                    </a:lnTo>
                    <a:lnTo>
                      <a:pt x="1272" y="186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60" y="174"/>
                    </a:lnTo>
                    <a:lnTo>
                      <a:pt x="1248" y="180"/>
                    </a:lnTo>
                    <a:lnTo>
                      <a:pt x="1236" y="180"/>
                    </a:lnTo>
                    <a:lnTo>
                      <a:pt x="1224" y="174"/>
                    </a:lnTo>
                    <a:lnTo>
                      <a:pt x="1218" y="168"/>
                    </a:lnTo>
                    <a:lnTo>
                      <a:pt x="1212" y="156"/>
                    </a:lnTo>
                    <a:lnTo>
                      <a:pt x="1212" y="144"/>
                    </a:lnTo>
                    <a:lnTo>
                      <a:pt x="1200" y="108"/>
                    </a:lnTo>
                    <a:lnTo>
                      <a:pt x="1194" y="96"/>
                    </a:lnTo>
                    <a:lnTo>
                      <a:pt x="1194" y="84"/>
                    </a:lnTo>
                    <a:lnTo>
                      <a:pt x="1188" y="78"/>
                    </a:lnTo>
                    <a:lnTo>
                      <a:pt x="1164" y="78"/>
                    </a:lnTo>
                    <a:lnTo>
                      <a:pt x="1164" y="72"/>
                    </a:lnTo>
                    <a:lnTo>
                      <a:pt x="1158" y="60"/>
                    </a:lnTo>
                    <a:lnTo>
                      <a:pt x="1152" y="54"/>
                    </a:lnTo>
                    <a:lnTo>
                      <a:pt x="1140" y="48"/>
                    </a:lnTo>
                    <a:lnTo>
                      <a:pt x="1128" y="48"/>
                    </a:lnTo>
                    <a:lnTo>
                      <a:pt x="1116" y="54"/>
                    </a:lnTo>
                    <a:lnTo>
                      <a:pt x="1110" y="60"/>
                    </a:lnTo>
                    <a:lnTo>
                      <a:pt x="1074" y="54"/>
                    </a:lnTo>
                    <a:lnTo>
                      <a:pt x="1062" y="66"/>
                    </a:lnTo>
                    <a:lnTo>
                      <a:pt x="1026" y="90"/>
                    </a:lnTo>
                    <a:lnTo>
                      <a:pt x="1014" y="96"/>
                    </a:lnTo>
                    <a:lnTo>
                      <a:pt x="930" y="96"/>
                    </a:lnTo>
                    <a:lnTo>
                      <a:pt x="876" y="108"/>
                    </a:lnTo>
                    <a:lnTo>
                      <a:pt x="810" y="84"/>
                    </a:lnTo>
                    <a:lnTo>
                      <a:pt x="786" y="96"/>
                    </a:lnTo>
                    <a:lnTo>
                      <a:pt x="786" y="90"/>
                    </a:lnTo>
                    <a:lnTo>
                      <a:pt x="780" y="84"/>
                    </a:lnTo>
                    <a:lnTo>
                      <a:pt x="774" y="72"/>
                    </a:lnTo>
                    <a:lnTo>
                      <a:pt x="768" y="66"/>
                    </a:lnTo>
                    <a:lnTo>
                      <a:pt x="756" y="66"/>
                    </a:lnTo>
                    <a:lnTo>
                      <a:pt x="744" y="72"/>
                    </a:lnTo>
                    <a:lnTo>
                      <a:pt x="738" y="78"/>
                    </a:lnTo>
                    <a:lnTo>
                      <a:pt x="708" y="60"/>
                    </a:lnTo>
                    <a:lnTo>
                      <a:pt x="708" y="36"/>
                    </a:lnTo>
                    <a:lnTo>
                      <a:pt x="660" y="48"/>
                    </a:lnTo>
                    <a:lnTo>
                      <a:pt x="636" y="30"/>
                    </a:lnTo>
                    <a:lnTo>
                      <a:pt x="630" y="12"/>
                    </a:lnTo>
                    <a:lnTo>
                      <a:pt x="624" y="12"/>
                    </a:lnTo>
                    <a:lnTo>
                      <a:pt x="618" y="18"/>
                    </a:lnTo>
                    <a:lnTo>
                      <a:pt x="600" y="18"/>
                    </a:lnTo>
                    <a:lnTo>
                      <a:pt x="588" y="24"/>
                    </a:lnTo>
                    <a:lnTo>
                      <a:pt x="558" y="24"/>
                    </a:lnTo>
                    <a:lnTo>
                      <a:pt x="534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56" y="36"/>
                    </a:lnTo>
                    <a:lnTo>
                      <a:pt x="444" y="42"/>
                    </a:lnTo>
                    <a:lnTo>
                      <a:pt x="438" y="48"/>
                    </a:lnTo>
                    <a:lnTo>
                      <a:pt x="426" y="54"/>
                    </a:lnTo>
                    <a:lnTo>
                      <a:pt x="414" y="66"/>
                    </a:lnTo>
                    <a:lnTo>
                      <a:pt x="408" y="66"/>
                    </a:lnTo>
                    <a:lnTo>
                      <a:pt x="396" y="90"/>
                    </a:lnTo>
                    <a:lnTo>
                      <a:pt x="378" y="90"/>
                    </a:lnTo>
                    <a:lnTo>
                      <a:pt x="354" y="84"/>
                    </a:lnTo>
                    <a:lnTo>
                      <a:pt x="294" y="84"/>
                    </a:lnTo>
                    <a:lnTo>
                      <a:pt x="282" y="78"/>
                    </a:lnTo>
                    <a:lnTo>
                      <a:pt x="264" y="78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34" y="66"/>
                    </a:lnTo>
                    <a:lnTo>
                      <a:pt x="198" y="66"/>
                    </a:lnTo>
                    <a:lnTo>
                      <a:pt x="186" y="54"/>
                    </a:lnTo>
                    <a:lnTo>
                      <a:pt x="180" y="36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56" y="18"/>
                    </a:lnTo>
                    <a:lnTo>
                      <a:pt x="144" y="18"/>
                    </a:lnTo>
                    <a:lnTo>
                      <a:pt x="132" y="0"/>
                    </a:lnTo>
                    <a:lnTo>
                      <a:pt x="120" y="18"/>
                    </a:lnTo>
                    <a:lnTo>
                      <a:pt x="90" y="12"/>
                    </a:lnTo>
                    <a:lnTo>
                      <a:pt x="72" y="36"/>
                    </a:lnTo>
                    <a:lnTo>
                      <a:pt x="78" y="42"/>
                    </a:lnTo>
                    <a:lnTo>
                      <a:pt x="90" y="42"/>
                    </a:lnTo>
                    <a:lnTo>
                      <a:pt x="90" y="48"/>
                    </a:lnTo>
                    <a:lnTo>
                      <a:pt x="96" y="54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66" y="120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90" y="126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8" y="120"/>
                    </a:lnTo>
                    <a:lnTo>
                      <a:pt x="162" y="96"/>
                    </a:lnTo>
                    <a:lnTo>
                      <a:pt x="168" y="96"/>
                    </a:lnTo>
                    <a:lnTo>
                      <a:pt x="174" y="90"/>
                    </a:lnTo>
                    <a:lnTo>
                      <a:pt x="186" y="90"/>
                    </a:lnTo>
                    <a:lnTo>
                      <a:pt x="204" y="84"/>
                    </a:lnTo>
                    <a:lnTo>
                      <a:pt x="216" y="84"/>
                    </a:lnTo>
                    <a:lnTo>
                      <a:pt x="252" y="102"/>
                    </a:lnTo>
                    <a:lnTo>
                      <a:pt x="270" y="108"/>
                    </a:lnTo>
                    <a:lnTo>
                      <a:pt x="282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270" y="114"/>
                    </a:lnTo>
                    <a:lnTo>
                      <a:pt x="258" y="120"/>
                    </a:lnTo>
                    <a:lnTo>
                      <a:pt x="246" y="120"/>
                    </a:lnTo>
                    <a:lnTo>
                      <a:pt x="246" y="132"/>
                    </a:lnTo>
                    <a:lnTo>
                      <a:pt x="240" y="138"/>
                    </a:lnTo>
                    <a:lnTo>
                      <a:pt x="186" y="144"/>
                    </a:lnTo>
                    <a:lnTo>
                      <a:pt x="138" y="138"/>
                    </a:lnTo>
                    <a:lnTo>
                      <a:pt x="120" y="138"/>
                    </a:lnTo>
                    <a:lnTo>
                      <a:pt x="96" y="150"/>
                    </a:lnTo>
                    <a:lnTo>
                      <a:pt x="84" y="162"/>
                    </a:lnTo>
                    <a:lnTo>
                      <a:pt x="84" y="174"/>
                    </a:lnTo>
                    <a:lnTo>
                      <a:pt x="78" y="192"/>
                    </a:lnTo>
                    <a:lnTo>
                      <a:pt x="78" y="204"/>
                    </a:lnTo>
                    <a:lnTo>
                      <a:pt x="72" y="210"/>
                    </a:lnTo>
                    <a:lnTo>
                      <a:pt x="72" y="216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20" y="246"/>
                    </a:lnTo>
                    <a:lnTo>
                      <a:pt x="126" y="258"/>
                    </a:lnTo>
                    <a:lnTo>
                      <a:pt x="132" y="264"/>
                    </a:lnTo>
                    <a:lnTo>
                      <a:pt x="126" y="282"/>
                    </a:lnTo>
                    <a:lnTo>
                      <a:pt x="138" y="300"/>
                    </a:lnTo>
                    <a:lnTo>
                      <a:pt x="126" y="318"/>
                    </a:lnTo>
                    <a:lnTo>
                      <a:pt x="162" y="354"/>
                    </a:lnTo>
                    <a:lnTo>
                      <a:pt x="156" y="390"/>
                    </a:lnTo>
                    <a:lnTo>
                      <a:pt x="210" y="414"/>
                    </a:lnTo>
                    <a:lnTo>
                      <a:pt x="216" y="444"/>
                    </a:lnTo>
                    <a:lnTo>
                      <a:pt x="216" y="438"/>
                    </a:lnTo>
                    <a:lnTo>
                      <a:pt x="222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64" y="450"/>
                    </a:lnTo>
                    <a:lnTo>
                      <a:pt x="270" y="462"/>
                    </a:lnTo>
                    <a:lnTo>
                      <a:pt x="282" y="468"/>
                    </a:lnTo>
                    <a:lnTo>
                      <a:pt x="294" y="468"/>
                    </a:lnTo>
                    <a:lnTo>
                      <a:pt x="312" y="474"/>
                    </a:lnTo>
                    <a:lnTo>
                      <a:pt x="372" y="474"/>
                    </a:lnTo>
                    <a:lnTo>
                      <a:pt x="372" y="450"/>
                    </a:lnTo>
                    <a:lnTo>
                      <a:pt x="378" y="438"/>
                    </a:lnTo>
                    <a:lnTo>
                      <a:pt x="390" y="426"/>
                    </a:lnTo>
                    <a:lnTo>
                      <a:pt x="408" y="426"/>
                    </a:lnTo>
                    <a:lnTo>
                      <a:pt x="432" y="432"/>
                    </a:lnTo>
                    <a:lnTo>
                      <a:pt x="468" y="444"/>
                    </a:lnTo>
                    <a:lnTo>
                      <a:pt x="474" y="450"/>
                    </a:lnTo>
                    <a:lnTo>
                      <a:pt x="480" y="450"/>
                    </a:lnTo>
                    <a:lnTo>
                      <a:pt x="480" y="456"/>
                    </a:lnTo>
                    <a:lnTo>
                      <a:pt x="486" y="468"/>
                    </a:lnTo>
                    <a:lnTo>
                      <a:pt x="486" y="474"/>
                    </a:lnTo>
                    <a:lnTo>
                      <a:pt x="492" y="480"/>
                    </a:lnTo>
                    <a:lnTo>
                      <a:pt x="504" y="486"/>
                    </a:lnTo>
                    <a:lnTo>
                      <a:pt x="564" y="486"/>
                    </a:lnTo>
                    <a:lnTo>
                      <a:pt x="576" y="480"/>
                    </a:lnTo>
                    <a:lnTo>
                      <a:pt x="594" y="474"/>
                    </a:lnTo>
                    <a:lnTo>
                      <a:pt x="606" y="462"/>
                    </a:lnTo>
                    <a:lnTo>
                      <a:pt x="618" y="456"/>
                    </a:lnTo>
                    <a:lnTo>
                      <a:pt x="630" y="444"/>
                    </a:lnTo>
                    <a:lnTo>
                      <a:pt x="648" y="438"/>
                    </a:lnTo>
                    <a:lnTo>
                      <a:pt x="660" y="432"/>
                    </a:lnTo>
                    <a:lnTo>
                      <a:pt x="672" y="432"/>
                    </a:lnTo>
                    <a:lnTo>
                      <a:pt x="684" y="438"/>
                    </a:lnTo>
                    <a:lnTo>
                      <a:pt x="690" y="444"/>
                    </a:lnTo>
                    <a:lnTo>
                      <a:pt x="696" y="444"/>
                    </a:lnTo>
                    <a:lnTo>
                      <a:pt x="702" y="450"/>
                    </a:lnTo>
                    <a:lnTo>
                      <a:pt x="714" y="450"/>
                    </a:lnTo>
                    <a:lnTo>
                      <a:pt x="726" y="444"/>
                    </a:lnTo>
                    <a:lnTo>
                      <a:pt x="732" y="432"/>
                    </a:lnTo>
                    <a:lnTo>
                      <a:pt x="744" y="420"/>
                    </a:lnTo>
                    <a:lnTo>
                      <a:pt x="756" y="432"/>
                    </a:lnTo>
                    <a:lnTo>
                      <a:pt x="756" y="444"/>
                    </a:lnTo>
                    <a:lnTo>
                      <a:pt x="750" y="450"/>
                    </a:lnTo>
                    <a:lnTo>
                      <a:pt x="744" y="462"/>
                    </a:lnTo>
                    <a:lnTo>
                      <a:pt x="744" y="468"/>
                    </a:lnTo>
                    <a:lnTo>
                      <a:pt x="738" y="474"/>
                    </a:lnTo>
                    <a:lnTo>
                      <a:pt x="738" y="486"/>
                    </a:lnTo>
                    <a:lnTo>
                      <a:pt x="744" y="492"/>
                    </a:lnTo>
                    <a:lnTo>
                      <a:pt x="744" y="498"/>
                    </a:lnTo>
                    <a:lnTo>
                      <a:pt x="756" y="510"/>
                    </a:lnTo>
                    <a:lnTo>
                      <a:pt x="768" y="510"/>
                    </a:lnTo>
                    <a:lnTo>
                      <a:pt x="768" y="504"/>
                    </a:lnTo>
                    <a:lnTo>
                      <a:pt x="774" y="498"/>
                    </a:lnTo>
                    <a:lnTo>
                      <a:pt x="774" y="480"/>
                    </a:lnTo>
                    <a:lnTo>
                      <a:pt x="780" y="486"/>
                    </a:lnTo>
                    <a:lnTo>
                      <a:pt x="792" y="486"/>
                    </a:lnTo>
                    <a:lnTo>
                      <a:pt x="792" y="462"/>
                    </a:lnTo>
                    <a:lnTo>
                      <a:pt x="786" y="462"/>
                    </a:lnTo>
                    <a:lnTo>
                      <a:pt x="786" y="432"/>
                    </a:lnTo>
                    <a:lnTo>
                      <a:pt x="810" y="432"/>
                    </a:lnTo>
                    <a:lnTo>
                      <a:pt x="804" y="438"/>
                    </a:lnTo>
                    <a:lnTo>
                      <a:pt x="804" y="444"/>
                    </a:lnTo>
                    <a:lnTo>
                      <a:pt x="840" y="444"/>
                    </a:lnTo>
                    <a:lnTo>
                      <a:pt x="858" y="438"/>
                    </a:lnTo>
                    <a:lnTo>
                      <a:pt x="864" y="432"/>
                    </a:lnTo>
                    <a:lnTo>
                      <a:pt x="870" y="432"/>
                    </a:lnTo>
                    <a:lnTo>
                      <a:pt x="888" y="414"/>
                    </a:lnTo>
                    <a:lnTo>
                      <a:pt x="894" y="414"/>
                    </a:lnTo>
                    <a:lnTo>
                      <a:pt x="900" y="420"/>
                    </a:lnTo>
                    <a:lnTo>
                      <a:pt x="912" y="426"/>
                    </a:lnTo>
                    <a:lnTo>
                      <a:pt x="924" y="438"/>
                    </a:lnTo>
                    <a:lnTo>
                      <a:pt x="942" y="438"/>
                    </a:lnTo>
                    <a:lnTo>
                      <a:pt x="954" y="444"/>
                    </a:lnTo>
                    <a:lnTo>
                      <a:pt x="966" y="444"/>
                    </a:lnTo>
                    <a:lnTo>
                      <a:pt x="978" y="438"/>
                    </a:lnTo>
                    <a:lnTo>
                      <a:pt x="996" y="438"/>
                    </a:lnTo>
                    <a:lnTo>
                      <a:pt x="1002" y="432"/>
                    </a:lnTo>
                    <a:lnTo>
                      <a:pt x="1014" y="426"/>
                    </a:lnTo>
                    <a:lnTo>
                      <a:pt x="1026" y="414"/>
                    </a:lnTo>
                    <a:lnTo>
                      <a:pt x="1038" y="408"/>
                    </a:lnTo>
                    <a:lnTo>
                      <a:pt x="1086" y="408"/>
                    </a:lnTo>
                    <a:lnTo>
                      <a:pt x="1092" y="414"/>
                    </a:lnTo>
                    <a:lnTo>
                      <a:pt x="1110" y="414"/>
                    </a:lnTo>
                    <a:lnTo>
                      <a:pt x="1122" y="402"/>
                    </a:lnTo>
                    <a:lnTo>
                      <a:pt x="1146" y="402"/>
                    </a:lnTo>
                    <a:lnTo>
                      <a:pt x="1152" y="390"/>
                    </a:lnTo>
                    <a:lnTo>
                      <a:pt x="1152" y="384"/>
                    </a:lnTo>
                    <a:lnTo>
                      <a:pt x="1158" y="384"/>
                    </a:lnTo>
                    <a:lnTo>
                      <a:pt x="1158" y="408"/>
                    </a:lnTo>
                    <a:lnTo>
                      <a:pt x="1164" y="414"/>
                    </a:lnTo>
                    <a:lnTo>
                      <a:pt x="1170" y="414"/>
                    </a:lnTo>
                    <a:lnTo>
                      <a:pt x="1182" y="408"/>
                    </a:lnTo>
                    <a:lnTo>
                      <a:pt x="1188" y="402"/>
                    </a:lnTo>
                    <a:lnTo>
                      <a:pt x="1188" y="390"/>
                    </a:lnTo>
                    <a:lnTo>
                      <a:pt x="1230" y="390"/>
                    </a:lnTo>
                    <a:lnTo>
                      <a:pt x="1242" y="402"/>
                    </a:lnTo>
                    <a:lnTo>
                      <a:pt x="1254" y="402"/>
                    </a:lnTo>
                    <a:lnTo>
                      <a:pt x="1260" y="396"/>
                    </a:lnTo>
                    <a:lnTo>
                      <a:pt x="1260" y="390"/>
                    </a:lnTo>
                    <a:lnTo>
                      <a:pt x="1284" y="390"/>
                    </a:lnTo>
                    <a:lnTo>
                      <a:pt x="1290" y="396"/>
                    </a:lnTo>
                    <a:lnTo>
                      <a:pt x="1290" y="414"/>
                    </a:lnTo>
                    <a:lnTo>
                      <a:pt x="1332" y="402"/>
                    </a:lnTo>
                    <a:close/>
                    <a:moveTo>
                      <a:pt x="102" y="282"/>
                    </a:moveTo>
                    <a:lnTo>
                      <a:pt x="96" y="282"/>
                    </a:lnTo>
                    <a:lnTo>
                      <a:pt x="96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14" y="324"/>
                    </a:lnTo>
                    <a:lnTo>
                      <a:pt x="114" y="318"/>
                    </a:lnTo>
                    <a:lnTo>
                      <a:pt x="120" y="312"/>
                    </a:lnTo>
                    <a:lnTo>
                      <a:pt x="120" y="300"/>
                    </a:lnTo>
                    <a:lnTo>
                      <a:pt x="102" y="28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29" name="Sy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4B6F970-0660-AF29-1B21-93E5BED01D7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87745" y="2559493"/>
                <a:ext cx="202203" cy="186264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0" name="Switzer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68454B8-BBE6-E528-1581-4EFFA8CE4F9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04440" y="2185192"/>
                <a:ext cx="129479" cy="70957"/>
              </a:xfrm>
              <a:custGeom>
                <a:avLst/>
                <a:gdLst>
                  <a:gd name="T0" fmla="*/ 2147483647 w 288"/>
                  <a:gd name="T1" fmla="*/ 2147483647 h 162"/>
                  <a:gd name="T2" fmla="*/ 2147483647 w 288"/>
                  <a:gd name="T3" fmla="*/ 2147483647 h 162"/>
                  <a:gd name="T4" fmla="*/ 2147483647 w 288"/>
                  <a:gd name="T5" fmla="*/ 2147483647 h 162"/>
                  <a:gd name="T6" fmla="*/ 2147483647 w 288"/>
                  <a:gd name="T7" fmla="*/ 2147483647 h 162"/>
                  <a:gd name="T8" fmla="*/ 2147483647 w 288"/>
                  <a:gd name="T9" fmla="*/ 2147483647 h 162"/>
                  <a:gd name="T10" fmla="*/ 2147483647 w 288"/>
                  <a:gd name="T11" fmla="*/ 2147483647 h 162"/>
                  <a:gd name="T12" fmla="*/ 2147483647 w 288"/>
                  <a:gd name="T13" fmla="*/ 2147483647 h 162"/>
                  <a:gd name="T14" fmla="*/ 0 w 288"/>
                  <a:gd name="T15" fmla="*/ 2147483647 h 162"/>
                  <a:gd name="T16" fmla="*/ 2147483647 w 288"/>
                  <a:gd name="T17" fmla="*/ 2147483647 h 162"/>
                  <a:gd name="T18" fmla="*/ 2147483647 w 288"/>
                  <a:gd name="T19" fmla="*/ 2147483647 h 162"/>
                  <a:gd name="T20" fmla="*/ 2147483647 w 288"/>
                  <a:gd name="T21" fmla="*/ 2147483647 h 162"/>
                  <a:gd name="T22" fmla="*/ 2147483647 w 288"/>
                  <a:gd name="T23" fmla="*/ 2147483647 h 162"/>
                  <a:gd name="T24" fmla="*/ 2147483647 w 288"/>
                  <a:gd name="T25" fmla="*/ 2147483647 h 162"/>
                  <a:gd name="T26" fmla="*/ 2147483647 w 288"/>
                  <a:gd name="T27" fmla="*/ 2147483647 h 162"/>
                  <a:gd name="T28" fmla="*/ 2147483647 w 288"/>
                  <a:gd name="T29" fmla="*/ 2147483647 h 162"/>
                  <a:gd name="T30" fmla="*/ 2147483647 w 288"/>
                  <a:gd name="T31" fmla="*/ 2147483647 h 162"/>
                  <a:gd name="T32" fmla="*/ 2147483647 w 288"/>
                  <a:gd name="T33" fmla="*/ 2147483647 h 162"/>
                  <a:gd name="T34" fmla="*/ 2147483647 w 288"/>
                  <a:gd name="T35" fmla="*/ 2147483647 h 162"/>
                  <a:gd name="T36" fmla="*/ 2147483647 w 288"/>
                  <a:gd name="T37" fmla="*/ 2147483647 h 162"/>
                  <a:gd name="T38" fmla="*/ 2147483647 w 288"/>
                  <a:gd name="T39" fmla="*/ 2147483647 h 162"/>
                  <a:gd name="T40" fmla="*/ 2147483647 w 288"/>
                  <a:gd name="T41" fmla="*/ 2147483647 h 162"/>
                  <a:gd name="T42" fmla="*/ 2147483647 w 288"/>
                  <a:gd name="T43" fmla="*/ 2147483647 h 162"/>
                  <a:gd name="T44" fmla="*/ 2147483647 w 288"/>
                  <a:gd name="T45" fmla="*/ 2147483647 h 162"/>
                  <a:gd name="T46" fmla="*/ 2147483647 w 288"/>
                  <a:gd name="T47" fmla="*/ 2147483647 h 162"/>
                  <a:gd name="T48" fmla="*/ 2147483647 w 288"/>
                  <a:gd name="T49" fmla="*/ 2147483647 h 162"/>
                  <a:gd name="T50" fmla="*/ 2147483647 w 288"/>
                  <a:gd name="T51" fmla="*/ 2147483647 h 162"/>
                  <a:gd name="T52" fmla="*/ 2147483647 w 288"/>
                  <a:gd name="T53" fmla="*/ 2147483647 h 162"/>
                  <a:gd name="T54" fmla="*/ 2147483647 w 288"/>
                  <a:gd name="T55" fmla="*/ 2147483647 h 162"/>
                  <a:gd name="T56" fmla="*/ 2147483647 w 288"/>
                  <a:gd name="T57" fmla="*/ 2147483647 h 162"/>
                  <a:gd name="T58" fmla="*/ 2147483647 w 288"/>
                  <a:gd name="T59" fmla="*/ 2147483647 h 162"/>
                  <a:gd name="T60" fmla="*/ 2147483647 w 288"/>
                  <a:gd name="T61" fmla="*/ 2147483647 h 162"/>
                  <a:gd name="T62" fmla="*/ 2147483647 w 288"/>
                  <a:gd name="T63" fmla="*/ 2147483647 h 162"/>
                  <a:gd name="T64" fmla="*/ 2147483647 w 288"/>
                  <a:gd name="T65" fmla="*/ 2147483647 h 162"/>
                  <a:gd name="T66" fmla="*/ 2147483647 w 288"/>
                  <a:gd name="T67" fmla="*/ 0 h 162"/>
                  <a:gd name="T68" fmla="*/ 2147483647 w 288"/>
                  <a:gd name="T69" fmla="*/ 2147483647 h 162"/>
                  <a:gd name="T70" fmla="*/ 2147483647 w 288"/>
                  <a:gd name="T71" fmla="*/ 2147483647 h 162"/>
                  <a:gd name="T72" fmla="*/ 2147483647 w 288"/>
                  <a:gd name="T73" fmla="*/ 2147483647 h 16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162"/>
                  <a:gd name="T113" fmla="*/ 288 w 288"/>
                  <a:gd name="T114" fmla="*/ 162 h 16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162">
                    <a:moveTo>
                      <a:pt x="132" y="24"/>
                    </a:moveTo>
                    <a:lnTo>
                      <a:pt x="96" y="24"/>
                    </a:lnTo>
                    <a:lnTo>
                      <a:pt x="90" y="42"/>
                    </a:lnTo>
                    <a:lnTo>
                      <a:pt x="72" y="30"/>
                    </a:lnTo>
                    <a:lnTo>
                      <a:pt x="66" y="42"/>
                    </a:lnTo>
                    <a:lnTo>
                      <a:pt x="60" y="48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30" y="66"/>
                    </a:lnTo>
                    <a:lnTo>
                      <a:pt x="30" y="78"/>
                    </a:lnTo>
                    <a:lnTo>
                      <a:pt x="18" y="90"/>
                    </a:lnTo>
                    <a:lnTo>
                      <a:pt x="12" y="102"/>
                    </a:lnTo>
                    <a:lnTo>
                      <a:pt x="0" y="108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30" y="108"/>
                    </a:lnTo>
                    <a:lnTo>
                      <a:pt x="48" y="108"/>
                    </a:lnTo>
                    <a:lnTo>
                      <a:pt x="54" y="114"/>
                    </a:lnTo>
                    <a:lnTo>
                      <a:pt x="48" y="138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6"/>
                    </a:lnTo>
                    <a:lnTo>
                      <a:pt x="114" y="156"/>
                    </a:lnTo>
                    <a:lnTo>
                      <a:pt x="132" y="138"/>
                    </a:lnTo>
                    <a:lnTo>
                      <a:pt x="132" y="120"/>
                    </a:lnTo>
                    <a:lnTo>
                      <a:pt x="138" y="114"/>
                    </a:lnTo>
                    <a:lnTo>
                      <a:pt x="150" y="114"/>
                    </a:lnTo>
                    <a:lnTo>
                      <a:pt x="156" y="120"/>
                    </a:lnTo>
                    <a:lnTo>
                      <a:pt x="156" y="126"/>
                    </a:lnTo>
                    <a:lnTo>
                      <a:pt x="162" y="132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92" y="162"/>
                    </a:lnTo>
                    <a:lnTo>
                      <a:pt x="192" y="144"/>
                    </a:lnTo>
                    <a:lnTo>
                      <a:pt x="204" y="132"/>
                    </a:lnTo>
                    <a:lnTo>
                      <a:pt x="210" y="108"/>
                    </a:lnTo>
                    <a:lnTo>
                      <a:pt x="222" y="126"/>
                    </a:lnTo>
                    <a:lnTo>
                      <a:pt x="240" y="120"/>
                    </a:lnTo>
                    <a:lnTo>
                      <a:pt x="258" y="132"/>
                    </a:lnTo>
                    <a:lnTo>
                      <a:pt x="264" y="120"/>
                    </a:lnTo>
                    <a:lnTo>
                      <a:pt x="252" y="108"/>
                    </a:lnTo>
                    <a:lnTo>
                      <a:pt x="252" y="102"/>
                    </a:lnTo>
                    <a:lnTo>
                      <a:pt x="276" y="102"/>
                    </a:lnTo>
                    <a:lnTo>
                      <a:pt x="282" y="84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6" y="66"/>
                    </a:lnTo>
                    <a:lnTo>
                      <a:pt x="270" y="66"/>
                    </a:lnTo>
                    <a:lnTo>
                      <a:pt x="252" y="84"/>
                    </a:lnTo>
                    <a:lnTo>
                      <a:pt x="246" y="84"/>
                    </a:lnTo>
                    <a:lnTo>
                      <a:pt x="246" y="66"/>
                    </a:lnTo>
                    <a:lnTo>
                      <a:pt x="210" y="66"/>
                    </a:lnTo>
                    <a:lnTo>
                      <a:pt x="210" y="60"/>
                    </a:lnTo>
                    <a:lnTo>
                      <a:pt x="216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28" y="30"/>
                    </a:lnTo>
                    <a:lnTo>
                      <a:pt x="216" y="30"/>
                    </a:lnTo>
                    <a:lnTo>
                      <a:pt x="210" y="18"/>
                    </a:lnTo>
                    <a:lnTo>
                      <a:pt x="192" y="12"/>
                    </a:lnTo>
                    <a:lnTo>
                      <a:pt x="180" y="12"/>
                    </a:lnTo>
                    <a:lnTo>
                      <a:pt x="174" y="6"/>
                    </a:lnTo>
                    <a:lnTo>
                      <a:pt x="162" y="0"/>
                    </a:lnTo>
                    <a:lnTo>
                      <a:pt x="156" y="0"/>
                    </a:lnTo>
                    <a:lnTo>
                      <a:pt x="150" y="6"/>
                    </a:lnTo>
                    <a:lnTo>
                      <a:pt x="150" y="18"/>
                    </a:lnTo>
                    <a:lnTo>
                      <a:pt x="156" y="24"/>
                    </a:lnTo>
                    <a:lnTo>
                      <a:pt x="150" y="18"/>
                    </a:lnTo>
                    <a:lnTo>
                      <a:pt x="132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1" name="Swed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C9FC28E-AFEB-EDB2-2F6C-1DC88FBB781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51657" y="1477388"/>
                <a:ext cx="312172" cy="445261"/>
              </a:xfrm>
              <a:custGeom>
                <a:avLst/>
                <a:gdLst>
                  <a:gd name="T0" fmla="*/ 2147483647 w 690"/>
                  <a:gd name="T1" fmla="*/ 2147483647 h 990"/>
                  <a:gd name="T2" fmla="*/ 2147483647 w 690"/>
                  <a:gd name="T3" fmla="*/ 2147483647 h 990"/>
                  <a:gd name="T4" fmla="*/ 2147483647 w 690"/>
                  <a:gd name="T5" fmla="*/ 2147483647 h 990"/>
                  <a:gd name="T6" fmla="*/ 2147483647 w 690"/>
                  <a:gd name="T7" fmla="*/ 2147483647 h 990"/>
                  <a:gd name="T8" fmla="*/ 2147483647 w 690"/>
                  <a:gd name="T9" fmla="*/ 2147483647 h 990"/>
                  <a:gd name="T10" fmla="*/ 2147483647 w 690"/>
                  <a:gd name="T11" fmla="*/ 2147483647 h 990"/>
                  <a:gd name="T12" fmla="*/ 2147483647 w 690"/>
                  <a:gd name="T13" fmla="*/ 2147483647 h 990"/>
                  <a:gd name="T14" fmla="*/ 2147483647 w 690"/>
                  <a:gd name="T15" fmla="*/ 2147483647 h 990"/>
                  <a:gd name="T16" fmla="*/ 2147483647 w 690"/>
                  <a:gd name="T17" fmla="*/ 2147483647 h 990"/>
                  <a:gd name="T18" fmla="*/ 2147483647 w 690"/>
                  <a:gd name="T19" fmla="*/ 2147483647 h 990"/>
                  <a:gd name="T20" fmla="*/ 2147483647 w 690"/>
                  <a:gd name="T21" fmla="*/ 2147483647 h 990"/>
                  <a:gd name="T22" fmla="*/ 2147483647 w 690"/>
                  <a:gd name="T23" fmla="*/ 2147483647 h 990"/>
                  <a:gd name="T24" fmla="*/ 2147483647 w 690"/>
                  <a:gd name="T25" fmla="*/ 2147483647 h 990"/>
                  <a:gd name="T26" fmla="*/ 2147483647 w 690"/>
                  <a:gd name="T27" fmla="*/ 2147483647 h 990"/>
                  <a:gd name="T28" fmla="*/ 2147483647 w 690"/>
                  <a:gd name="T29" fmla="*/ 2147483647 h 990"/>
                  <a:gd name="T30" fmla="*/ 2147483647 w 690"/>
                  <a:gd name="T31" fmla="*/ 2147483647 h 990"/>
                  <a:gd name="T32" fmla="*/ 2147483647 w 690"/>
                  <a:gd name="T33" fmla="*/ 2147483647 h 990"/>
                  <a:gd name="T34" fmla="*/ 2147483647 w 690"/>
                  <a:gd name="T35" fmla="*/ 2147483647 h 990"/>
                  <a:gd name="T36" fmla="*/ 2147483647 w 690"/>
                  <a:gd name="T37" fmla="*/ 2147483647 h 990"/>
                  <a:gd name="T38" fmla="*/ 2147483647 w 690"/>
                  <a:gd name="T39" fmla="*/ 2147483647 h 990"/>
                  <a:gd name="T40" fmla="*/ 2147483647 w 690"/>
                  <a:gd name="T41" fmla="*/ 2147483647 h 990"/>
                  <a:gd name="T42" fmla="*/ 2147483647 w 690"/>
                  <a:gd name="T43" fmla="*/ 2147483647 h 990"/>
                  <a:gd name="T44" fmla="*/ 2147483647 w 690"/>
                  <a:gd name="T45" fmla="*/ 2147483647 h 990"/>
                  <a:gd name="T46" fmla="*/ 0 w 690"/>
                  <a:gd name="T47" fmla="*/ 2147483647 h 990"/>
                  <a:gd name="T48" fmla="*/ 2147483647 w 690"/>
                  <a:gd name="T49" fmla="*/ 2147483647 h 990"/>
                  <a:gd name="T50" fmla="*/ 2147483647 w 690"/>
                  <a:gd name="T51" fmla="*/ 2147483647 h 990"/>
                  <a:gd name="T52" fmla="*/ 2147483647 w 690"/>
                  <a:gd name="T53" fmla="*/ 2147483647 h 990"/>
                  <a:gd name="T54" fmla="*/ 2147483647 w 690"/>
                  <a:gd name="T55" fmla="*/ 2147483647 h 990"/>
                  <a:gd name="T56" fmla="*/ 2147483647 w 690"/>
                  <a:gd name="T57" fmla="*/ 2147483647 h 990"/>
                  <a:gd name="T58" fmla="*/ 2147483647 w 690"/>
                  <a:gd name="T59" fmla="*/ 2147483647 h 990"/>
                  <a:gd name="T60" fmla="*/ 2147483647 w 690"/>
                  <a:gd name="T61" fmla="*/ 2147483647 h 990"/>
                  <a:gd name="T62" fmla="*/ 2147483647 w 690"/>
                  <a:gd name="T63" fmla="*/ 2147483647 h 990"/>
                  <a:gd name="T64" fmla="*/ 2147483647 w 690"/>
                  <a:gd name="T65" fmla="*/ 2147483647 h 990"/>
                  <a:gd name="T66" fmla="*/ 2147483647 w 690"/>
                  <a:gd name="T67" fmla="*/ 2147483647 h 990"/>
                  <a:gd name="T68" fmla="*/ 2147483647 w 690"/>
                  <a:gd name="T69" fmla="*/ 2147483647 h 990"/>
                  <a:gd name="T70" fmla="*/ 2147483647 w 690"/>
                  <a:gd name="T71" fmla="*/ 2147483647 h 990"/>
                  <a:gd name="T72" fmla="*/ 2147483647 w 690"/>
                  <a:gd name="T73" fmla="*/ 2147483647 h 990"/>
                  <a:gd name="T74" fmla="*/ 2147483647 w 690"/>
                  <a:gd name="T75" fmla="*/ 2147483647 h 990"/>
                  <a:gd name="T76" fmla="*/ 2147483647 w 690"/>
                  <a:gd name="T77" fmla="*/ 2147483647 h 990"/>
                  <a:gd name="T78" fmla="*/ 2147483647 w 690"/>
                  <a:gd name="T79" fmla="*/ 2147483647 h 990"/>
                  <a:gd name="T80" fmla="*/ 2147483647 w 690"/>
                  <a:gd name="T81" fmla="*/ 2147483647 h 990"/>
                  <a:gd name="T82" fmla="*/ 2147483647 w 690"/>
                  <a:gd name="T83" fmla="*/ 2147483647 h 990"/>
                  <a:gd name="T84" fmla="*/ 2147483647 w 690"/>
                  <a:gd name="T85" fmla="*/ 2147483647 h 990"/>
                  <a:gd name="T86" fmla="*/ 2147483647 w 690"/>
                  <a:gd name="T87" fmla="*/ 2147483647 h 990"/>
                  <a:gd name="T88" fmla="*/ 2147483647 w 690"/>
                  <a:gd name="T89" fmla="*/ 2147483647 h 990"/>
                  <a:gd name="T90" fmla="*/ 2147483647 w 690"/>
                  <a:gd name="T91" fmla="*/ 2147483647 h 990"/>
                  <a:gd name="T92" fmla="*/ 2147483647 w 690"/>
                  <a:gd name="T93" fmla="*/ 2147483647 h 990"/>
                  <a:gd name="T94" fmla="*/ 2147483647 w 690"/>
                  <a:gd name="T95" fmla="*/ 2147483647 h 990"/>
                  <a:gd name="T96" fmla="*/ 2147483647 w 690"/>
                  <a:gd name="T97" fmla="*/ 2147483647 h 990"/>
                  <a:gd name="T98" fmla="*/ 2147483647 w 690"/>
                  <a:gd name="T99" fmla="*/ 2147483647 h 990"/>
                  <a:gd name="T100" fmla="*/ 2147483647 w 690"/>
                  <a:gd name="T101" fmla="*/ 2147483647 h 9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0"/>
                  <a:gd name="T154" fmla="*/ 0 h 990"/>
                  <a:gd name="T155" fmla="*/ 690 w 690"/>
                  <a:gd name="T156" fmla="*/ 990 h 9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0" h="990">
                    <a:moveTo>
                      <a:pt x="678" y="204"/>
                    </a:moveTo>
                    <a:lnTo>
                      <a:pt x="672" y="198"/>
                    </a:lnTo>
                    <a:lnTo>
                      <a:pt x="660" y="192"/>
                    </a:lnTo>
                    <a:lnTo>
                      <a:pt x="648" y="180"/>
                    </a:lnTo>
                    <a:lnTo>
                      <a:pt x="648" y="174"/>
                    </a:lnTo>
                    <a:lnTo>
                      <a:pt x="654" y="162"/>
                    </a:lnTo>
                    <a:lnTo>
                      <a:pt x="660" y="156"/>
                    </a:lnTo>
                    <a:lnTo>
                      <a:pt x="666" y="144"/>
                    </a:lnTo>
                    <a:lnTo>
                      <a:pt x="642" y="132"/>
                    </a:lnTo>
                    <a:lnTo>
                      <a:pt x="648" y="108"/>
                    </a:lnTo>
                    <a:lnTo>
                      <a:pt x="636" y="102"/>
                    </a:lnTo>
                    <a:lnTo>
                      <a:pt x="636" y="96"/>
                    </a:lnTo>
                    <a:lnTo>
                      <a:pt x="642" y="90"/>
                    </a:lnTo>
                    <a:lnTo>
                      <a:pt x="642" y="66"/>
                    </a:lnTo>
                    <a:lnTo>
                      <a:pt x="636" y="66"/>
                    </a:lnTo>
                    <a:lnTo>
                      <a:pt x="630" y="60"/>
                    </a:lnTo>
                    <a:lnTo>
                      <a:pt x="618" y="60"/>
                    </a:lnTo>
                    <a:lnTo>
                      <a:pt x="588" y="42"/>
                    </a:lnTo>
                    <a:lnTo>
                      <a:pt x="552" y="42"/>
                    </a:lnTo>
                    <a:lnTo>
                      <a:pt x="540" y="30"/>
                    </a:lnTo>
                    <a:lnTo>
                      <a:pt x="534" y="30"/>
                    </a:lnTo>
                    <a:lnTo>
                      <a:pt x="528" y="24"/>
                    </a:lnTo>
                    <a:lnTo>
                      <a:pt x="516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56" y="0"/>
                    </a:lnTo>
                    <a:lnTo>
                      <a:pt x="456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42"/>
                    </a:lnTo>
                    <a:lnTo>
                      <a:pt x="462" y="42"/>
                    </a:lnTo>
                    <a:lnTo>
                      <a:pt x="456" y="48"/>
                    </a:lnTo>
                    <a:lnTo>
                      <a:pt x="444" y="48"/>
                    </a:lnTo>
                    <a:lnTo>
                      <a:pt x="438" y="42"/>
                    </a:lnTo>
                    <a:lnTo>
                      <a:pt x="414" y="42"/>
                    </a:lnTo>
                    <a:lnTo>
                      <a:pt x="390" y="36"/>
                    </a:lnTo>
                    <a:lnTo>
                      <a:pt x="366" y="42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48" y="36"/>
                    </a:lnTo>
                    <a:lnTo>
                      <a:pt x="348" y="66"/>
                    </a:lnTo>
                    <a:lnTo>
                      <a:pt x="342" y="72"/>
                    </a:lnTo>
                    <a:lnTo>
                      <a:pt x="324" y="72"/>
                    </a:lnTo>
                    <a:lnTo>
                      <a:pt x="282" y="78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246" y="102"/>
                    </a:lnTo>
                    <a:lnTo>
                      <a:pt x="246" y="114"/>
                    </a:lnTo>
                    <a:lnTo>
                      <a:pt x="258" y="120"/>
                    </a:lnTo>
                    <a:lnTo>
                      <a:pt x="264" y="126"/>
                    </a:lnTo>
                    <a:lnTo>
                      <a:pt x="258" y="144"/>
                    </a:lnTo>
                    <a:lnTo>
                      <a:pt x="252" y="144"/>
                    </a:lnTo>
                    <a:lnTo>
                      <a:pt x="240" y="150"/>
                    </a:lnTo>
                    <a:lnTo>
                      <a:pt x="234" y="156"/>
                    </a:lnTo>
                    <a:lnTo>
                      <a:pt x="234" y="162"/>
                    </a:lnTo>
                    <a:lnTo>
                      <a:pt x="228" y="168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16" y="180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0" y="198"/>
                    </a:lnTo>
                    <a:lnTo>
                      <a:pt x="204" y="198"/>
                    </a:lnTo>
                    <a:lnTo>
                      <a:pt x="192" y="204"/>
                    </a:lnTo>
                    <a:lnTo>
                      <a:pt x="174" y="192"/>
                    </a:lnTo>
                    <a:lnTo>
                      <a:pt x="174" y="228"/>
                    </a:lnTo>
                    <a:lnTo>
                      <a:pt x="168" y="270"/>
                    </a:lnTo>
                    <a:lnTo>
                      <a:pt x="138" y="300"/>
                    </a:lnTo>
                    <a:lnTo>
                      <a:pt x="132" y="300"/>
                    </a:lnTo>
                    <a:lnTo>
                      <a:pt x="120" y="306"/>
                    </a:lnTo>
                    <a:lnTo>
                      <a:pt x="132" y="312"/>
                    </a:lnTo>
                    <a:lnTo>
                      <a:pt x="150" y="330"/>
                    </a:lnTo>
                    <a:lnTo>
                      <a:pt x="150" y="336"/>
                    </a:lnTo>
                    <a:lnTo>
                      <a:pt x="144" y="342"/>
                    </a:lnTo>
                    <a:lnTo>
                      <a:pt x="102" y="342"/>
                    </a:lnTo>
                    <a:lnTo>
                      <a:pt x="90" y="348"/>
                    </a:lnTo>
                    <a:lnTo>
                      <a:pt x="84" y="354"/>
                    </a:lnTo>
                    <a:lnTo>
                      <a:pt x="72" y="360"/>
                    </a:lnTo>
                    <a:lnTo>
                      <a:pt x="30" y="402"/>
                    </a:lnTo>
                    <a:lnTo>
                      <a:pt x="36" y="408"/>
                    </a:lnTo>
                    <a:lnTo>
                      <a:pt x="42" y="408"/>
                    </a:lnTo>
                    <a:lnTo>
                      <a:pt x="48" y="414"/>
                    </a:lnTo>
                    <a:lnTo>
                      <a:pt x="48" y="420"/>
                    </a:lnTo>
                    <a:lnTo>
                      <a:pt x="42" y="426"/>
                    </a:lnTo>
                    <a:lnTo>
                      <a:pt x="36" y="426"/>
                    </a:lnTo>
                    <a:lnTo>
                      <a:pt x="30" y="432"/>
                    </a:lnTo>
                    <a:lnTo>
                      <a:pt x="30" y="444"/>
                    </a:lnTo>
                    <a:lnTo>
                      <a:pt x="54" y="468"/>
                    </a:lnTo>
                    <a:lnTo>
                      <a:pt x="54" y="480"/>
                    </a:lnTo>
                    <a:lnTo>
                      <a:pt x="48" y="492"/>
                    </a:lnTo>
                    <a:lnTo>
                      <a:pt x="48" y="510"/>
                    </a:lnTo>
                    <a:lnTo>
                      <a:pt x="60" y="522"/>
                    </a:lnTo>
                    <a:lnTo>
                      <a:pt x="66" y="522"/>
                    </a:lnTo>
                    <a:lnTo>
                      <a:pt x="84" y="540"/>
                    </a:lnTo>
                    <a:lnTo>
                      <a:pt x="84" y="552"/>
                    </a:lnTo>
                    <a:lnTo>
                      <a:pt x="72" y="564"/>
                    </a:lnTo>
                    <a:lnTo>
                      <a:pt x="48" y="570"/>
                    </a:lnTo>
                    <a:lnTo>
                      <a:pt x="54" y="576"/>
                    </a:lnTo>
                    <a:lnTo>
                      <a:pt x="60" y="588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66" y="606"/>
                    </a:lnTo>
                    <a:lnTo>
                      <a:pt x="72" y="618"/>
                    </a:lnTo>
                    <a:lnTo>
                      <a:pt x="66" y="618"/>
                    </a:lnTo>
                    <a:lnTo>
                      <a:pt x="66" y="642"/>
                    </a:lnTo>
                    <a:lnTo>
                      <a:pt x="60" y="648"/>
                    </a:lnTo>
                    <a:lnTo>
                      <a:pt x="24" y="648"/>
                    </a:lnTo>
                    <a:lnTo>
                      <a:pt x="30" y="660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18" y="672"/>
                    </a:lnTo>
                    <a:lnTo>
                      <a:pt x="18" y="678"/>
                    </a:lnTo>
                    <a:lnTo>
                      <a:pt x="30" y="690"/>
                    </a:lnTo>
                    <a:lnTo>
                      <a:pt x="30" y="708"/>
                    </a:lnTo>
                    <a:lnTo>
                      <a:pt x="24" y="714"/>
                    </a:lnTo>
                    <a:lnTo>
                      <a:pt x="18" y="726"/>
                    </a:lnTo>
                    <a:lnTo>
                      <a:pt x="0" y="708"/>
                    </a:lnTo>
                    <a:lnTo>
                      <a:pt x="0" y="768"/>
                    </a:lnTo>
                    <a:lnTo>
                      <a:pt x="6" y="762"/>
                    </a:lnTo>
                    <a:lnTo>
                      <a:pt x="24" y="762"/>
                    </a:lnTo>
                    <a:lnTo>
                      <a:pt x="36" y="774"/>
                    </a:lnTo>
                    <a:lnTo>
                      <a:pt x="36" y="780"/>
                    </a:lnTo>
                    <a:lnTo>
                      <a:pt x="30" y="780"/>
                    </a:lnTo>
                    <a:lnTo>
                      <a:pt x="30" y="774"/>
                    </a:lnTo>
                    <a:lnTo>
                      <a:pt x="24" y="774"/>
                    </a:lnTo>
                    <a:lnTo>
                      <a:pt x="24" y="834"/>
                    </a:lnTo>
                    <a:lnTo>
                      <a:pt x="30" y="840"/>
                    </a:lnTo>
                    <a:lnTo>
                      <a:pt x="36" y="840"/>
                    </a:lnTo>
                    <a:lnTo>
                      <a:pt x="48" y="846"/>
                    </a:lnTo>
                    <a:lnTo>
                      <a:pt x="54" y="858"/>
                    </a:lnTo>
                    <a:lnTo>
                      <a:pt x="60" y="864"/>
                    </a:lnTo>
                    <a:lnTo>
                      <a:pt x="66" y="876"/>
                    </a:lnTo>
                    <a:lnTo>
                      <a:pt x="90" y="900"/>
                    </a:lnTo>
                    <a:lnTo>
                      <a:pt x="96" y="900"/>
                    </a:lnTo>
                    <a:lnTo>
                      <a:pt x="96" y="912"/>
                    </a:lnTo>
                    <a:lnTo>
                      <a:pt x="78" y="912"/>
                    </a:lnTo>
                    <a:lnTo>
                      <a:pt x="78" y="942"/>
                    </a:lnTo>
                    <a:lnTo>
                      <a:pt x="90" y="954"/>
                    </a:lnTo>
                    <a:lnTo>
                      <a:pt x="102" y="960"/>
                    </a:lnTo>
                    <a:lnTo>
                      <a:pt x="96" y="966"/>
                    </a:lnTo>
                    <a:lnTo>
                      <a:pt x="96" y="984"/>
                    </a:lnTo>
                    <a:lnTo>
                      <a:pt x="102" y="984"/>
                    </a:lnTo>
                    <a:lnTo>
                      <a:pt x="108" y="990"/>
                    </a:lnTo>
                    <a:lnTo>
                      <a:pt x="174" y="990"/>
                    </a:lnTo>
                    <a:lnTo>
                      <a:pt x="180" y="984"/>
                    </a:lnTo>
                    <a:lnTo>
                      <a:pt x="180" y="948"/>
                    </a:lnTo>
                    <a:lnTo>
                      <a:pt x="198" y="942"/>
                    </a:lnTo>
                    <a:lnTo>
                      <a:pt x="198" y="924"/>
                    </a:lnTo>
                    <a:lnTo>
                      <a:pt x="264" y="930"/>
                    </a:lnTo>
                    <a:lnTo>
                      <a:pt x="276" y="936"/>
                    </a:lnTo>
                    <a:lnTo>
                      <a:pt x="300" y="876"/>
                    </a:lnTo>
                    <a:lnTo>
                      <a:pt x="300" y="864"/>
                    </a:lnTo>
                    <a:lnTo>
                      <a:pt x="306" y="852"/>
                    </a:lnTo>
                    <a:lnTo>
                      <a:pt x="306" y="816"/>
                    </a:lnTo>
                    <a:lnTo>
                      <a:pt x="300" y="810"/>
                    </a:lnTo>
                    <a:lnTo>
                      <a:pt x="294" y="798"/>
                    </a:lnTo>
                    <a:lnTo>
                      <a:pt x="312" y="798"/>
                    </a:lnTo>
                    <a:lnTo>
                      <a:pt x="324" y="786"/>
                    </a:lnTo>
                    <a:lnTo>
                      <a:pt x="324" y="780"/>
                    </a:lnTo>
                    <a:lnTo>
                      <a:pt x="306" y="762"/>
                    </a:lnTo>
                    <a:lnTo>
                      <a:pt x="294" y="762"/>
                    </a:lnTo>
                    <a:lnTo>
                      <a:pt x="312" y="756"/>
                    </a:lnTo>
                    <a:lnTo>
                      <a:pt x="300" y="750"/>
                    </a:lnTo>
                    <a:lnTo>
                      <a:pt x="324" y="750"/>
                    </a:lnTo>
                    <a:lnTo>
                      <a:pt x="336" y="744"/>
                    </a:lnTo>
                    <a:lnTo>
                      <a:pt x="348" y="744"/>
                    </a:lnTo>
                    <a:lnTo>
                      <a:pt x="354" y="738"/>
                    </a:lnTo>
                    <a:lnTo>
                      <a:pt x="360" y="726"/>
                    </a:lnTo>
                    <a:lnTo>
                      <a:pt x="360" y="714"/>
                    </a:lnTo>
                    <a:lnTo>
                      <a:pt x="366" y="708"/>
                    </a:lnTo>
                    <a:lnTo>
                      <a:pt x="384" y="726"/>
                    </a:lnTo>
                    <a:lnTo>
                      <a:pt x="390" y="726"/>
                    </a:lnTo>
                    <a:lnTo>
                      <a:pt x="396" y="720"/>
                    </a:lnTo>
                    <a:lnTo>
                      <a:pt x="408" y="696"/>
                    </a:lnTo>
                    <a:lnTo>
                      <a:pt x="402" y="690"/>
                    </a:lnTo>
                    <a:lnTo>
                      <a:pt x="402" y="684"/>
                    </a:lnTo>
                    <a:lnTo>
                      <a:pt x="414" y="684"/>
                    </a:lnTo>
                    <a:lnTo>
                      <a:pt x="420" y="678"/>
                    </a:lnTo>
                    <a:lnTo>
                      <a:pt x="432" y="672"/>
                    </a:lnTo>
                    <a:lnTo>
                      <a:pt x="432" y="660"/>
                    </a:lnTo>
                    <a:lnTo>
                      <a:pt x="420" y="636"/>
                    </a:lnTo>
                    <a:lnTo>
                      <a:pt x="408" y="630"/>
                    </a:lnTo>
                    <a:lnTo>
                      <a:pt x="408" y="618"/>
                    </a:lnTo>
                    <a:lnTo>
                      <a:pt x="372" y="600"/>
                    </a:lnTo>
                    <a:lnTo>
                      <a:pt x="360" y="606"/>
                    </a:lnTo>
                    <a:lnTo>
                      <a:pt x="354" y="606"/>
                    </a:lnTo>
                    <a:lnTo>
                      <a:pt x="342" y="600"/>
                    </a:lnTo>
                    <a:lnTo>
                      <a:pt x="330" y="576"/>
                    </a:lnTo>
                    <a:lnTo>
                      <a:pt x="330" y="558"/>
                    </a:lnTo>
                    <a:lnTo>
                      <a:pt x="324" y="546"/>
                    </a:lnTo>
                    <a:lnTo>
                      <a:pt x="324" y="528"/>
                    </a:lnTo>
                    <a:lnTo>
                      <a:pt x="336" y="516"/>
                    </a:lnTo>
                    <a:lnTo>
                      <a:pt x="342" y="504"/>
                    </a:lnTo>
                    <a:lnTo>
                      <a:pt x="342" y="486"/>
                    </a:lnTo>
                    <a:lnTo>
                      <a:pt x="336" y="474"/>
                    </a:lnTo>
                    <a:lnTo>
                      <a:pt x="330" y="468"/>
                    </a:lnTo>
                    <a:lnTo>
                      <a:pt x="330" y="462"/>
                    </a:lnTo>
                    <a:lnTo>
                      <a:pt x="348" y="462"/>
                    </a:lnTo>
                    <a:lnTo>
                      <a:pt x="354" y="456"/>
                    </a:lnTo>
                    <a:lnTo>
                      <a:pt x="354" y="438"/>
                    </a:lnTo>
                    <a:lnTo>
                      <a:pt x="348" y="426"/>
                    </a:lnTo>
                    <a:lnTo>
                      <a:pt x="354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96" y="420"/>
                    </a:lnTo>
                    <a:lnTo>
                      <a:pt x="408" y="408"/>
                    </a:lnTo>
                    <a:lnTo>
                      <a:pt x="438" y="414"/>
                    </a:lnTo>
                    <a:lnTo>
                      <a:pt x="450" y="390"/>
                    </a:lnTo>
                    <a:lnTo>
                      <a:pt x="480" y="390"/>
                    </a:lnTo>
                    <a:lnTo>
                      <a:pt x="498" y="384"/>
                    </a:lnTo>
                    <a:lnTo>
                      <a:pt x="510" y="378"/>
                    </a:lnTo>
                    <a:lnTo>
                      <a:pt x="522" y="354"/>
                    </a:lnTo>
                    <a:lnTo>
                      <a:pt x="540" y="336"/>
                    </a:lnTo>
                    <a:lnTo>
                      <a:pt x="546" y="324"/>
                    </a:lnTo>
                    <a:lnTo>
                      <a:pt x="528" y="300"/>
                    </a:lnTo>
                    <a:lnTo>
                      <a:pt x="558" y="264"/>
                    </a:lnTo>
                    <a:lnTo>
                      <a:pt x="540" y="246"/>
                    </a:lnTo>
                    <a:lnTo>
                      <a:pt x="576" y="234"/>
                    </a:lnTo>
                    <a:lnTo>
                      <a:pt x="594" y="216"/>
                    </a:lnTo>
                    <a:lnTo>
                      <a:pt x="672" y="222"/>
                    </a:lnTo>
                    <a:lnTo>
                      <a:pt x="684" y="240"/>
                    </a:lnTo>
                    <a:lnTo>
                      <a:pt x="690" y="240"/>
                    </a:lnTo>
                    <a:lnTo>
                      <a:pt x="678" y="204"/>
                    </a:lnTo>
                    <a:close/>
                    <a:moveTo>
                      <a:pt x="390" y="828"/>
                    </a:moveTo>
                    <a:lnTo>
                      <a:pt x="390" y="840"/>
                    </a:lnTo>
                    <a:lnTo>
                      <a:pt x="396" y="852"/>
                    </a:lnTo>
                    <a:lnTo>
                      <a:pt x="396" y="864"/>
                    </a:lnTo>
                    <a:lnTo>
                      <a:pt x="402" y="870"/>
                    </a:lnTo>
                    <a:lnTo>
                      <a:pt x="402" y="876"/>
                    </a:lnTo>
                    <a:lnTo>
                      <a:pt x="414" y="852"/>
                    </a:lnTo>
                    <a:lnTo>
                      <a:pt x="426" y="852"/>
                    </a:lnTo>
                    <a:lnTo>
                      <a:pt x="432" y="846"/>
                    </a:lnTo>
                    <a:lnTo>
                      <a:pt x="438" y="834"/>
                    </a:lnTo>
                    <a:lnTo>
                      <a:pt x="438" y="822"/>
                    </a:lnTo>
                    <a:lnTo>
                      <a:pt x="432" y="816"/>
                    </a:lnTo>
                    <a:lnTo>
                      <a:pt x="450" y="798"/>
                    </a:lnTo>
                    <a:lnTo>
                      <a:pt x="444" y="798"/>
                    </a:lnTo>
                    <a:lnTo>
                      <a:pt x="438" y="804"/>
                    </a:lnTo>
                    <a:lnTo>
                      <a:pt x="420" y="804"/>
                    </a:lnTo>
                    <a:lnTo>
                      <a:pt x="408" y="810"/>
                    </a:lnTo>
                    <a:lnTo>
                      <a:pt x="390" y="828"/>
                    </a:lnTo>
                    <a:close/>
                    <a:moveTo>
                      <a:pt x="300" y="900"/>
                    </a:moveTo>
                    <a:lnTo>
                      <a:pt x="300" y="912"/>
                    </a:lnTo>
                    <a:lnTo>
                      <a:pt x="294" y="924"/>
                    </a:lnTo>
                    <a:lnTo>
                      <a:pt x="300" y="918"/>
                    </a:lnTo>
                    <a:lnTo>
                      <a:pt x="312" y="912"/>
                    </a:lnTo>
                    <a:lnTo>
                      <a:pt x="318" y="900"/>
                    </a:lnTo>
                    <a:lnTo>
                      <a:pt x="318" y="894"/>
                    </a:lnTo>
                    <a:lnTo>
                      <a:pt x="324" y="888"/>
                    </a:lnTo>
                    <a:lnTo>
                      <a:pt x="324" y="882"/>
                    </a:lnTo>
                    <a:lnTo>
                      <a:pt x="342" y="858"/>
                    </a:lnTo>
                    <a:lnTo>
                      <a:pt x="336" y="840"/>
                    </a:lnTo>
                    <a:lnTo>
                      <a:pt x="330" y="852"/>
                    </a:lnTo>
                    <a:lnTo>
                      <a:pt x="312" y="870"/>
                    </a:lnTo>
                    <a:lnTo>
                      <a:pt x="300" y="894"/>
                    </a:lnTo>
                    <a:lnTo>
                      <a:pt x="300" y="9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2" name="Spa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A0E3707-D447-D43C-D415-E1A212A6F0A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5692" y="2330655"/>
                <a:ext cx="393764" cy="276735"/>
              </a:xfrm>
              <a:custGeom>
                <a:avLst/>
                <a:gdLst>
                  <a:gd name="T0" fmla="*/ 2147483647 w 876"/>
                  <a:gd name="T1" fmla="*/ 2147483647 h 618"/>
                  <a:gd name="T2" fmla="*/ 2147483647 w 876"/>
                  <a:gd name="T3" fmla="*/ 2147483647 h 618"/>
                  <a:gd name="T4" fmla="*/ 2147483647 w 876"/>
                  <a:gd name="T5" fmla="*/ 2147483647 h 618"/>
                  <a:gd name="T6" fmla="*/ 2147483647 w 876"/>
                  <a:gd name="T7" fmla="*/ 2147483647 h 618"/>
                  <a:gd name="T8" fmla="*/ 2147483647 w 876"/>
                  <a:gd name="T9" fmla="*/ 2147483647 h 618"/>
                  <a:gd name="T10" fmla="*/ 2147483647 w 876"/>
                  <a:gd name="T11" fmla="*/ 2147483647 h 618"/>
                  <a:gd name="T12" fmla="*/ 2147483647 w 876"/>
                  <a:gd name="T13" fmla="*/ 2147483647 h 618"/>
                  <a:gd name="T14" fmla="*/ 2147483647 w 876"/>
                  <a:gd name="T15" fmla="*/ 2147483647 h 618"/>
                  <a:gd name="T16" fmla="*/ 2147483647 w 876"/>
                  <a:gd name="T17" fmla="*/ 2147483647 h 618"/>
                  <a:gd name="T18" fmla="*/ 2147483647 w 876"/>
                  <a:gd name="T19" fmla="*/ 2147483647 h 618"/>
                  <a:gd name="T20" fmla="*/ 2147483647 w 876"/>
                  <a:gd name="T21" fmla="*/ 2147483647 h 618"/>
                  <a:gd name="T22" fmla="*/ 2147483647 w 876"/>
                  <a:gd name="T23" fmla="*/ 2147483647 h 618"/>
                  <a:gd name="T24" fmla="*/ 2147483647 w 876"/>
                  <a:gd name="T25" fmla="*/ 2147483647 h 618"/>
                  <a:gd name="T26" fmla="*/ 2147483647 w 876"/>
                  <a:gd name="T27" fmla="*/ 2147483647 h 618"/>
                  <a:gd name="T28" fmla="*/ 2147483647 w 876"/>
                  <a:gd name="T29" fmla="*/ 2147483647 h 618"/>
                  <a:gd name="T30" fmla="*/ 2147483647 w 876"/>
                  <a:gd name="T31" fmla="*/ 2147483647 h 618"/>
                  <a:gd name="T32" fmla="*/ 2147483647 w 876"/>
                  <a:gd name="T33" fmla="*/ 2147483647 h 618"/>
                  <a:gd name="T34" fmla="*/ 2147483647 w 876"/>
                  <a:gd name="T35" fmla="*/ 2147483647 h 618"/>
                  <a:gd name="T36" fmla="*/ 2147483647 w 876"/>
                  <a:gd name="T37" fmla="*/ 2147483647 h 618"/>
                  <a:gd name="T38" fmla="*/ 2147483647 w 876"/>
                  <a:gd name="T39" fmla="*/ 2147483647 h 618"/>
                  <a:gd name="T40" fmla="*/ 2147483647 w 876"/>
                  <a:gd name="T41" fmla="*/ 0 h 618"/>
                  <a:gd name="T42" fmla="*/ 2147483647 w 876"/>
                  <a:gd name="T43" fmla="*/ 2147483647 h 618"/>
                  <a:gd name="T44" fmla="*/ 0 w 876"/>
                  <a:gd name="T45" fmla="*/ 2147483647 h 618"/>
                  <a:gd name="T46" fmla="*/ 2147483647 w 876"/>
                  <a:gd name="T47" fmla="*/ 2147483647 h 618"/>
                  <a:gd name="T48" fmla="*/ 2147483647 w 876"/>
                  <a:gd name="T49" fmla="*/ 2147483647 h 618"/>
                  <a:gd name="T50" fmla="*/ 2147483647 w 876"/>
                  <a:gd name="T51" fmla="*/ 2147483647 h 618"/>
                  <a:gd name="T52" fmla="*/ 2147483647 w 876"/>
                  <a:gd name="T53" fmla="*/ 2147483647 h 618"/>
                  <a:gd name="T54" fmla="*/ 2147483647 w 876"/>
                  <a:gd name="T55" fmla="*/ 2147483647 h 618"/>
                  <a:gd name="T56" fmla="*/ 2147483647 w 876"/>
                  <a:gd name="T57" fmla="*/ 2147483647 h 618"/>
                  <a:gd name="T58" fmla="*/ 2147483647 w 876"/>
                  <a:gd name="T59" fmla="*/ 2147483647 h 618"/>
                  <a:gd name="T60" fmla="*/ 2147483647 w 876"/>
                  <a:gd name="T61" fmla="*/ 2147483647 h 618"/>
                  <a:gd name="T62" fmla="*/ 2147483647 w 876"/>
                  <a:gd name="T63" fmla="*/ 2147483647 h 618"/>
                  <a:gd name="T64" fmla="*/ 2147483647 w 876"/>
                  <a:gd name="T65" fmla="*/ 2147483647 h 618"/>
                  <a:gd name="T66" fmla="*/ 2147483647 w 876"/>
                  <a:gd name="T67" fmla="*/ 2147483647 h 618"/>
                  <a:gd name="T68" fmla="*/ 2147483647 w 876"/>
                  <a:gd name="T69" fmla="*/ 2147483647 h 618"/>
                  <a:gd name="T70" fmla="*/ 2147483647 w 876"/>
                  <a:gd name="T71" fmla="*/ 2147483647 h 618"/>
                  <a:gd name="T72" fmla="*/ 2147483647 w 876"/>
                  <a:gd name="T73" fmla="*/ 2147483647 h 618"/>
                  <a:gd name="T74" fmla="*/ 2147483647 w 876"/>
                  <a:gd name="T75" fmla="*/ 2147483647 h 618"/>
                  <a:gd name="T76" fmla="*/ 2147483647 w 876"/>
                  <a:gd name="T77" fmla="*/ 2147483647 h 618"/>
                  <a:gd name="T78" fmla="*/ 2147483647 w 876"/>
                  <a:gd name="T79" fmla="*/ 2147483647 h 618"/>
                  <a:gd name="T80" fmla="*/ 2147483647 w 876"/>
                  <a:gd name="T81" fmla="*/ 2147483647 h 618"/>
                  <a:gd name="T82" fmla="*/ 2147483647 w 876"/>
                  <a:gd name="T83" fmla="*/ 2147483647 h 618"/>
                  <a:gd name="T84" fmla="*/ 2147483647 w 876"/>
                  <a:gd name="T85" fmla="*/ 2147483647 h 618"/>
                  <a:gd name="T86" fmla="*/ 2147483647 w 876"/>
                  <a:gd name="T87" fmla="*/ 2147483647 h 618"/>
                  <a:gd name="T88" fmla="*/ 2147483647 w 876"/>
                  <a:gd name="T89" fmla="*/ 2147483647 h 618"/>
                  <a:gd name="T90" fmla="*/ 2147483647 w 876"/>
                  <a:gd name="T91" fmla="*/ 2147483647 h 618"/>
                  <a:gd name="T92" fmla="*/ 2147483647 w 876"/>
                  <a:gd name="T93" fmla="*/ 2147483647 h 618"/>
                  <a:gd name="T94" fmla="*/ 2147483647 w 876"/>
                  <a:gd name="T95" fmla="*/ 2147483647 h 618"/>
                  <a:gd name="T96" fmla="*/ 2147483647 w 876"/>
                  <a:gd name="T97" fmla="*/ 2147483647 h 618"/>
                  <a:gd name="T98" fmla="*/ 2147483647 w 876"/>
                  <a:gd name="T99" fmla="*/ 2147483647 h 618"/>
                  <a:gd name="T100" fmla="*/ 2147483647 w 876"/>
                  <a:gd name="T101" fmla="*/ 2147483647 h 618"/>
                  <a:gd name="T102" fmla="*/ 2147483647 w 876"/>
                  <a:gd name="T103" fmla="*/ 2147483647 h 618"/>
                  <a:gd name="T104" fmla="*/ 2147483647 w 876"/>
                  <a:gd name="T105" fmla="*/ 2147483647 h 618"/>
                  <a:gd name="T106" fmla="*/ 2147483647 w 876"/>
                  <a:gd name="T107" fmla="*/ 2147483647 h 618"/>
                  <a:gd name="T108" fmla="*/ 2147483647 w 876"/>
                  <a:gd name="T109" fmla="*/ 2147483647 h 6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6"/>
                  <a:gd name="T166" fmla="*/ 0 h 618"/>
                  <a:gd name="T167" fmla="*/ 876 w 876"/>
                  <a:gd name="T168" fmla="*/ 618 h 61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6" h="618">
                    <a:moveTo>
                      <a:pt x="804" y="318"/>
                    </a:moveTo>
                    <a:lnTo>
                      <a:pt x="798" y="312"/>
                    </a:lnTo>
                    <a:lnTo>
                      <a:pt x="798" y="306"/>
                    </a:lnTo>
                    <a:lnTo>
                      <a:pt x="786" y="306"/>
                    </a:lnTo>
                    <a:lnTo>
                      <a:pt x="762" y="318"/>
                    </a:lnTo>
                    <a:lnTo>
                      <a:pt x="750" y="330"/>
                    </a:lnTo>
                    <a:lnTo>
                      <a:pt x="750" y="336"/>
                    </a:lnTo>
                    <a:lnTo>
                      <a:pt x="756" y="342"/>
                    </a:lnTo>
                    <a:lnTo>
                      <a:pt x="768" y="342"/>
                    </a:lnTo>
                    <a:lnTo>
                      <a:pt x="774" y="348"/>
                    </a:lnTo>
                    <a:lnTo>
                      <a:pt x="774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816" y="324"/>
                    </a:lnTo>
                    <a:lnTo>
                      <a:pt x="810" y="318"/>
                    </a:lnTo>
                    <a:lnTo>
                      <a:pt x="804" y="318"/>
                    </a:lnTo>
                    <a:close/>
                    <a:moveTo>
                      <a:pt x="672" y="390"/>
                    </a:moveTo>
                    <a:lnTo>
                      <a:pt x="678" y="396"/>
                    </a:lnTo>
                    <a:lnTo>
                      <a:pt x="684" y="396"/>
                    </a:lnTo>
                    <a:lnTo>
                      <a:pt x="690" y="390"/>
                    </a:lnTo>
                    <a:lnTo>
                      <a:pt x="690" y="372"/>
                    </a:lnTo>
                    <a:lnTo>
                      <a:pt x="684" y="372"/>
                    </a:lnTo>
                    <a:lnTo>
                      <a:pt x="672" y="384"/>
                    </a:lnTo>
                    <a:lnTo>
                      <a:pt x="672" y="390"/>
                    </a:lnTo>
                    <a:close/>
                    <a:moveTo>
                      <a:pt x="840" y="300"/>
                    </a:moveTo>
                    <a:lnTo>
                      <a:pt x="840" y="306"/>
                    </a:lnTo>
                    <a:lnTo>
                      <a:pt x="852" y="318"/>
                    </a:lnTo>
                    <a:lnTo>
                      <a:pt x="870" y="318"/>
                    </a:lnTo>
                    <a:lnTo>
                      <a:pt x="876" y="312"/>
                    </a:lnTo>
                    <a:lnTo>
                      <a:pt x="864" y="300"/>
                    </a:lnTo>
                    <a:lnTo>
                      <a:pt x="852" y="300"/>
                    </a:lnTo>
                    <a:lnTo>
                      <a:pt x="846" y="294"/>
                    </a:lnTo>
                    <a:lnTo>
                      <a:pt x="840" y="300"/>
                    </a:lnTo>
                    <a:close/>
                    <a:moveTo>
                      <a:pt x="804" y="150"/>
                    </a:moveTo>
                    <a:lnTo>
                      <a:pt x="798" y="138"/>
                    </a:lnTo>
                    <a:lnTo>
                      <a:pt x="798" y="132"/>
                    </a:lnTo>
                    <a:lnTo>
                      <a:pt x="810" y="120"/>
                    </a:lnTo>
                    <a:lnTo>
                      <a:pt x="798" y="114"/>
                    </a:lnTo>
                    <a:lnTo>
                      <a:pt x="792" y="108"/>
                    </a:lnTo>
                    <a:lnTo>
                      <a:pt x="792" y="102"/>
                    </a:lnTo>
                    <a:lnTo>
                      <a:pt x="780" y="102"/>
                    </a:lnTo>
                    <a:lnTo>
                      <a:pt x="780" y="108"/>
                    </a:lnTo>
                    <a:lnTo>
                      <a:pt x="774" y="114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26" y="108"/>
                    </a:lnTo>
                    <a:lnTo>
                      <a:pt x="726" y="102"/>
                    </a:lnTo>
                    <a:lnTo>
                      <a:pt x="708" y="102"/>
                    </a:lnTo>
                    <a:lnTo>
                      <a:pt x="696" y="108"/>
                    </a:lnTo>
                    <a:lnTo>
                      <a:pt x="690" y="84"/>
                    </a:lnTo>
                    <a:lnTo>
                      <a:pt x="672" y="84"/>
                    </a:lnTo>
                    <a:lnTo>
                      <a:pt x="672" y="78"/>
                    </a:lnTo>
                    <a:lnTo>
                      <a:pt x="666" y="72"/>
                    </a:lnTo>
                    <a:lnTo>
                      <a:pt x="648" y="72"/>
                    </a:lnTo>
                    <a:lnTo>
                      <a:pt x="642" y="78"/>
                    </a:lnTo>
                    <a:lnTo>
                      <a:pt x="642" y="90"/>
                    </a:lnTo>
                    <a:lnTo>
                      <a:pt x="624" y="96"/>
                    </a:lnTo>
                    <a:lnTo>
                      <a:pt x="624" y="84"/>
                    </a:lnTo>
                    <a:lnTo>
                      <a:pt x="594" y="84"/>
                    </a:lnTo>
                    <a:lnTo>
                      <a:pt x="582" y="72"/>
                    </a:lnTo>
                    <a:lnTo>
                      <a:pt x="570" y="72"/>
                    </a:lnTo>
                    <a:lnTo>
                      <a:pt x="564" y="78"/>
                    </a:lnTo>
                    <a:lnTo>
                      <a:pt x="546" y="60"/>
                    </a:lnTo>
                    <a:lnTo>
                      <a:pt x="510" y="60"/>
                    </a:lnTo>
                    <a:lnTo>
                      <a:pt x="516" y="54"/>
                    </a:lnTo>
                    <a:lnTo>
                      <a:pt x="516" y="48"/>
                    </a:lnTo>
                    <a:lnTo>
                      <a:pt x="504" y="36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36"/>
                    </a:lnTo>
                    <a:lnTo>
                      <a:pt x="450" y="36"/>
                    </a:lnTo>
                    <a:lnTo>
                      <a:pt x="390" y="24"/>
                    </a:lnTo>
                    <a:lnTo>
                      <a:pt x="378" y="24"/>
                    </a:lnTo>
                    <a:lnTo>
                      <a:pt x="348" y="36"/>
                    </a:lnTo>
                    <a:lnTo>
                      <a:pt x="294" y="30"/>
                    </a:lnTo>
                    <a:lnTo>
                      <a:pt x="258" y="12"/>
                    </a:lnTo>
                    <a:lnTo>
                      <a:pt x="234" y="12"/>
                    </a:lnTo>
                    <a:lnTo>
                      <a:pt x="216" y="18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2" y="90"/>
                    </a:lnTo>
                    <a:lnTo>
                      <a:pt x="24" y="96"/>
                    </a:lnTo>
                    <a:lnTo>
                      <a:pt x="30" y="102"/>
                    </a:lnTo>
                    <a:lnTo>
                      <a:pt x="18" y="138"/>
                    </a:lnTo>
                    <a:lnTo>
                      <a:pt x="24" y="144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5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60" y="156"/>
                    </a:lnTo>
                    <a:lnTo>
                      <a:pt x="72" y="156"/>
                    </a:lnTo>
                    <a:lnTo>
                      <a:pt x="78" y="15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14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74" y="144"/>
                    </a:lnTo>
                    <a:lnTo>
                      <a:pt x="174" y="162"/>
                    </a:lnTo>
                    <a:lnTo>
                      <a:pt x="180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68" y="198"/>
                    </a:lnTo>
                    <a:lnTo>
                      <a:pt x="144" y="210"/>
                    </a:lnTo>
                    <a:lnTo>
                      <a:pt x="138" y="216"/>
                    </a:lnTo>
                    <a:lnTo>
                      <a:pt x="138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0" y="240"/>
                    </a:lnTo>
                    <a:lnTo>
                      <a:pt x="144" y="258"/>
                    </a:lnTo>
                    <a:lnTo>
                      <a:pt x="144" y="276"/>
                    </a:lnTo>
                    <a:lnTo>
                      <a:pt x="138" y="276"/>
                    </a:lnTo>
                    <a:lnTo>
                      <a:pt x="132" y="282"/>
                    </a:lnTo>
                    <a:lnTo>
                      <a:pt x="132" y="294"/>
                    </a:lnTo>
                    <a:lnTo>
                      <a:pt x="138" y="300"/>
                    </a:lnTo>
                    <a:lnTo>
                      <a:pt x="138" y="312"/>
                    </a:lnTo>
                    <a:lnTo>
                      <a:pt x="126" y="324"/>
                    </a:lnTo>
                    <a:lnTo>
                      <a:pt x="90" y="324"/>
                    </a:lnTo>
                    <a:lnTo>
                      <a:pt x="114" y="348"/>
                    </a:lnTo>
                    <a:lnTo>
                      <a:pt x="114" y="360"/>
                    </a:lnTo>
                    <a:lnTo>
                      <a:pt x="120" y="366"/>
                    </a:lnTo>
                    <a:lnTo>
                      <a:pt x="132" y="372"/>
                    </a:lnTo>
                    <a:lnTo>
                      <a:pt x="132" y="378"/>
                    </a:lnTo>
                    <a:lnTo>
                      <a:pt x="120" y="390"/>
                    </a:lnTo>
                    <a:lnTo>
                      <a:pt x="108" y="396"/>
                    </a:lnTo>
                    <a:lnTo>
                      <a:pt x="96" y="408"/>
                    </a:lnTo>
                    <a:lnTo>
                      <a:pt x="96" y="414"/>
                    </a:lnTo>
                    <a:lnTo>
                      <a:pt x="102" y="420"/>
                    </a:lnTo>
                    <a:lnTo>
                      <a:pt x="102" y="426"/>
                    </a:lnTo>
                    <a:lnTo>
                      <a:pt x="108" y="438"/>
                    </a:lnTo>
                    <a:lnTo>
                      <a:pt x="114" y="444"/>
                    </a:lnTo>
                    <a:lnTo>
                      <a:pt x="126" y="444"/>
                    </a:lnTo>
                    <a:lnTo>
                      <a:pt x="126" y="450"/>
                    </a:lnTo>
                    <a:lnTo>
                      <a:pt x="114" y="462"/>
                    </a:lnTo>
                    <a:lnTo>
                      <a:pt x="102" y="462"/>
                    </a:lnTo>
                    <a:lnTo>
                      <a:pt x="96" y="474"/>
                    </a:lnTo>
                    <a:lnTo>
                      <a:pt x="90" y="480"/>
                    </a:lnTo>
                    <a:lnTo>
                      <a:pt x="90" y="528"/>
                    </a:lnTo>
                    <a:lnTo>
                      <a:pt x="120" y="528"/>
                    </a:lnTo>
                    <a:lnTo>
                      <a:pt x="144" y="546"/>
                    </a:lnTo>
                    <a:lnTo>
                      <a:pt x="162" y="546"/>
                    </a:lnTo>
                    <a:lnTo>
                      <a:pt x="156" y="576"/>
                    </a:lnTo>
                    <a:lnTo>
                      <a:pt x="162" y="576"/>
                    </a:lnTo>
                    <a:lnTo>
                      <a:pt x="162" y="594"/>
                    </a:lnTo>
                    <a:lnTo>
                      <a:pt x="168" y="606"/>
                    </a:lnTo>
                    <a:lnTo>
                      <a:pt x="174" y="612"/>
                    </a:lnTo>
                    <a:lnTo>
                      <a:pt x="192" y="612"/>
                    </a:lnTo>
                    <a:lnTo>
                      <a:pt x="198" y="618"/>
                    </a:lnTo>
                    <a:lnTo>
                      <a:pt x="204" y="618"/>
                    </a:lnTo>
                    <a:lnTo>
                      <a:pt x="210" y="612"/>
                    </a:lnTo>
                    <a:lnTo>
                      <a:pt x="222" y="606"/>
                    </a:lnTo>
                    <a:lnTo>
                      <a:pt x="240" y="588"/>
                    </a:lnTo>
                    <a:lnTo>
                      <a:pt x="252" y="582"/>
                    </a:lnTo>
                    <a:lnTo>
                      <a:pt x="264" y="582"/>
                    </a:lnTo>
                    <a:lnTo>
                      <a:pt x="294" y="564"/>
                    </a:lnTo>
                    <a:lnTo>
                      <a:pt x="360" y="564"/>
                    </a:lnTo>
                    <a:lnTo>
                      <a:pt x="366" y="558"/>
                    </a:lnTo>
                    <a:lnTo>
                      <a:pt x="378" y="558"/>
                    </a:lnTo>
                    <a:lnTo>
                      <a:pt x="390" y="570"/>
                    </a:lnTo>
                    <a:lnTo>
                      <a:pt x="396" y="570"/>
                    </a:lnTo>
                    <a:lnTo>
                      <a:pt x="408" y="564"/>
                    </a:lnTo>
                    <a:lnTo>
                      <a:pt x="420" y="564"/>
                    </a:lnTo>
                    <a:lnTo>
                      <a:pt x="426" y="558"/>
                    </a:lnTo>
                    <a:lnTo>
                      <a:pt x="432" y="558"/>
                    </a:lnTo>
                    <a:lnTo>
                      <a:pt x="432" y="570"/>
                    </a:lnTo>
                    <a:lnTo>
                      <a:pt x="438" y="570"/>
                    </a:lnTo>
                    <a:lnTo>
                      <a:pt x="450" y="558"/>
                    </a:lnTo>
                    <a:lnTo>
                      <a:pt x="462" y="534"/>
                    </a:lnTo>
                    <a:lnTo>
                      <a:pt x="462" y="522"/>
                    </a:lnTo>
                    <a:lnTo>
                      <a:pt x="498" y="492"/>
                    </a:lnTo>
                    <a:lnTo>
                      <a:pt x="528" y="492"/>
                    </a:lnTo>
                    <a:lnTo>
                      <a:pt x="534" y="474"/>
                    </a:lnTo>
                    <a:lnTo>
                      <a:pt x="534" y="468"/>
                    </a:lnTo>
                    <a:lnTo>
                      <a:pt x="540" y="462"/>
                    </a:lnTo>
                    <a:lnTo>
                      <a:pt x="540" y="450"/>
                    </a:lnTo>
                    <a:lnTo>
                      <a:pt x="546" y="444"/>
                    </a:lnTo>
                    <a:lnTo>
                      <a:pt x="552" y="432"/>
                    </a:lnTo>
                    <a:lnTo>
                      <a:pt x="552" y="426"/>
                    </a:lnTo>
                    <a:lnTo>
                      <a:pt x="570" y="426"/>
                    </a:lnTo>
                    <a:lnTo>
                      <a:pt x="594" y="414"/>
                    </a:lnTo>
                    <a:lnTo>
                      <a:pt x="600" y="408"/>
                    </a:lnTo>
                    <a:lnTo>
                      <a:pt x="594" y="396"/>
                    </a:lnTo>
                    <a:lnTo>
                      <a:pt x="588" y="390"/>
                    </a:lnTo>
                    <a:lnTo>
                      <a:pt x="582" y="378"/>
                    </a:lnTo>
                    <a:lnTo>
                      <a:pt x="576" y="372"/>
                    </a:lnTo>
                    <a:lnTo>
                      <a:pt x="570" y="372"/>
                    </a:lnTo>
                    <a:lnTo>
                      <a:pt x="570" y="336"/>
                    </a:lnTo>
                    <a:lnTo>
                      <a:pt x="582" y="312"/>
                    </a:lnTo>
                    <a:lnTo>
                      <a:pt x="594" y="306"/>
                    </a:lnTo>
                    <a:lnTo>
                      <a:pt x="600" y="294"/>
                    </a:lnTo>
                    <a:lnTo>
                      <a:pt x="612" y="282"/>
                    </a:lnTo>
                    <a:lnTo>
                      <a:pt x="618" y="270"/>
                    </a:lnTo>
                    <a:lnTo>
                      <a:pt x="630" y="258"/>
                    </a:lnTo>
                    <a:lnTo>
                      <a:pt x="642" y="258"/>
                    </a:lnTo>
                    <a:lnTo>
                      <a:pt x="654" y="246"/>
                    </a:lnTo>
                    <a:lnTo>
                      <a:pt x="654" y="240"/>
                    </a:lnTo>
                    <a:lnTo>
                      <a:pt x="648" y="240"/>
                    </a:lnTo>
                    <a:lnTo>
                      <a:pt x="648" y="228"/>
                    </a:lnTo>
                    <a:lnTo>
                      <a:pt x="654" y="222"/>
                    </a:lnTo>
                    <a:lnTo>
                      <a:pt x="726" y="198"/>
                    </a:lnTo>
                    <a:lnTo>
                      <a:pt x="750" y="186"/>
                    </a:lnTo>
                    <a:lnTo>
                      <a:pt x="756" y="174"/>
                    </a:lnTo>
                    <a:lnTo>
                      <a:pt x="768" y="168"/>
                    </a:lnTo>
                    <a:lnTo>
                      <a:pt x="774" y="168"/>
                    </a:lnTo>
                    <a:lnTo>
                      <a:pt x="786" y="156"/>
                    </a:lnTo>
                    <a:lnTo>
                      <a:pt x="798" y="156"/>
                    </a:lnTo>
                    <a:lnTo>
                      <a:pt x="804" y="1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3" name="Slov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9A966FD-8D63-61A7-BFAD-6FA303F1349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11963" y="2215347"/>
                <a:ext cx="94006" cy="54992"/>
              </a:xfrm>
              <a:custGeom>
                <a:avLst/>
                <a:gdLst>
                  <a:gd name="T0" fmla="*/ 2147483647 w 210"/>
                  <a:gd name="T1" fmla="*/ 2147483647 h 120"/>
                  <a:gd name="T2" fmla="*/ 2147483647 w 210"/>
                  <a:gd name="T3" fmla="*/ 2147483647 h 120"/>
                  <a:gd name="T4" fmla="*/ 2147483647 w 210"/>
                  <a:gd name="T5" fmla="*/ 2147483647 h 120"/>
                  <a:gd name="T6" fmla="*/ 2147483647 w 210"/>
                  <a:gd name="T7" fmla="*/ 2147483647 h 120"/>
                  <a:gd name="T8" fmla="*/ 2147483647 w 210"/>
                  <a:gd name="T9" fmla="*/ 2147483647 h 120"/>
                  <a:gd name="T10" fmla="*/ 2147483647 w 210"/>
                  <a:gd name="T11" fmla="*/ 2147483647 h 120"/>
                  <a:gd name="T12" fmla="*/ 2147483647 w 210"/>
                  <a:gd name="T13" fmla="*/ 2147483647 h 120"/>
                  <a:gd name="T14" fmla="*/ 2147483647 w 210"/>
                  <a:gd name="T15" fmla="*/ 2147483647 h 120"/>
                  <a:gd name="T16" fmla="*/ 2147483647 w 210"/>
                  <a:gd name="T17" fmla="*/ 2147483647 h 120"/>
                  <a:gd name="T18" fmla="*/ 2147483647 w 210"/>
                  <a:gd name="T19" fmla="*/ 2147483647 h 120"/>
                  <a:gd name="T20" fmla="*/ 2147483647 w 210"/>
                  <a:gd name="T21" fmla="*/ 2147483647 h 120"/>
                  <a:gd name="T22" fmla="*/ 2147483647 w 210"/>
                  <a:gd name="T23" fmla="*/ 2147483647 h 120"/>
                  <a:gd name="T24" fmla="*/ 2147483647 w 210"/>
                  <a:gd name="T25" fmla="*/ 2147483647 h 120"/>
                  <a:gd name="T26" fmla="*/ 2147483647 w 210"/>
                  <a:gd name="T27" fmla="*/ 2147483647 h 120"/>
                  <a:gd name="T28" fmla="*/ 2147483647 w 210"/>
                  <a:gd name="T29" fmla="*/ 2147483647 h 120"/>
                  <a:gd name="T30" fmla="*/ 2147483647 w 210"/>
                  <a:gd name="T31" fmla="*/ 2147483647 h 120"/>
                  <a:gd name="T32" fmla="*/ 2147483647 w 210"/>
                  <a:gd name="T33" fmla="*/ 2147483647 h 120"/>
                  <a:gd name="T34" fmla="*/ 2147483647 w 210"/>
                  <a:gd name="T35" fmla="*/ 2147483647 h 120"/>
                  <a:gd name="T36" fmla="*/ 2147483647 w 210"/>
                  <a:gd name="T37" fmla="*/ 2147483647 h 120"/>
                  <a:gd name="T38" fmla="*/ 2147483647 w 210"/>
                  <a:gd name="T39" fmla="*/ 2147483647 h 120"/>
                  <a:gd name="T40" fmla="*/ 2147483647 w 210"/>
                  <a:gd name="T41" fmla="*/ 2147483647 h 120"/>
                  <a:gd name="T42" fmla="*/ 2147483647 w 210"/>
                  <a:gd name="T43" fmla="*/ 0 h 120"/>
                  <a:gd name="T44" fmla="*/ 2147483647 w 210"/>
                  <a:gd name="T45" fmla="*/ 2147483647 h 120"/>
                  <a:gd name="T46" fmla="*/ 2147483647 w 210"/>
                  <a:gd name="T47" fmla="*/ 2147483647 h 120"/>
                  <a:gd name="T48" fmla="*/ 2147483647 w 210"/>
                  <a:gd name="T49" fmla="*/ 2147483647 h 120"/>
                  <a:gd name="T50" fmla="*/ 2147483647 w 210"/>
                  <a:gd name="T51" fmla="*/ 2147483647 h 120"/>
                  <a:gd name="T52" fmla="*/ 2147483647 w 210"/>
                  <a:gd name="T53" fmla="*/ 2147483647 h 120"/>
                  <a:gd name="T54" fmla="*/ 2147483647 w 210"/>
                  <a:gd name="T55" fmla="*/ 2147483647 h 120"/>
                  <a:gd name="T56" fmla="*/ 2147483647 w 210"/>
                  <a:gd name="T57" fmla="*/ 2147483647 h 120"/>
                  <a:gd name="T58" fmla="*/ 2147483647 w 210"/>
                  <a:gd name="T59" fmla="*/ 2147483647 h 120"/>
                  <a:gd name="T60" fmla="*/ 2147483647 w 210"/>
                  <a:gd name="T61" fmla="*/ 2147483647 h 120"/>
                  <a:gd name="T62" fmla="*/ 2147483647 w 210"/>
                  <a:gd name="T63" fmla="*/ 2147483647 h 120"/>
                  <a:gd name="T64" fmla="*/ 2147483647 w 210"/>
                  <a:gd name="T65" fmla="*/ 2147483647 h 120"/>
                  <a:gd name="T66" fmla="*/ 2147483647 w 210"/>
                  <a:gd name="T67" fmla="*/ 2147483647 h 120"/>
                  <a:gd name="T68" fmla="*/ 0 w 210"/>
                  <a:gd name="T69" fmla="*/ 2147483647 h 120"/>
                  <a:gd name="T70" fmla="*/ 2147483647 w 210"/>
                  <a:gd name="T71" fmla="*/ 2147483647 h 120"/>
                  <a:gd name="T72" fmla="*/ 2147483647 w 210"/>
                  <a:gd name="T73" fmla="*/ 2147483647 h 120"/>
                  <a:gd name="T74" fmla="*/ 2147483647 w 210"/>
                  <a:gd name="T75" fmla="*/ 2147483647 h 120"/>
                  <a:gd name="T76" fmla="*/ 2147483647 w 210"/>
                  <a:gd name="T77" fmla="*/ 2147483647 h 120"/>
                  <a:gd name="T78" fmla="*/ 2147483647 w 210"/>
                  <a:gd name="T79" fmla="*/ 2147483647 h 120"/>
                  <a:gd name="T80" fmla="*/ 2147483647 w 210"/>
                  <a:gd name="T81" fmla="*/ 2147483647 h 120"/>
                  <a:gd name="T82" fmla="*/ 2147483647 w 210"/>
                  <a:gd name="T83" fmla="*/ 2147483647 h 120"/>
                  <a:gd name="T84" fmla="*/ 2147483647 w 210"/>
                  <a:gd name="T85" fmla="*/ 2147483647 h 120"/>
                  <a:gd name="T86" fmla="*/ 2147483647 w 210"/>
                  <a:gd name="T87" fmla="*/ 2147483647 h 1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120"/>
                  <a:gd name="T134" fmla="*/ 210 w 210"/>
                  <a:gd name="T135" fmla="*/ 120 h 1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120">
                    <a:moveTo>
                      <a:pt x="24" y="120"/>
                    </a:moveTo>
                    <a:lnTo>
                      <a:pt x="42" y="120"/>
                    </a:lnTo>
                    <a:lnTo>
                      <a:pt x="42" y="108"/>
                    </a:lnTo>
                    <a:lnTo>
                      <a:pt x="54" y="114"/>
                    </a:lnTo>
                    <a:lnTo>
                      <a:pt x="72" y="114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84" y="114"/>
                    </a:lnTo>
                    <a:lnTo>
                      <a:pt x="126" y="114"/>
                    </a:lnTo>
                    <a:lnTo>
                      <a:pt x="126" y="96"/>
                    </a:lnTo>
                    <a:lnTo>
                      <a:pt x="138" y="90"/>
                    </a:lnTo>
                    <a:lnTo>
                      <a:pt x="150" y="78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54"/>
                    </a:lnTo>
                    <a:lnTo>
                      <a:pt x="174" y="54"/>
                    </a:lnTo>
                    <a:lnTo>
                      <a:pt x="186" y="48"/>
                    </a:lnTo>
                    <a:lnTo>
                      <a:pt x="186" y="36"/>
                    </a:lnTo>
                    <a:lnTo>
                      <a:pt x="210" y="36"/>
                    </a:lnTo>
                    <a:lnTo>
                      <a:pt x="192" y="24"/>
                    </a:lnTo>
                    <a:lnTo>
                      <a:pt x="186" y="6"/>
                    </a:lnTo>
                    <a:lnTo>
                      <a:pt x="180" y="0"/>
                    </a:lnTo>
                    <a:lnTo>
                      <a:pt x="174" y="12"/>
                    </a:lnTo>
                    <a:lnTo>
                      <a:pt x="168" y="30"/>
                    </a:lnTo>
                    <a:lnTo>
                      <a:pt x="144" y="24"/>
                    </a:lnTo>
                    <a:lnTo>
                      <a:pt x="132" y="30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54" y="42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12" y="60"/>
                    </a:lnTo>
                    <a:lnTo>
                      <a:pt x="6" y="96"/>
                    </a:lnTo>
                    <a:lnTo>
                      <a:pt x="18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14"/>
                    </a:lnTo>
                    <a:lnTo>
                      <a:pt x="24" y="1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4" name="Slovak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A31F1B6-5E7F-CF3D-4A6F-0665C3A8115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07743" y="2124877"/>
                <a:ext cx="161406" cy="65636"/>
              </a:xfrm>
              <a:custGeom>
                <a:avLst/>
                <a:gdLst>
                  <a:gd name="T0" fmla="*/ 2147483647 w 354"/>
                  <a:gd name="T1" fmla="*/ 2147483647 h 144"/>
                  <a:gd name="T2" fmla="*/ 2147483647 w 354"/>
                  <a:gd name="T3" fmla="*/ 2147483647 h 144"/>
                  <a:gd name="T4" fmla="*/ 2147483647 w 354"/>
                  <a:gd name="T5" fmla="*/ 2147483647 h 144"/>
                  <a:gd name="T6" fmla="*/ 2147483647 w 354"/>
                  <a:gd name="T7" fmla="*/ 2147483647 h 144"/>
                  <a:gd name="T8" fmla="*/ 2147483647 w 354"/>
                  <a:gd name="T9" fmla="*/ 2147483647 h 144"/>
                  <a:gd name="T10" fmla="*/ 2147483647 w 354"/>
                  <a:gd name="T11" fmla="*/ 2147483647 h 144"/>
                  <a:gd name="T12" fmla="*/ 2147483647 w 354"/>
                  <a:gd name="T13" fmla="*/ 2147483647 h 144"/>
                  <a:gd name="T14" fmla="*/ 2147483647 w 354"/>
                  <a:gd name="T15" fmla="*/ 0 h 144"/>
                  <a:gd name="T16" fmla="*/ 2147483647 w 354"/>
                  <a:gd name="T17" fmla="*/ 2147483647 h 144"/>
                  <a:gd name="T18" fmla="*/ 2147483647 w 354"/>
                  <a:gd name="T19" fmla="*/ 0 h 144"/>
                  <a:gd name="T20" fmla="*/ 2147483647 w 354"/>
                  <a:gd name="T21" fmla="*/ 2147483647 h 144"/>
                  <a:gd name="T22" fmla="*/ 2147483647 w 354"/>
                  <a:gd name="T23" fmla="*/ 2147483647 h 144"/>
                  <a:gd name="T24" fmla="*/ 2147483647 w 354"/>
                  <a:gd name="T25" fmla="*/ 2147483647 h 144"/>
                  <a:gd name="T26" fmla="*/ 2147483647 w 354"/>
                  <a:gd name="T27" fmla="*/ 2147483647 h 144"/>
                  <a:gd name="T28" fmla="*/ 2147483647 w 354"/>
                  <a:gd name="T29" fmla="*/ 2147483647 h 144"/>
                  <a:gd name="T30" fmla="*/ 0 w 354"/>
                  <a:gd name="T31" fmla="*/ 2147483647 h 144"/>
                  <a:gd name="T32" fmla="*/ 2147483647 w 354"/>
                  <a:gd name="T33" fmla="*/ 2147483647 h 144"/>
                  <a:gd name="T34" fmla="*/ 2147483647 w 354"/>
                  <a:gd name="T35" fmla="*/ 2147483647 h 144"/>
                  <a:gd name="T36" fmla="*/ 2147483647 w 354"/>
                  <a:gd name="T37" fmla="*/ 2147483647 h 144"/>
                  <a:gd name="T38" fmla="*/ 2147483647 w 354"/>
                  <a:gd name="T39" fmla="*/ 2147483647 h 144"/>
                  <a:gd name="T40" fmla="*/ 2147483647 w 354"/>
                  <a:gd name="T41" fmla="*/ 2147483647 h 144"/>
                  <a:gd name="T42" fmla="*/ 2147483647 w 354"/>
                  <a:gd name="T43" fmla="*/ 2147483647 h 144"/>
                  <a:gd name="T44" fmla="*/ 2147483647 w 354"/>
                  <a:gd name="T45" fmla="*/ 2147483647 h 144"/>
                  <a:gd name="T46" fmla="*/ 2147483647 w 354"/>
                  <a:gd name="T47" fmla="*/ 2147483647 h 144"/>
                  <a:gd name="T48" fmla="*/ 2147483647 w 354"/>
                  <a:gd name="T49" fmla="*/ 2147483647 h 144"/>
                  <a:gd name="T50" fmla="*/ 2147483647 w 354"/>
                  <a:gd name="T51" fmla="*/ 2147483647 h 144"/>
                  <a:gd name="T52" fmla="*/ 2147483647 w 354"/>
                  <a:gd name="T53" fmla="*/ 2147483647 h 144"/>
                  <a:gd name="T54" fmla="*/ 2147483647 w 354"/>
                  <a:gd name="T55" fmla="*/ 2147483647 h 144"/>
                  <a:gd name="T56" fmla="*/ 2147483647 w 354"/>
                  <a:gd name="T57" fmla="*/ 2147483647 h 144"/>
                  <a:gd name="T58" fmla="*/ 2147483647 w 354"/>
                  <a:gd name="T59" fmla="*/ 2147483647 h 144"/>
                  <a:gd name="T60" fmla="*/ 2147483647 w 354"/>
                  <a:gd name="T61" fmla="*/ 2147483647 h 144"/>
                  <a:gd name="T62" fmla="*/ 2147483647 w 354"/>
                  <a:gd name="T63" fmla="*/ 2147483647 h 144"/>
                  <a:gd name="T64" fmla="*/ 2147483647 w 354"/>
                  <a:gd name="T65" fmla="*/ 2147483647 h 144"/>
                  <a:gd name="T66" fmla="*/ 2147483647 w 354"/>
                  <a:gd name="T67" fmla="*/ 2147483647 h 144"/>
                  <a:gd name="T68" fmla="*/ 2147483647 w 354"/>
                  <a:gd name="T69" fmla="*/ 2147483647 h 1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4"/>
                  <a:gd name="T106" fmla="*/ 0 h 144"/>
                  <a:gd name="T107" fmla="*/ 354 w 354"/>
                  <a:gd name="T108" fmla="*/ 144 h 14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4" h="144">
                    <a:moveTo>
                      <a:pt x="348" y="30"/>
                    </a:moveTo>
                    <a:lnTo>
                      <a:pt x="324" y="30"/>
                    </a:lnTo>
                    <a:lnTo>
                      <a:pt x="300" y="6"/>
                    </a:lnTo>
                    <a:lnTo>
                      <a:pt x="276" y="6"/>
                    </a:lnTo>
                    <a:lnTo>
                      <a:pt x="270" y="12"/>
                    </a:lnTo>
                    <a:lnTo>
                      <a:pt x="258" y="18"/>
                    </a:lnTo>
                    <a:lnTo>
                      <a:pt x="246" y="18"/>
                    </a:lnTo>
                    <a:lnTo>
                      <a:pt x="240" y="12"/>
                    </a:lnTo>
                    <a:lnTo>
                      <a:pt x="210" y="12"/>
                    </a:lnTo>
                    <a:lnTo>
                      <a:pt x="210" y="18"/>
                    </a:lnTo>
                    <a:lnTo>
                      <a:pt x="204" y="24"/>
                    </a:lnTo>
                    <a:lnTo>
                      <a:pt x="192" y="24"/>
                    </a:lnTo>
                    <a:lnTo>
                      <a:pt x="186" y="18"/>
                    </a:lnTo>
                    <a:lnTo>
                      <a:pt x="186" y="12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56" y="0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0"/>
                    </a:lnTo>
                    <a:lnTo>
                      <a:pt x="108" y="12"/>
                    </a:lnTo>
                    <a:lnTo>
                      <a:pt x="84" y="18"/>
                    </a:lnTo>
                    <a:lnTo>
                      <a:pt x="84" y="42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54" y="60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30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0" y="90"/>
                    </a:lnTo>
                    <a:lnTo>
                      <a:pt x="0" y="102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12" y="114"/>
                    </a:lnTo>
                    <a:lnTo>
                      <a:pt x="12" y="126"/>
                    </a:lnTo>
                    <a:lnTo>
                      <a:pt x="6" y="132"/>
                    </a:lnTo>
                    <a:lnTo>
                      <a:pt x="18" y="13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90" y="144"/>
                    </a:lnTo>
                    <a:lnTo>
                      <a:pt x="108" y="138"/>
                    </a:lnTo>
                    <a:lnTo>
                      <a:pt x="120" y="138"/>
                    </a:lnTo>
                    <a:lnTo>
                      <a:pt x="132" y="114"/>
                    </a:lnTo>
                    <a:lnTo>
                      <a:pt x="168" y="120"/>
                    </a:lnTo>
                    <a:lnTo>
                      <a:pt x="174" y="108"/>
                    </a:lnTo>
                    <a:lnTo>
                      <a:pt x="198" y="108"/>
                    </a:lnTo>
                    <a:lnTo>
                      <a:pt x="210" y="102"/>
                    </a:lnTo>
                    <a:lnTo>
                      <a:pt x="216" y="102"/>
                    </a:lnTo>
                    <a:lnTo>
                      <a:pt x="228" y="90"/>
                    </a:lnTo>
                    <a:lnTo>
                      <a:pt x="234" y="78"/>
                    </a:lnTo>
                    <a:lnTo>
                      <a:pt x="258" y="78"/>
                    </a:lnTo>
                    <a:lnTo>
                      <a:pt x="258" y="90"/>
                    </a:lnTo>
                    <a:lnTo>
                      <a:pt x="276" y="96"/>
                    </a:lnTo>
                    <a:lnTo>
                      <a:pt x="276" y="78"/>
                    </a:lnTo>
                    <a:lnTo>
                      <a:pt x="288" y="78"/>
                    </a:lnTo>
                    <a:lnTo>
                      <a:pt x="288" y="90"/>
                    </a:lnTo>
                    <a:lnTo>
                      <a:pt x="300" y="90"/>
                    </a:lnTo>
                    <a:lnTo>
                      <a:pt x="312" y="84"/>
                    </a:lnTo>
                    <a:lnTo>
                      <a:pt x="336" y="84"/>
                    </a:lnTo>
                    <a:lnTo>
                      <a:pt x="336" y="90"/>
                    </a:lnTo>
                    <a:lnTo>
                      <a:pt x="336" y="72"/>
                    </a:lnTo>
                    <a:lnTo>
                      <a:pt x="342" y="72"/>
                    </a:lnTo>
                    <a:lnTo>
                      <a:pt x="348" y="66"/>
                    </a:lnTo>
                    <a:lnTo>
                      <a:pt x="348" y="60"/>
                    </a:lnTo>
                    <a:lnTo>
                      <a:pt x="354" y="54"/>
                    </a:lnTo>
                    <a:lnTo>
                      <a:pt x="354" y="30"/>
                    </a:lnTo>
                    <a:lnTo>
                      <a:pt x="348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5" name="Russia (Urup,Simushir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202EDFD-6891-0566-51A2-99CE6C3C83D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9932526" y="1791377"/>
                <a:ext cx="136575" cy="539278"/>
              </a:xfrm>
              <a:custGeom>
                <a:avLst/>
                <a:gdLst>
                  <a:gd name="T0" fmla="*/ 0 w 300"/>
                  <a:gd name="T1" fmla="*/ 2147483647 h 1194"/>
                  <a:gd name="T2" fmla="*/ 2147483647 w 300"/>
                  <a:gd name="T3" fmla="*/ 2147483647 h 1194"/>
                  <a:gd name="T4" fmla="*/ 2147483647 w 300"/>
                  <a:gd name="T5" fmla="*/ 2147483647 h 1194"/>
                  <a:gd name="T6" fmla="*/ 2147483647 w 300"/>
                  <a:gd name="T7" fmla="*/ 2147483647 h 1194"/>
                  <a:gd name="T8" fmla="*/ 0 w 300"/>
                  <a:gd name="T9" fmla="*/ 2147483647 h 1194"/>
                  <a:gd name="T10" fmla="*/ 2147483647 w 300"/>
                  <a:gd name="T11" fmla="*/ 2147483647 h 1194"/>
                  <a:gd name="T12" fmla="*/ 2147483647 w 300"/>
                  <a:gd name="T13" fmla="*/ 2147483647 h 1194"/>
                  <a:gd name="T14" fmla="*/ 2147483647 w 300"/>
                  <a:gd name="T15" fmla="*/ 2147483647 h 1194"/>
                  <a:gd name="T16" fmla="*/ 2147483647 w 300"/>
                  <a:gd name="T17" fmla="*/ 2147483647 h 1194"/>
                  <a:gd name="T18" fmla="*/ 2147483647 w 300"/>
                  <a:gd name="T19" fmla="*/ 2147483647 h 1194"/>
                  <a:gd name="T20" fmla="*/ 2147483647 w 300"/>
                  <a:gd name="T21" fmla="*/ 2147483647 h 1194"/>
                  <a:gd name="T22" fmla="*/ 2147483647 w 300"/>
                  <a:gd name="T23" fmla="*/ 2147483647 h 1194"/>
                  <a:gd name="T24" fmla="*/ 2147483647 w 300"/>
                  <a:gd name="T25" fmla="*/ 2147483647 h 1194"/>
                  <a:gd name="T26" fmla="*/ 2147483647 w 300"/>
                  <a:gd name="T27" fmla="*/ 2147483647 h 1194"/>
                  <a:gd name="T28" fmla="*/ 2147483647 w 300"/>
                  <a:gd name="T29" fmla="*/ 2147483647 h 1194"/>
                  <a:gd name="T30" fmla="*/ 2147483647 w 300"/>
                  <a:gd name="T31" fmla="*/ 2147483647 h 1194"/>
                  <a:gd name="T32" fmla="*/ 2147483647 w 300"/>
                  <a:gd name="T33" fmla="*/ 2147483647 h 1194"/>
                  <a:gd name="T34" fmla="*/ 2147483647 w 300"/>
                  <a:gd name="T35" fmla="*/ 2147483647 h 1194"/>
                  <a:gd name="T36" fmla="*/ 2147483647 w 300"/>
                  <a:gd name="T37" fmla="*/ 2147483647 h 1194"/>
                  <a:gd name="T38" fmla="*/ 2147483647 w 300"/>
                  <a:gd name="T39" fmla="*/ 2147483647 h 1194"/>
                  <a:gd name="T40" fmla="*/ 2147483647 w 300"/>
                  <a:gd name="T41" fmla="*/ 2147483647 h 1194"/>
                  <a:gd name="T42" fmla="*/ 2147483647 w 300"/>
                  <a:gd name="T43" fmla="*/ 2147483647 h 1194"/>
                  <a:gd name="T44" fmla="*/ 2147483647 w 300"/>
                  <a:gd name="T45" fmla="*/ 2147483647 h 1194"/>
                  <a:gd name="T46" fmla="*/ 2147483647 w 300"/>
                  <a:gd name="T47" fmla="*/ 2147483647 h 1194"/>
                  <a:gd name="T48" fmla="*/ 2147483647 w 300"/>
                  <a:gd name="T49" fmla="*/ 2147483647 h 1194"/>
                  <a:gd name="T50" fmla="*/ 2147483647 w 300"/>
                  <a:gd name="T51" fmla="*/ 2147483647 h 1194"/>
                  <a:gd name="T52" fmla="*/ 2147483647 w 300"/>
                  <a:gd name="T53" fmla="*/ 2147483647 h 1194"/>
                  <a:gd name="T54" fmla="*/ 2147483647 w 300"/>
                  <a:gd name="T55" fmla="*/ 2147483647 h 1194"/>
                  <a:gd name="T56" fmla="*/ 2147483647 w 300"/>
                  <a:gd name="T57" fmla="*/ 2147483647 h 1194"/>
                  <a:gd name="T58" fmla="*/ 2147483647 w 300"/>
                  <a:gd name="T59" fmla="*/ 2147483647 h 1194"/>
                  <a:gd name="T60" fmla="*/ 2147483647 w 300"/>
                  <a:gd name="T61" fmla="*/ 2147483647 h 1194"/>
                  <a:gd name="T62" fmla="*/ 2147483647 w 300"/>
                  <a:gd name="T63" fmla="*/ 2147483647 h 1194"/>
                  <a:gd name="T64" fmla="*/ 2147483647 w 300"/>
                  <a:gd name="T65" fmla="*/ 2147483647 h 1194"/>
                  <a:gd name="T66" fmla="*/ 2147483647 w 300"/>
                  <a:gd name="T67" fmla="*/ 2147483647 h 1194"/>
                  <a:gd name="T68" fmla="*/ 2147483647 w 300"/>
                  <a:gd name="T69" fmla="*/ 2147483647 h 1194"/>
                  <a:gd name="T70" fmla="*/ 2147483647 w 300"/>
                  <a:gd name="T71" fmla="*/ 2147483647 h 1194"/>
                  <a:gd name="T72" fmla="*/ 2147483647 w 300"/>
                  <a:gd name="T73" fmla="*/ 2147483647 h 1194"/>
                  <a:gd name="T74" fmla="*/ 2147483647 w 300"/>
                  <a:gd name="T75" fmla="*/ 2147483647 h 1194"/>
                  <a:gd name="T76" fmla="*/ 2147483647 w 300"/>
                  <a:gd name="T77" fmla="*/ 2147483647 h 1194"/>
                  <a:gd name="T78" fmla="*/ 2147483647 w 300"/>
                  <a:gd name="T79" fmla="*/ 2147483647 h 1194"/>
                  <a:gd name="T80" fmla="*/ 2147483647 w 300"/>
                  <a:gd name="T81" fmla="*/ 2147483647 h 1194"/>
                  <a:gd name="T82" fmla="*/ 2147483647 w 300"/>
                  <a:gd name="T83" fmla="*/ 2147483647 h 1194"/>
                  <a:gd name="T84" fmla="*/ 2147483647 w 300"/>
                  <a:gd name="T85" fmla="*/ 2147483647 h 1194"/>
                  <a:gd name="T86" fmla="*/ 2147483647 w 300"/>
                  <a:gd name="T87" fmla="*/ 2147483647 h 1194"/>
                  <a:gd name="T88" fmla="*/ 2147483647 w 300"/>
                  <a:gd name="T89" fmla="*/ 2147483647 h 1194"/>
                  <a:gd name="T90" fmla="*/ 2147483647 w 300"/>
                  <a:gd name="T91" fmla="*/ 2147483647 h 1194"/>
                  <a:gd name="T92" fmla="*/ 2147483647 w 300"/>
                  <a:gd name="T93" fmla="*/ 2147483647 h 1194"/>
                  <a:gd name="T94" fmla="*/ 2147483647 w 300"/>
                  <a:gd name="T95" fmla="*/ 2147483647 h 1194"/>
                  <a:gd name="T96" fmla="*/ 2147483647 w 300"/>
                  <a:gd name="T97" fmla="*/ 2147483647 h 1194"/>
                  <a:gd name="T98" fmla="*/ 2147483647 w 300"/>
                  <a:gd name="T99" fmla="*/ 0 h 1194"/>
                  <a:gd name="T100" fmla="*/ 2147483647 w 300"/>
                  <a:gd name="T101" fmla="*/ 2147483647 h 11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0"/>
                  <a:gd name="T154" fmla="*/ 0 h 1194"/>
                  <a:gd name="T155" fmla="*/ 300 w 300"/>
                  <a:gd name="T156" fmla="*/ 1194 h 11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0" h="1194">
                    <a:moveTo>
                      <a:pt x="0" y="1194"/>
                    </a:moveTo>
                    <a:lnTo>
                      <a:pt x="12" y="1188"/>
                    </a:lnTo>
                    <a:lnTo>
                      <a:pt x="36" y="1146"/>
                    </a:lnTo>
                    <a:lnTo>
                      <a:pt x="18" y="1134"/>
                    </a:lnTo>
                    <a:lnTo>
                      <a:pt x="0" y="1194"/>
                    </a:lnTo>
                    <a:close/>
                    <a:moveTo>
                      <a:pt x="114" y="1068"/>
                    </a:moveTo>
                    <a:lnTo>
                      <a:pt x="72" y="1062"/>
                    </a:lnTo>
                    <a:lnTo>
                      <a:pt x="54" y="1134"/>
                    </a:lnTo>
                    <a:lnTo>
                      <a:pt x="66" y="1134"/>
                    </a:lnTo>
                    <a:lnTo>
                      <a:pt x="84" y="1104"/>
                    </a:lnTo>
                    <a:lnTo>
                      <a:pt x="132" y="1074"/>
                    </a:lnTo>
                    <a:lnTo>
                      <a:pt x="120" y="1050"/>
                    </a:lnTo>
                    <a:lnTo>
                      <a:pt x="114" y="1068"/>
                    </a:lnTo>
                    <a:close/>
                    <a:moveTo>
                      <a:pt x="192" y="1008"/>
                    </a:moveTo>
                    <a:lnTo>
                      <a:pt x="186" y="1008"/>
                    </a:lnTo>
                    <a:lnTo>
                      <a:pt x="180" y="1020"/>
                    </a:lnTo>
                    <a:lnTo>
                      <a:pt x="174" y="1026"/>
                    </a:lnTo>
                    <a:lnTo>
                      <a:pt x="168" y="1038"/>
                    </a:lnTo>
                    <a:lnTo>
                      <a:pt x="168" y="1044"/>
                    </a:lnTo>
                    <a:lnTo>
                      <a:pt x="174" y="1050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192" y="1008"/>
                    </a:lnTo>
                    <a:close/>
                    <a:moveTo>
                      <a:pt x="282" y="636"/>
                    </a:moveTo>
                    <a:lnTo>
                      <a:pt x="264" y="654"/>
                    </a:lnTo>
                    <a:lnTo>
                      <a:pt x="276" y="678"/>
                    </a:lnTo>
                    <a:lnTo>
                      <a:pt x="258" y="678"/>
                    </a:lnTo>
                    <a:lnTo>
                      <a:pt x="258" y="702"/>
                    </a:lnTo>
                    <a:lnTo>
                      <a:pt x="282" y="702"/>
                    </a:lnTo>
                    <a:lnTo>
                      <a:pt x="294" y="684"/>
                    </a:lnTo>
                    <a:lnTo>
                      <a:pt x="282" y="654"/>
                    </a:lnTo>
                    <a:lnTo>
                      <a:pt x="300" y="654"/>
                    </a:lnTo>
                    <a:lnTo>
                      <a:pt x="282" y="636"/>
                    </a:lnTo>
                    <a:close/>
                    <a:moveTo>
                      <a:pt x="276" y="768"/>
                    </a:moveTo>
                    <a:lnTo>
                      <a:pt x="294" y="750"/>
                    </a:lnTo>
                    <a:lnTo>
                      <a:pt x="270" y="732"/>
                    </a:lnTo>
                    <a:lnTo>
                      <a:pt x="276" y="768"/>
                    </a:lnTo>
                    <a:close/>
                    <a:moveTo>
                      <a:pt x="258" y="954"/>
                    </a:moveTo>
                    <a:lnTo>
                      <a:pt x="258" y="924"/>
                    </a:lnTo>
                    <a:lnTo>
                      <a:pt x="240" y="948"/>
                    </a:lnTo>
                    <a:lnTo>
                      <a:pt x="258" y="954"/>
                    </a:lnTo>
                    <a:close/>
                    <a:moveTo>
                      <a:pt x="252" y="858"/>
                    </a:moveTo>
                    <a:lnTo>
                      <a:pt x="270" y="858"/>
                    </a:lnTo>
                    <a:lnTo>
                      <a:pt x="252" y="840"/>
                    </a:lnTo>
                    <a:lnTo>
                      <a:pt x="252" y="858"/>
                    </a:lnTo>
                    <a:close/>
                    <a:moveTo>
                      <a:pt x="126" y="24"/>
                    </a:moveTo>
                    <a:lnTo>
                      <a:pt x="144" y="60"/>
                    </a:lnTo>
                    <a:lnTo>
                      <a:pt x="174" y="24"/>
                    </a:lnTo>
                    <a:lnTo>
                      <a:pt x="162" y="0"/>
                    </a:lnTo>
                    <a:lnTo>
                      <a:pt x="126" y="2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6" name="Rus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CF2146A-BD0C-6988-9063-F7234811F7D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82239" y="1126149"/>
                <a:ext cx="4068881" cy="1294978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7" name="Rom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3BA720B-DF57-97DD-A826-C18E81EDBBB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2171001"/>
                <a:ext cx="276698" cy="164977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8" name="Portug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1AC6F08-1BD4-281A-DAC9-056622A0B47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39729" y="2390969"/>
                <a:ext cx="102875" cy="184490"/>
              </a:xfrm>
              <a:custGeom>
                <a:avLst/>
                <a:gdLst>
                  <a:gd name="T0" fmla="*/ 2147483647 w 228"/>
                  <a:gd name="T1" fmla="*/ 2147483647 h 414"/>
                  <a:gd name="T2" fmla="*/ 2147483647 w 228"/>
                  <a:gd name="T3" fmla="*/ 2147483647 h 414"/>
                  <a:gd name="T4" fmla="*/ 2147483647 w 228"/>
                  <a:gd name="T5" fmla="*/ 2147483647 h 414"/>
                  <a:gd name="T6" fmla="*/ 2147483647 w 228"/>
                  <a:gd name="T7" fmla="*/ 2147483647 h 414"/>
                  <a:gd name="T8" fmla="*/ 2147483647 w 228"/>
                  <a:gd name="T9" fmla="*/ 2147483647 h 414"/>
                  <a:gd name="T10" fmla="*/ 2147483647 w 228"/>
                  <a:gd name="T11" fmla="*/ 2147483647 h 414"/>
                  <a:gd name="T12" fmla="*/ 2147483647 w 228"/>
                  <a:gd name="T13" fmla="*/ 0 h 414"/>
                  <a:gd name="T14" fmla="*/ 2147483647 w 228"/>
                  <a:gd name="T15" fmla="*/ 2147483647 h 414"/>
                  <a:gd name="T16" fmla="*/ 2147483647 w 228"/>
                  <a:gd name="T17" fmla="*/ 2147483647 h 414"/>
                  <a:gd name="T18" fmla="*/ 2147483647 w 228"/>
                  <a:gd name="T19" fmla="*/ 2147483647 h 414"/>
                  <a:gd name="T20" fmla="*/ 2147483647 w 228"/>
                  <a:gd name="T21" fmla="*/ 2147483647 h 414"/>
                  <a:gd name="T22" fmla="*/ 2147483647 w 228"/>
                  <a:gd name="T23" fmla="*/ 2147483647 h 414"/>
                  <a:gd name="T24" fmla="*/ 2147483647 w 228"/>
                  <a:gd name="T25" fmla="*/ 2147483647 h 414"/>
                  <a:gd name="T26" fmla="*/ 0 w 228"/>
                  <a:gd name="T27" fmla="*/ 2147483647 h 414"/>
                  <a:gd name="T28" fmla="*/ 2147483647 w 228"/>
                  <a:gd name="T29" fmla="*/ 2147483647 h 414"/>
                  <a:gd name="T30" fmla="*/ 2147483647 w 228"/>
                  <a:gd name="T31" fmla="*/ 2147483647 h 414"/>
                  <a:gd name="T32" fmla="*/ 2147483647 w 228"/>
                  <a:gd name="T33" fmla="*/ 2147483647 h 414"/>
                  <a:gd name="T34" fmla="*/ 2147483647 w 228"/>
                  <a:gd name="T35" fmla="*/ 2147483647 h 414"/>
                  <a:gd name="T36" fmla="*/ 2147483647 w 228"/>
                  <a:gd name="T37" fmla="*/ 2147483647 h 414"/>
                  <a:gd name="T38" fmla="*/ 2147483647 w 228"/>
                  <a:gd name="T39" fmla="*/ 2147483647 h 414"/>
                  <a:gd name="T40" fmla="*/ 2147483647 w 228"/>
                  <a:gd name="T41" fmla="*/ 2147483647 h 414"/>
                  <a:gd name="T42" fmla="*/ 2147483647 w 228"/>
                  <a:gd name="T43" fmla="*/ 2147483647 h 414"/>
                  <a:gd name="T44" fmla="*/ 2147483647 w 228"/>
                  <a:gd name="T45" fmla="*/ 2147483647 h 414"/>
                  <a:gd name="T46" fmla="*/ 2147483647 w 228"/>
                  <a:gd name="T47" fmla="*/ 2147483647 h 414"/>
                  <a:gd name="T48" fmla="*/ 2147483647 w 228"/>
                  <a:gd name="T49" fmla="*/ 2147483647 h 414"/>
                  <a:gd name="T50" fmla="*/ 2147483647 w 228"/>
                  <a:gd name="T51" fmla="*/ 2147483647 h 414"/>
                  <a:gd name="T52" fmla="*/ 2147483647 w 228"/>
                  <a:gd name="T53" fmla="*/ 2147483647 h 414"/>
                  <a:gd name="T54" fmla="*/ 2147483647 w 228"/>
                  <a:gd name="T55" fmla="*/ 2147483647 h 414"/>
                  <a:gd name="T56" fmla="*/ 2147483647 w 228"/>
                  <a:gd name="T57" fmla="*/ 2147483647 h 414"/>
                  <a:gd name="T58" fmla="*/ 2147483647 w 228"/>
                  <a:gd name="T59" fmla="*/ 2147483647 h 414"/>
                  <a:gd name="T60" fmla="*/ 2147483647 w 228"/>
                  <a:gd name="T61" fmla="*/ 2147483647 h 414"/>
                  <a:gd name="T62" fmla="*/ 2147483647 w 228"/>
                  <a:gd name="T63" fmla="*/ 2147483647 h 414"/>
                  <a:gd name="T64" fmla="*/ 2147483647 w 228"/>
                  <a:gd name="T65" fmla="*/ 2147483647 h 414"/>
                  <a:gd name="T66" fmla="*/ 2147483647 w 228"/>
                  <a:gd name="T67" fmla="*/ 2147483647 h 414"/>
                  <a:gd name="T68" fmla="*/ 2147483647 w 228"/>
                  <a:gd name="T69" fmla="*/ 2147483647 h 414"/>
                  <a:gd name="T70" fmla="*/ 2147483647 w 228"/>
                  <a:gd name="T71" fmla="*/ 2147483647 h 414"/>
                  <a:gd name="T72" fmla="*/ 2147483647 w 228"/>
                  <a:gd name="T73" fmla="*/ 2147483647 h 414"/>
                  <a:gd name="T74" fmla="*/ 2147483647 w 228"/>
                  <a:gd name="T75" fmla="*/ 2147483647 h 414"/>
                  <a:gd name="T76" fmla="*/ 2147483647 w 228"/>
                  <a:gd name="T77" fmla="*/ 2147483647 h 414"/>
                  <a:gd name="T78" fmla="*/ 2147483647 w 228"/>
                  <a:gd name="T79" fmla="*/ 2147483647 h 414"/>
                  <a:gd name="T80" fmla="*/ 2147483647 w 228"/>
                  <a:gd name="T81" fmla="*/ 2147483647 h 414"/>
                  <a:gd name="T82" fmla="*/ 2147483647 w 228"/>
                  <a:gd name="T83" fmla="*/ 2147483647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28"/>
                  <a:gd name="T127" fmla="*/ 0 h 414"/>
                  <a:gd name="T128" fmla="*/ 228 w 228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28" h="414">
                    <a:moveTo>
                      <a:pt x="210" y="30"/>
                    </a:moveTo>
                    <a:lnTo>
                      <a:pt x="21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24"/>
                    </a:lnTo>
                    <a:lnTo>
                      <a:pt x="138" y="24"/>
                    </a:lnTo>
                    <a:lnTo>
                      <a:pt x="132" y="18"/>
                    </a:lnTo>
                    <a:lnTo>
                      <a:pt x="114" y="18"/>
                    </a:lnTo>
                    <a:lnTo>
                      <a:pt x="108" y="24"/>
                    </a:lnTo>
                    <a:lnTo>
                      <a:pt x="96" y="24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14" y="6"/>
                    </a:lnTo>
                    <a:lnTo>
                      <a:pt x="114" y="0"/>
                    </a:lnTo>
                    <a:lnTo>
                      <a:pt x="90" y="0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66" y="60"/>
                    </a:lnTo>
                    <a:lnTo>
                      <a:pt x="66" y="78"/>
                    </a:lnTo>
                    <a:lnTo>
                      <a:pt x="60" y="108"/>
                    </a:lnTo>
                    <a:lnTo>
                      <a:pt x="48" y="138"/>
                    </a:lnTo>
                    <a:lnTo>
                      <a:pt x="30" y="174"/>
                    </a:lnTo>
                    <a:lnTo>
                      <a:pt x="12" y="222"/>
                    </a:lnTo>
                    <a:lnTo>
                      <a:pt x="6" y="234"/>
                    </a:lnTo>
                    <a:lnTo>
                      <a:pt x="6" y="240"/>
                    </a:lnTo>
                    <a:lnTo>
                      <a:pt x="0" y="252"/>
                    </a:lnTo>
                    <a:lnTo>
                      <a:pt x="0" y="264"/>
                    </a:lnTo>
                    <a:lnTo>
                      <a:pt x="18" y="282"/>
                    </a:lnTo>
                    <a:lnTo>
                      <a:pt x="30" y="288"/>
                    </a:lnTo>
                    <a:lnTo>
                      <a:pt x="42" y="342"/>
                    </a:lnTo>
                    <a:lnTo>
                      <a:pt x="42" y="348"/>
                    </a:lnTo>
                    <a:lnTo>
                      <a:pt x="36" y="354"/>
                    </a:lnTo>
                    <a:lnTo>
                      <a:pt x="36" y="366"/>
                    </a:lnTo>
                    <a:lnTo>
                      <a:pt x="30" y="384"/>
                    </a:lnTo>
                    <a:lnTo>
                      <a:pt x="24" y="396"/>
                    </a:lnTo>
                    <a:lnTo>
                      <a:pt x="24" y="408"/>
                    </a:lnTo>
                    <a:lnTo>
                      <a:pt x="48" y="408"/>
                    </a:lnTo>
                    <a:lnTo>
                      <a:pt x="60" y="402"/>
                    </a:lnTo>
                    <a:lnTo>
                      <a:pt x="72" y="402"/>
                    </a:lnTo>
                    <a:lnTo>
                      <a:pt x="84" y="414"/>
                    </a:lnTo>
                    <a:lnTo>
                      <a:pt x="96" y="414"/>
                    </a:lnTo>
                    <a:lnTo>
                      <a:pt x="108" y="408"/>
                    </a:lnTo>
                    <a:lnTo>
                      <a:pt x="114" y="402"/>
                    </a:lnTo>
                    <a:lnTo>
                      <a:pt x="120" y="402"/>
                    </a:lnTo>
                    <a:lnTo>
                      <a:pt x="126" y="396"/>
                    </a:lnTo>
                    <a:lnTo>
                      <a:pt x="126" y="348"/>
                    </a:lnTo>
                    <a:lnTo>
                      <a:pt x="132" y="342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62" y="318"/>
                    </a:lnTo>
                    <a:lnTo>
                      <a:pt x="162" y="312"/>
                    </a:lnTo>
                    <a:lnTo>
                      <a:pt x="150" y="312"/>
                    </a:lnTo>
                    <a:lnTo>
                      <a:pt x="144" y="306"/>
                    </a:lnTo>
                    <a:lnTo>
                      <a:pt x="138" y="294"/>
                    </a:lnTo>
                    <a:lnTo>
                      <a:pt x="138" y="288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44" y="264"/>
                    </a:lnTo>
                    <a:lnTo>
                      <a:pt x="156" y="258"/>
                    </a:lnTo>
                    <a:lnTo>
                      <a:pt x="168" y="246"/>
                    </a:lnTo>
                    <a:lnTo>
                      <a:pt x="168" y="240"/>
                    </a:lnTo>
                    <a:lnTo>
                      <a:pt x="156" y="234"/>
                    </a:lnTo>
                    <a:lnTo>
                      <a:pt x="150" y="228"/>
                    </a:lnTo>
                    <a:lnTo>
                      <a:pt x="150" y="216"/>
                    </a:lnTo>
                    <a:lnTo>
                      <a:pt x="126" y="192"/>
                    </a:lnTo>
                    <a:lnTo>
                      <a:pt x="162" y="192"/>
                    </a:lnTo>
                    <a:lnTo>
                      <a:pt x="174" y="180"/>
                    </a:lnTo>
                    <a:lnTo>
                      <a:pt x="174" y="168"/>
                    </a:lnTo>
                    <a:lnTo>
                      <a:pt x="168" y="162"/>
                    </a:lnTo>
                    <a:lnTo>
                      <a:pt x="168" y="150"/>
                    </a:lnTo>
                    <a:lnTo>
                      <a:pt x="174" y="144"/>
                    </a:lnTo>
                    <a:lnTo>
                      <a:pt x="180" y="144"/>
                    </a:lnTo>
                    <a:lnTo>
                      <a:pt x="180" y="126"/>
                    </a:lnTo>
                    <a:lnTo>
                      <a:pt x="186" y="108"/>
                    </a:lnTo>
                    <a:lnTo>
                      <a:pt x="186" y="96"/>
                    </a:lnTo>
                    <a:lnTo>
                      <a:pt x="180" y="90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78"/>
                    </a:lnTo>
                    <a:lnTo>
                      <a:pt x="204" y="66"/>
                    </a:lnTo>
                    <a:lnTo>
                      <a:pt x="228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10" y="3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9" name="Po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30CB90E-4313-E54D-4768-A90DAA0A7E4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31475" y="1942161"/>
                <a:ext cx="280246" cy="202229"/>
              </a:xfrm>
              <a:custGeom>
                <a:avLst/>
                <a:gdLst>
                  <a:gd name="T0" fmla="*/ 2147483647 w 624"/>
                  <a:gd name="T1" fmla="*/ 2147483647 h 450"/>
                  <a:gd name="T2" fmla="*/ 2147483647 w 624"/>
                  <a:gd name="T3" fmla="*/ 2147483647 h 450"/>
                  <a:gd name="T4" fmla="*/ 2147483647 w 624"/>
                  <a:gd name="T5" fmla="*/ 2147483647 h 450"/>
                  <a:gd name="T6" fmla="*/ 2147483647 w 624"/>
                  <a:gd name="T7" fmla="*/ 2147483647 h 450"/>
                  <a:gd name="T8" fmla="*/ 2147483647 w 624"/>
                  <a:gd name="T9" fmla="*/ 2147483647 h 450"/>
                  <a:gd name="T10" fmla="*/ 2147483647 w 624"/>
                  <a:gd name="T11" fmla="*/ 2147483647 h 450"/>
                  <a:gd name="T12" fmla="*/ 2147483647 w 624"/>
                  <a:gd name="T13" fmla="*/ 2147483647 h 450"/>
                  <a:gd name="T14" fmla="*/ 2147483647 w 624"/>
                  <a:gd name="T15" fmla="*/ 2147483647 h 450"/>
                  <a:gd name="T16" fmla="*/ 2147483647 w 624"/>
                  <a:gd name="T17" fmla="*/ 2147483647 h 450"/>
                  <a:gd name="T18" fmla="*/ 2147483647 w 624"/>
                  <a:gd name="T19" fmla="*/ 2147483647 h 450"/>
                  <a:gd name="T20" fmla="*/ 2147483647 w 624"/>
                  <a:gd name="T21" fmla="*/ 2147483647 h 450"/>
                  <a:gd name="T22" fmla="*/ 2147483647 w 624"/>
                  <a:gd name="T23" fmla="*/ 2147483647 h 450"/>
                  <a:gd name="T24" fmla="*/ 2147483647 w 624"/>
                  <a:gd name="T25" fmla="*/ 2147483647 h 450"/>
                  <a:gd name="T26" fmla="*/ 2147483647 w 624"/>
                  <a:gd name="T27" fmla="*/ 2147483647 h 450"/>
                  <a:gd name="T28" fmla="*/ 2147483647 w 624"/>
                  <a:gd name="T29" fmla="*/ 2147483647 h 450"/>
                  <a:gd name="T30" fmla="*/ 2147483647 w 624"/>
                  <a:gd name="T31" fmla="*/ 2147483647 h 450"/>
                  <a:gd name="T32" fmla="*/ 2147483647 w 624"/>
                  <a:gd name="T33" fmla="*/ 2147483647 h 450"/>
                  <a:gd name="T34" fmla="*/ 2147483647 w 624"/>
                  <a:gd name="T35" fmla="*/ 2147483647 h 450"/>
                  <a:gd name="T36" fmla="*/ 2147483647 w 624"/>
                  <a:gd name="T37" fmla="*/ 2147483647 h 450"/>
                  <a:gd name="T38" fmla="*/ 2147483647 w 624"/>
                  <a:gd name="T39" fmla="*/ 2147483647 h 450"/>
                  <a:gd name="T40" fmla="*/ 2147483647 w 624"/>
                  <a:gd name="T41" fmla="*/ 2147483647 h 450"/>
                  <a:gd name="T42" fmla="*/ 2147483647 w 624"/>
                  <a:gd name="T43" fmla="*/ 2147483647 h 450"/>
                  <a:gd name="T44" fmla="*/ 2147483647 w 624"/>
                  <a:gd name="T45" fmla="*/ 2147483647 h 450"/>
                  <a:gd name="T46" fmla="*/ 2147483647 w 624"/>
                  <a:gd name="T47" fmla="*/ 2147483647 h 450"/>
                  <a:gd name="T48" fmla="*/ 2147483647 w 624"/>
                  <a:gd name="T49" fmla="*/ 2147483647 h 450"/>
                  <a:gd name="T50" fmla="*/ 2147483647 w 624"/>
                  <a:gd name="T51" fmla="*/ 2147483647 h 450"/>
                  <a:gd name="T52" fmla="*/ 2147483647 w 624"/>
                  <a:gd name="T53" fmla="*/ 2147483647 h 450"/>
                  <a:gd name="T54" fmla="*/ 2147483647 w 624"/>
                  <a:gd name="T55" fmla="*/ 2147483647 h 450"/>
                  <a:gd name="T56" fmla="*/ 2147483647 w 624"/>
                  <a:gd name="T57" fmla="*/ 2147483647 h 450"/>
                  <a:gd name="T58" fmla="*/ 0 w 624"/>
                  <a:gd name="T59" fmla="*/ 2147483647 h 450"/>
                  <a:gd name="T60" fmla="*/ 2147483647 w 624"/>
                  <a:gd name="T61" fmla="*/ 2147483647 h 450"/>
                  <a:gd name="T62" fmla="*/ 2147483647 w 624"/>
                  <a:gd name="T63" fmla="*/ 2147483647 h 450"/>
                  <a:gd name="T64" fmla="*/ 2147483647 w 624"/>
                  <a:gd name="T65" fmla="*/ 2147483647 h 450"/>
                  <a:gd name="T66" fmla="*/ 2147483647 w 624"/>
                  <a:gd name="T67" fmla="*/ 2147483647 h 450"/>
                  <a:gd name="T68" fmla="*/ 2147483647 w 624"/>
                  <a:gd name="T69" fmla="*/ 2147483647 h 450"/>
                  <a:gd name="T70" fmla="*/ 2147483647 w 624"/>
                  <a:gd name="T71" fmla="*/ 2147483647 h 450"/>
                  <a:gd name="T72" fmla="*/ 2147483647 w 624"/>
                  <a:gd name="T73" fmla="*/ 2147483647 h 450"/>
                  <a:gd name="T74" fmla="*/ 2147483647 w 624"/>
                  <a:gd name="T75" fmla="*/ 2147483647 h 450"/>
                  <a:gd name="T76" fmla="*/ 2147483647 w 624"/>
                  <a:gd name="T77" fmla="*/ 2147483647 h 450"/>
                  <a:gd name="T78" fmla="*/ 2147483647 w 624"/>
                  <a:gd name="T79" fmla="*/ 2147483647 h 450"/>
                  <a:gd name="T80" fmla="*/ 2147483647 w 624"/>
                  <a:gd name="T81" fmla="*/ 2147483647 h 450"/>
                  <a:gd name="T82" fmla="*/ 2147483647 w 624"/>
                  <a:gd name="T83" fmla="*/ 2147483647 h 450"/>
                  <a:gd name="T84" fmla="*/ 2147483647 w 624"/>
                  <a:gd name="T85" fmla="*/ 2147483647 h 450"/>
                  <a:gd name="T86" fmla="*/ 2147483647 w 624"/>
                  <a:gd name="T87" fmla="*/ 2147483647 h 450"/>
                  <a:gd name="T88" fmla="*/ 2147483647 w 624"/>
                  <a:gd name="T89" fmla="*/ 2147483647 h 450"/>
                  <a:gd name="T90" fmla="*/ 2147483647 w 624"/>
                  <a:gd name="T91" fmla="*/ 2147483647 h 450"/>
                  <a:gd name="T92" fmla="*/ 2147483647 w 624"/>
                  <a:gd name="T93" fmla="*/ 2147483647 h 450"/>
                  <a:gd name="T94" fmla="*/ 2147483647 w 624"/>
                  <a:gd name="T95" fmla="*/ 2147483647 h 450"/>
                  <a:gd name="T96" fmla="*/ 2147483647 w 624"/>
                  <a:gd name="T97" fmla="*/ 2147483647 h 450"/>
                  <a:gd name="T98" fmla="*/ 2147483647 w 624"/>
                  <a:gd name="T99" fmla="*/ 2147483647 h 450"/>
                  <a:gd name="T100" fmla="*/ 2147483647 w 624"/>
                  <a:gd name="T101" fmla="*/ 2147483647 h 450"/>
                  <a:gd name="T102" fmla="*/ 2147483647 w 624"/>
                  <a:gd name="T103" fmla="*/ 2147483647 h 450"/>
                  <a:gd name="T104" fmla="*/ 2147483647 w 624"/>
                  <a:gd name="T105" fmla="*/ 2147483647 h 450"/>
                  <a:gd name="T106" fmla="*/ 2147483647 w 624"/>
                  <a:gd name="T107" fmla="*/ 2147483647 h 4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24"/>
                  <a:gd name="T163" fmla="*/ 0 h 450"/>
                  <a:gd name="T164" fmla="*/ 624 w 624"/>
                  <a:gd name="T165" fmla="*/ 450 h 4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24" h="450">
                    <a:moveTo>
                      <a:pt x="426" y="426"/>
                    </a:moveTo>
                    <a:lnTo>
                      <a:pt x="432" y="426"/>
                    </a:lnTo>
                    <a:lnTo>
                      <a:pt x="444" y="420"/>
                    </a:lnTo>
                    <a:lnTo>
                      <a:pt x="450" y="414"/>
                    </a:lnTo>
                    <a:lnTo>
                      <a:pt x="474" y="414"/>
                    </a:lnTo>
                    <a:lnTo>
                      <a:pt x="498" y="438"/>
                    </a:lnTo>
                    <a:lnTo>
                      <a:pt x="528" y="438"/>
                    </a:lnTo>
                    <a:lnTo>
                      <a:pt x="528" y="450"/>
                    </a:lnTo>
                    <a:lnTo>
                      <a:pt x="552" y="450"/>
                    </a:lnTo>
                    <a:lnTo>
                      <a:pt x="540" y="438"/>
                    </a:lnTo>
                    <a:lnTo>
                      <a:pt x="540" y="396"/>
                    </a:lnTo>
                    <a:lnTo>
                      <a:pt x="594" y="348"/>
                    </a:lnTo>
                    <a:lnTo>
                      <a:pt x="606" y="348"/>
                    </a:lnTo>
                    <a:lnTo>
                      <a:pt x="612" y="342"/>
                    </a:lnTo>
                    <a:lnTo>
                      <a:pt x="618" y="342"/>
                    </a:lnTo>
                    <a:lnTo>
                      <a:pt x="624" y="336"/>
                    </a:lnTo>
                    <a:lnTo>
                      <a:pt x="618" y="330"/>
                    </a:lnTo>
                    <a:lnTo>
                      <a:pt x="618" y="324"/>
                    </a:lnTo>
                    <a:lnTo>
                      <a:pt x="612" y="318"/>
                    </a:lnTo>
                    <a:lnTo>
                      <a:pt x="618" y="306"/>
                    </a:lnTo>
                    <a:lnTo>
                      <a:pt x="612" y="300"/>
                    </a:lnTo>
                    <a:lnTo>
                      <a:pt x="600" y="294"/>
                    </a:lnTo>
                    <a:lnTo>
                      <a:pt x="600" y="288"/>
                    </a:lnTo>
                    <a:lnTo>
                      <a:pt x="582" y="270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76" y="240"/>
                    </a:lnTo>
                    <a:lnTo>
                      <a:pt x="576" y="210"/>
                    </a:lnTo>
                    <a:lnTo>
                      <a:pt x="564" y="198"/>
                    </a:lnTo>
                    <a:lnTo>
                      <a:pt x="558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64" y="186"/>
                    </a:lnTo>
                    <a:lnTo>
                      <a:pt x="564" y="168"/>
                    </a:lnTo>
                    <a:lnTo>
                      <a:pt x="588" y="162"/>
                    </a:lnTo>
                    <a:lnTo>
                      <a:pt x="588" y="150"/>
                    </a:lnTo>
                    <a:lnTo>
                      <a:pt x="594" y="144"/>
                    </a:lnTo>
                    <a:lnTo>
                      <a:pt x="594" y="138"/>
                    </a:lnTo>
                    <a:lnTo>
                      <a:pt x="588" y="132"/>
                    </a:lnTo>
                    <a:lnTo>
                      <a:pt x="576" y="108"/>
                    </a:lnTo>
                    <a:lnTo>
                      <a:pt x="570" y="102"/>
                    </a:lnTo>
                    <a:lnTo>
                      <a:pt x="570" y="90"/>
                    </a:lnTo>
                    <a:lnTo>
                      <a:pt x="564" y="84"/>
                    </a:lnTo>
                    <a:lnTo>
                      <a:pt x="558" y="72"/>
                    </a:lnTo>
                    <a:lnTo>
                      <a:pt x="558" y="48"/>
                    </a:lnTo>
                    <a:lnTo>
                      <a:pt x="546" y="42"/>
                    </a:lnTo>
                    <a:lnTo>
                      <a:pt x="540" y="42"/>
                    </a:lnTo>
                    <a:lnTo>
                      <a:pt x="522" y="36"/>
                    </a:lnTo>
                    <a:lnTo>
                      <a:pt x="498" y="36"/>
                    </a:lnTo>
                    <a:lnTo>
                      <a:pt x="498" y="42"/>
                    </a:lnTo>
                    <a:lnTo>
                      <a:pt x="408" y="42"/>
                    </a:lnTo>
                    <a:lnTo>
                      <a:pt x="402" y="36"/>
                    </a:lnTo>
                    <a:lnTo>
                      <a:pt x="390" y="36"/>
                    </a:lnTo>
                    <a:lnTo>
                      <a:pt x="384" y="30"/>
                    </a:lnTo>
                    <a:lnTo>
                      <a:pt x="360" y="30"/>
                    </a:lnTo>
                    <a:lnTo>
                      <a:pt x="354" y="36"/>
                    </a:lnTo>
                    <a:lnTo>
                      <a:pt x="348" y="36"/>
                    </a:lnTo>
                    <a:lnTo>
                      <a:pt x="342" y="30"/>
                    </a:lnTo>
                    <a:lnTo>
                      <a:pt x="312" y="30"/>
                    </a:lnTo>
                    <a:lnTo>
                      <a:pt x="300" y="36"/>
                    </a:lnTo>
                    <a:lnTo>
                      <a:pt x="282" y="36"/>
                    </a:lnTo>
                    <a:lnTo>
                      <a:pt x="276" y="30"/>
                    </a:lnTo>
                    <a:lnTo>
                      <a:pt x="270" y="18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58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192" y="6"/>
                    </a:lnTo>
                    <a:lnTo>
                      <a:pt x="180" y="12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20" y="42"/>
                    </a:lnTo>
                    <a:lnTo>
                      <a:pt x="60" y="48"/>
                    </a:lnTo>
                    <a:lnTo>
                      <a:pt x="54" y="48"/>
                    </a:lnTo>
                    <a:lnTo>
                      <a:pt x="48" y="54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18" y="96"/>
                    </a:lnTo>
                    <a:lnTo>
                      <a:pt x="6" y="90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18" y="132"/>
                    </a:lnTo>
                    <a:lnTo>
                      <a:pt x="6" y="144"/>
                    </a:lnTo>
                    <a:lnTo>
                      <a:pt x="0" y="144"/>
                    </a:lnTo>
                    <a:lnTo>
                      <a:pt x="0" y="156"/>
                    </a:lnTo>
                    <a:lnTo>
                      <a:pt x="6" y="162"/>
                    </a:lnTo>
                    <a:lnTo>
                      <a:pt x="12" y="162"/>
                    </a:lnTo>
                    <a:lnTo>
                      <a:pt x="18" y="168"/>
                    </a:lnTo>
                    <a:lnTo>
                      <a:pt x="30" y="168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24" y="198"/>
                    </a:lnTo>
                    <a:lnTo>
                      <a:pt x="36" y="198"/>
                    </a:lnTo>
                    <a:lnTo>
                      <a:pt x="36" y="204"/>
                    </a:lnTo>
                    <a:lnTo>
                      <a:pt x="30" y="210"/>
                    </a:lnTo>
                    <a:lnTo>
                      <a:pt x="36" y="210"/>
                    </a:lnTo>
                    <a:lnTo>
                      <a:pt x="42" y="216"/>
                    </a:lnTo>
                    <a:lnTo>
                      <a:pt x="36" y="222"/>
                    </a:lnTo>
                    <a:lnTo>
                      <a:pt x="24" y="228"/>
                    </a:lnTo>
                    <a:lnTo>
                      <a:pt x="24" y="234"/>
                    </a:lnTo>
                    <a:lnTo>
                      <a:pt x="30" y="240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42" y="264"/>
                    </a:lnTo>
                    <a:lnTo>
                      <a:pt x="48" y="258"/>
                    </a:lnTo>
                    <a:lnTo>
                      <a:pt x="54" y="25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60" y="276"/>
                    </a:lnTo>
                    <a:lnTo>
                      <a:pt x="60" y="282"/>
                    </a:lnTo>
                    <a:lnTo>
                      <a:pt x="54" y="282"/>
                    </a:lnTo>
                    <a:lnTo>
                      <a:pt x="54" y="294"/>
                    </a:lnTo>
                    <a:lnTo>
                      <a:pt x="72" y="294"/>
                    </a:lnTo>
                    <a:lnTo>
                      <a:pt x="78" y="312"/>
                    </a:lnTo>
                    <a:lnTo>
                      <a:pt x="96" y="312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24"/>
                    </a:lnTo>
                    <a:lnTo>
                      <a:pt x="138" y="324"/>
                    </a:lnTo>
                    <a:lnTo>
                      <a:pt x="144" y="330"/>
                    </a:lnTo>
                    <a:lnTo>
                      <a:pt x="132" y="336"/>
                    </a:lnTo>
                    <a:lnTo>
                      <a:pt x="144" y="342"/>
                    </a:lnTo>
                    <a:lnTo>
                      <a:pt x="144" y="354"/>
                    </a:lnTo>
                    <a:lnTo>
                      <a:pt x="150" y="354"/>
                    </a:lnTo>
                    <a:lnTo>
                      <a:pt x="156" y="360"/>
                    </a:lnTo>
                    <a:lnTo>
                      <a:pt x="174" y="360"/>
                    </a:lnTo>
                    <a:lnTo>
                      <a:pt x="174" y="354"/>
                    </a:lnTo>
                    <a:lnTo>
                      <a:pt x="180" y="354"/>
                    </a:lnTo>
                    <a:lnTo>
                      <a:pt x="192" y="348"/>
                    </a:lnTo>
                    <a:lnTo>
                      <a:pt x="210" y="348"/>
                    </a:lnTo>
                    <a:lnTo>
                      <a:pt x="204" y="354"/>
                    </a:lnTo>
                    <a:lnTo>
                      <a:pt x="222" y="354"/>
                    </a:lnTo>
                    <a:lnTo>
                      <a:pt x="228" y="360"/>
                    </a:lnTo>
                    <a:lnTo>
                      <a:pt x="234" y="372"/>
                    </a:lnTo>
                    <a:lnTo>
                      <a:pt x="240" y="378"/>
                    </a:lnTo>
                    <a:lnTo>
                      <a:pt x="246" y="366"/>
                    </a:lnTo>
                    <a:lnTo>
                      <a:pt x="252" y="372"/>
                    </a:lnTo>
                    <a:lnTo>
                      <a:pt x="252" y="378"/>
                    </a:lnTo>
                    <a:lnTo>
                      <a:pt x="270" y="378"/>
                    </a:lnTo>
                    <a:lnTo>
                      <a:pt x="282" y="384"/>
                    </a:lnTo>
                    <a:lnTo>
                      <a:pt x="282" y="390"/>
                    </a:lnTo>
                    <a:lnTo>
                      <a:pt x="288" y="402"/>
                    </a:lnTo>
                    <a:lnTo>
                      <a:pt x="306" y="420"/>
                    </a:lnTo>
                    <a:lnTo>
                      <a:pt x="318" y="420"/>
                    </a:lnTo>
                    <a:lnTo>
                      <a:pt x="330" y="408"/>
                    </a:lnTo>
                    <a:lnTo>
                      <a:pt x="342" y="408"/>
                    </a:lnTo>
                    <a:lnTo>
                      <a:pt x="354" y="420"/>
                    </a:lnTo>
                    <a:lnTo>
                      <a:pt x="360" y="420"/>
                    </a:lnTo>
                    <a:lnTo>
                      <a:pt x="360" y="426"/>
                    </a:lnTo>
                    <a:lnTo>
                      <a:pt x="366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84" y="420"/>
                    </a:lnTo>
                    <a:lnTo>
                      <a:pt x="414" y="420"/>
                    </a:lnTo>
                    <a:lnTo>
                      <a:pt x="420" y="426"/>
                    </a:lnTo>
                    <a:lnTo>
                      <a:pt x="426" y="4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0" name="Norw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4AA527B-9CDD-8F52-EBD6-C3AA1A7CC95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3797" y="1159853"/>
                <a:ext cx="611928" cy="672324"/>
              </a:xfrm>
              <a:custGeom>
                <a:avLst/>
                <a:gdLst>
                  <a:gd name="T0" fmla="*/ 2147483647 w 1362"/>
                  <a:gd name="T1" fmla="*/ 2147483647 h 1500"/>
                  <a:gd name="T2" fmla="*/ 2147483647 w 1362"/>
                  <a:gd name="T3" fmla="*/ 2147483647 h 1500"/>
                  <a:gd name="T4" fmla="*/ 2147483647 w 1362"/>
                  <a:gd name="T5" fmla="*/ 2147483647 h 1500"/>
                  <a:gd name="T6" fmla="*/ 2147483647 w 1362"/>
                  <a:gd name="T7" fmla="*/ 2147483647 h 1500"/>
                  <a:gd name="T8" fmla="*/ 2147483647 w 1362"/>
                  <a:gd name="T9" fmla="*/ 0 h 1500"/>
                  <a:gd name="T10" fmla="*/ 2147483647 w 1362"/>
                  <a:gd name="T11" fmla="*/ 2147483647 h 1500"/>
                  <a:gd name="T12" fmla="*/ 2147483647 w 1362"/>
                  <a:gd name="T13" fmla="*/ 2147483647 h 1500"/>
                  <a:gd name="T14" fmla="*/ 2147483647 w 1362"/>
                  <a:gd name="T15" fmla="*/ 2147483647 h 1500"/>
                  <a:gd name="T16" fmla="*/ 2147483647 w 1362"/>
                  <a:gd name="T17" fmla="*/ 2147483647 h 1500"/>
                  <a:gd name="T18" fmla="*/ 2147483647 w 1362"/>
                  <a:gd name="T19" fmla="*/ 2147483647 h 1500"/>
                  <a:gd name="T20" fmla="*/ 2147483647 w 1362"/>
                  <a:gd name="T21" fmla="*/ 2147483647 h 1500"/>
                  <a:gd name="T22" fmla="*/ 2147483647 w 1362"/>
                  <a:gd name="T23" fmla="*/ 2147483647 h 1500"/>
                  <a:gd name="T24" fmla="*/ 2147483647 w 1362"/>
                  <a:gd name="T25" fmla="*/ 2147483647 h 1500"/>
                  <a:gd name="T26" fmla="*/ 2147483647 w 1362"/>
                  <a:gd name="T27" fmla="*/ 2147483647 h 1500"/>
                  <a:gd name="T28" fmla="*/ 2147483647 w 1362"/>
                  <a:gd name="T29" fmla="*/ 2147483647 h 1500"/>
                  <a:gd name="T30" fmla="*/ 2147483647 w 1362"/>
                  <a:gd name="T31" fmla="*/ 2147483647 h 1500"/>
                  <a:gd name="T32" fmla="*/ 2147483647 w 1362"/>
                  <a:gd name="T33" fmla="*/ 2147483647 h 1500"/>
                  <a:gd name="T34" fmla="*/ 2147483647 w 1362"/>
                  <a:gd name="T35" fmla="*/ 2147483647 h 1500"/>
                  <a:gd name="T36" fmla="*/ 2147483647 w 1362"/>
                  <a:gd name="T37" fmla="*/ 2147483647 h 1500"/>
                  <a:gd name="T38" fmla="*/ 2147483647 w 1362"/>
                  <a:gd name="T39" fmla="*/ 2147483647 h 1500"/>
                  <a:gd name="T40" fmla="*/ 2147483647 w 1362"/>
                  <a:gd name="T41" fmla="*/ 2147483647 h 1500"/>
                  <a:gd name="T42" fmla="*/ 2147483647 w 1362"/>
                  <a:gd name="T43" fmla="*/ 2147483647 h 1500"/>
                  <a:gd name="T44" fmla="*/ 2147483647 w 1362"/>
                  <a:gd name="T45" fmla="*/ 2147483647 h 1500"/>
                  <a:gd name="T46" fmla="*/ 2147483647 w 1362"/>
                  <a:gd name="T47" fmla="*/ 2147483647 h 1500"/>
                  <a:gd name="T48" fmla="*/ 2147483647 w 1362"/>
                  <a:gd name="T49" fmla="*/ 2147483647 h 1500"/>
                  <a:gd name="T50" fmla="*/ 2147483647 w 1362"/>
                  <a:gd name="T51" fmla="*/ 2147483647 h 1500"/>
                  <a:gd name="T52" fmla="*/ 2147483647 w 1362"/>
                  <a:gd name="T53" fmla="*/ 2147483647 h 1500"/>
                  <a:gd name="T54" fmla="*/ 2147483647 w 1362"/>
                  <a:gd name="T55" fmla="*/ 2147483647 h 1500"/>
                  <a:gd name="T56" fmla="*/ 2147483647 w 1362"/>
                  <a:gd name="T57" fmla="*/ 2147483647 h 1500"/>
                  <a:gd name="T58" fmla="*/ 2147483647 w 1362"/>
                  <a:gd name="T59" fmla="*/ 2147483647 h 1500"/>
                  <a:gd name="T60" fmla="*/ 2147483647 w 1362"/>
                  <a:gd name="T61" fmla="*/ 2147483647 h 1500"/>
                  <a:gd name="T62" fmla="*/ 2147483647 w 1362"/>
                  <a:gd name="T63" fmla="*/ 2147483647 h 1500"/>
                  <a:gd name="T64" fmla="*/ 2147483647 w 1362"/>
                  <a:gd name="T65" fmla="*/ 2147483647 h 1500"/>
                  <a:gd name="T66" fmla="*/ 2147483647 w 1362"/>
                  <a:gd name="T67" fmla="*/ 2147483647 h 1500"/>
                  <a:gd name="T68" fmla="*/ 2147483647 w 1362"/>
                  <a:gd name="T69" fmla="*/ 2147483647 h 1500"/>
                  <a:gd name="T70" fmla="*/ 2147483647 w 1362"/>
                  <a:gd name="T71" fmla="*/ 2147483647 h 1500"/>
                  <a:gd name="T72" fmla="*/ 2147483647 w 1362"/>
                  <a:gd name="T73" fmla="*/ 2147483647 h 1500"/>
                  <a:gd name="T74" fmla="*/ 2147483647 w 1362"/>
                  <a:gd name="T75" fmla="*/ 2147483647 h 1500"/>
                  <a:gd name="T76" fmla="*/ 2147483647 w 1362"/>
                  <a:gd name="T77" fmla="*/ 2147483647 h 1500"/>
                  <a:gd name="T78" fmla="*/ 2147483647 w 1362"/>
                  <a:gd name="T79" fmla="*/ 2147483647 h 1500"/>
                  <a:gd name="T80" fmla="*/ 2147483647 w 1362"/>
                  <a:gd name="T81" fmla="*/ 2147483647 h 1500"/>
                  <a:gd name="T82" fmla="*/ 2147483647 w 1362"/>
                  <a:gd name="T83" fmla="*/ 2147483647 h 1500"/>
                  <a:gd name="T84" fmla="*/ 2147483647 w 1362"/>
                  <a:gd name="T85" fmla="*/ 2147483647 h 1500"/>
                  <a:gd name="T86" fmla="*/ 2147483647 w 1362"/>
                  <a:gd name="T87" fmla="*/ 2147483647 h 1500"/>
                  <a:gd name="T88" fmla="*/ 2147483647 w 1362"/>
                  <a:gd name="T89" fmla="*/ 2147483647 h 1500"/>
                  <a:gd name="T90" fmla="*/ 2147483647 w 1362"/>
                  <a:gd name="T91" fmla="*/ 2147483647 h 1500"/>
                  <a:gd name="T92" fmla="*/ 2147483647 w 1362"/>
                  <a:gd name="T93" fmla="*/ 2147483647 h 1500"/>
                  <a:gd name="T94" fmla="*/ 2147483647 w 1362"/>
                  <a:gd name="T95" fmla="*/ 2147483647 h 1500"/>
                  <a:gd name="T96" fmla="*/ 2147483647 w 1362"/>
                  <a:gd name="T97" fmla="*/ 2147483647 h 1500"/>
                  <a:gd name="T98" fmla="*/ 2147483647 w 1362"/>
                  <a:gd name="T99" fmla="*/ 2147483647 h 1500"/>
                  <a:gd name="T100" fmla="*/ 2147483647 w 1362"/>
                  <a:gd name="T101" fmla="*/ 2147483647 h 1500"/>
                  <a:gd name="T102" fmla="*/ 2147483647 w 1362"/>
                  <a:gd name="T103" fmla="*/ 2147483647 h 1500"/>
                  <a:gd name="T104" fmla="*/ 2147483647 w 1362"/>
                  <a:gd name="T105" fmla="*/ 2147483647 h 1500"/>
                  <a:gd name="T106" fmla="*/ 2147483647 w 1362"/>
                  <a:gd name="T107" fmla="*/ 2147483647 h 1500"/>
                  <a:gd name="T108" fmla="*/ 2147483647 w 1362"/>
                  <a:gd name="T109" fmla="*/ 2147483647 h 1500"/>
                  <a:gd name="T110" fmla="*/ 2147483647 w 1362"/>
                  <a:gd name="T111" fmla="*/ 2147483647 h 1500"/>
                  <a:gd name="T112" fmla="*/ 2147483647 w 1362"/>
                  <a:gd name="T113" fmla="*/ 2147483647 h 1500"/>
                  <a:gd name="T114" fmla="*/ 2147483647 w 1362"/>
                  <a:gd name="T115" fmla="*/ 2147483647 h 15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62"/>
                  <a:gd name="T175" fmla="*/ 0 h 1500"/>
                  <a:gd name="T176" fmla="*/ 1362 w 1362"/>
                  <a:gd name="T177" fmla="*/ 1500 h 15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62" h="1500">
                    <a:moveTo>
                      <a:pt x="324" y="120"/>
                    </a:moveTo>
                    <a:lnTo>
                      <a:pt x="336" y="126"/>
                    </a:lnTo>
                    <a:lnTo>
                      <a:pt x="354" y="132"/>
                    </a:lnTo>
                    <a:lnTo>
                      <a:pt x="378" y="132"/>
                    </a:lnTo>
                    <a:lnTo>
                      <a:pt x="294" y="90"/>
                    </a:lnTo>
                    <a:lnTo>
                      <a:pt x="294" y="102"/>
                    </a:lnTo>
                    <a:lnTo>
                      <a:pt x="306" y="108"/>
                    </a:lnTo>
                    <a:lnTo>
                      <a:pt x="312" y="114"/>
                    </a:lnTo>
                    <a:lnTo>
                      <a:pt x="324" y="120"/>
                    </a:lnTo>
                    <a:close/>
                    <a:moveTo>
                      <a:pt x="684" y="48"/>
                    </a:moveTo>
                    <a:lnTo>
                      <a:pt x="732" y="48"/>
                    </a:lnTo>
                    <a:lnTo>
                      <a:pt x="738" y="54"/>
                    </a:lnTo>
                    <a:lnTo>
                      <a:pt x="750" y="54"/>
                    </a:lnTo>
                    <a:lnTo>
                      <a:pt x="774" y="66"/>
                    </a:lnTo>
                    <a:lnTo>
                      <a:pt x="786" y="66"/>
                    </a:lnTo>
                    <a:lnTo>
                      <a:pt x="798" y="60"/>
                    </a:lnTo>
                    <a:lnTo>
                      <a:pt x="804" y="60"/>
                    </a:lnTo>
                    <a:lnTo>
                      <a:pt x="816" y="54"/>
                    </a:lnTo>
                    <a:lnTo>
                      <a:pt x="828" y="54"/>
                    </a:lnTo>
                    <a:lnTo>
                      <a:pt x="840" y="60"/>
                    </a:lnTo>
                    <a:lnTo>
                      <a:pt x="876" y="72"/>
                    </a:lnTo>
                    <a:lnTo>
                      <a:pt x="888" y="78"/>
                    </a:lnTo>
                    <a:lnTo>
                      <a:pt x="894" y="84"/>
                    </a:lnTo>
                    <a:lnTo>
                      <a:pt x="900" y="84"/>
                    </a:lnTo>
                    <a:lnTo>
                      <a:pt x="924" y="60"/>
                    </a:lnTo>
                    <a:lnTo>
                      <a:pt x="984" y="66"/>
                    </a:lnTo>
                    <a:lnTo>
                      <a:pt x="984" y="42"/>
                    </a:lnTo>
                    <a:lnTo>
                      <a:pt x="1014" y="42"/>
                    </a:lnTo>
                    <a:lnTo>
                      <a:pt x="1026" y="36"/>
                    </a:lnTo>
                    <a:lnTo>
                      <a:pt x="1032" y="24"/>
                    </a:lnTo>
                    <a:lnTo>
                      <a:pt x="1038" y="18"/>
                    </a:lnTo>
                    <a:lnTo>
                      <a:pt x="1032" y="12"/>
                    </a:lnTo>
                    <a:lnTo>
                      <a:pt x="1002" y="12"/>
                    </a:lnTo>
                    <a:lnTo>
                      <a:pt x="990" y="18"/>
                    </a:lnTo>
                    <a:lnTo>
                      <a:pt x="984" y="18"/>
                    </a:lnTo>
                    <a:lnTo>
                      <a:pt x="972" y="6"/>
                    </a:lnTo>
                    <a:lnTo>
                      <a:pt x="960" y="0"/>
                    </a:lnTo>
                    <a:lnTo>
                      <a:pt x="918" y="0"/>
                    </a:lnTo>
                    <a:lnTo>
                      <a:pt x="900" y="6"/>
                    </a:lnTo>
                    <a:lnTo>
                      <a:pt x="882" y="18"/>
                    </a:lnTo>
                    <a:lnTo>
                      <a:pt x="870" y="18"/>
                    </a:lnTo>
                    <a:lnTo>
                      <a:pt x="864" y="12"/>
                    </a:lnTo>
                    <a:lnTo>
                      <a:pt x="864" y="6"/>
                    </a:lnTo>
                    <a:lnTo>
                      <a:pt x="858" y="6"/>
                    </a:lnTo>
                    <a:lnTo>
                      <a:pt x="852" y="0"/>
                    </a:lnTo>
                    <a:lnTo>
                      <a:pt x="822" y="0"/>
                    </a:lnTo>
                    <a:lnTo>
                      <a:pt x="804" y="18"/>
                    </a:lnTo>
                    <a:lnTo>
                      <a:pt x="738" y="0"/>
                    </a:lnTo>
                    <a:lnTo>
                      <a:pt x="726" y="0"/>
                    </a:lnTo>
                    <a:lnTo>
                      <a:pt x="708" y="6"/>
                    </a:lnTo>
                    <a:lnTo>
                      <a:pt x="690" y="6"/>
                    </a:lnTo>
                    <a:lnTo>
                      <a:pt x="672" y="12"/>
                    </a:lnTo>
                    <a:lnTo>
                      <a:pt x="660" y="12"/>
                    </a:lnTo>
                    <a:lnTo>
                      <a:pt x="660" y="6"/>
                    </a:lnTo>
                    <a:lnTo>
                      <a:pt x="666" y="0"/>
                    </a:lnTo>
                    <a:lnTo>
                      <a:pt x="630" y="12"/>
                    </a:lnTo>
                    <a:lnTo>
                      <a:pt x="648" y="36"/>
                    </a:lnTo>
                    <a:lnTo>
                      <a:pt x="684" y="48"/>
                    </a:lnTo>
                    <a:close/>
                    <a:moveTo>
                      <a:pt x="324" y="66"/>
                    </a:moveTo>
                    <a:lnTo>
                      <a:pt x="342" y="66"/>
                    </a:lnTo>
                    <a:lnTo>
                      <a:pt x="348" y="72"/>
                    </a:lnTo>
                    <a:lnTo>
                      <a:pt x="360" y="72"/>
                    </a:lnTo>
                    <a:lnTo>
                      <a:pt x="360" y="78"/>
                    </a:lnTo>
                    <a:lnTo>
                      <a:pt x="342" y="96"/>
                    </a:lnTo>
                    <a:lnTo>
                      <a:pt x="336" y="96"/>
                    </a:lnTo>
                    <a:lnTo>
                      <a:pt x="378" y="114"/>
                    </a:lnTo>
                    <a:lnTo>
                      <a:pt x="390" y="120"/>
                    </a:lnTo>
                    <a:lnTo>
                      <a:pt x="396" y="126"/>
                    </a:lnTo>
                    <a:lnTo>
                      <a:pt x="414" y="126"/>
                    </a:lnTo>
                    <a:lnTo>
                      <a:pt x="426" y="132"/>
                    </a:lnTo>
                    <a:lnTo>
                      <a:pt x="438" y="132"/>
                    </a:lnTo>
                    <a:lnTo>
                      <a:pt x="462" y="108"/>
                    </a:lnTo>
                    <a:lnTo>
                      <a:pt x="504" y="96"/>
                    </a:lnTo>
                    <a:lnTo>
                      <a:pt x="534" y="120"/>
                    </a:lnTo>
                    <a:lnTo>
                      <a:pt x="528" y="120"/>
                    </a:lnTo>
                    <a:lnTo>
                      <a:pt x="516" y="126"/>
                    </a:lnTo>
                    <a:lnTo>
                      <a:pt x="504" y="126"/>
                    </a:lnTo>
                    <a:lnTo>
                      <a:pt x="480" y="132"/>
                    </a:lnTo>
                    <a:lnTo>
                      <a:pt x="468" y="138"/>
                    </a:lnTo>
                    <a:lnTo>
                      <a:pt x="456" y="150"/>
                    </a:lnTo>
                    <a:lnTo>
                      <a:pt x="486" y="150"/>
                    </a:lnTo>
                    <a:lnTo>
                      <a:pt x="498" y="156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86" y="168"/>
                    </a:lnTo>
                    <a:lnTo>
                      <a:pt x="474" y="174"/>
                    </a:lnTo>
                    <a:lnTo>
                      <a:pt x="468" y="180"/>
                    </a:lnTo>
                    <a:lnTo>
                      <a:pt x="462" y="180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8" y="204"/>
                    </a:lnTo>
                    <a:lnTo>
                      <a:pt x="540" y="210"/>
                    </a:lnTo>
                    <a:lnTo>
                      <a:pt x="558" y="210"/>
                    </a:lnTo>
                    <a:lnTo>
                      <a:pt x="576" y="216"/>
                    </a:lnTo>
                    <a:lnTo>
                      <a:pt x="594" y="210"/>
                    </a:lnTo>
                    <a:lnTo>
                      <a:pt x="606" y="204"/>
                    </a:lnTo>
                    <a:lnTo>
                      <a:pt x="612" y="204"/>
                    </a:lnTo>
                    <a:lnTo>
                      <a:pt x="618" y="198"/>
                    </a:lnTo>
                    <a:lnTo>
                      <a:pt x="612" y="192"/>
                    </a:lnTo>
                    <a:lnTo>
                      <a:pt x="612" y="186"/>
                    </a:lnTo>
                    <a:lnTo>
                      <a:pt x="606" y="180"/>
                    </a:lnTo>
                    <a:lnTo>
                      <a:pt x="606" y="174"/>
                    </a:lnTo>
                    <a:lnTo>
                      <a:pt x="612" y="168"/>
                    </a:lnTo>
                    <a:lnTo>
                      <a:pt x="618" y="168"/>
                    </a:lnTo>
                    <a:lnTo>
                      <a:pt x="630" y="162"/>
                    </a:lnTo>
                    <a:lnTo>
                      <a:pt x="648" y="162"/>
                    </a:lnTo>
                    <a:lnTo>
                      <a:pt x="648" y="144"/>
                    </a:lnTo>
                    <a:lnTo>
                      <a:pt x="678" y="132"/>
                    </a:lnTo>
                    <a:lnTo>
                      <a:pt x="690" y="102"/>
                    </a:lnTo>
                    <a:lnTo>
                      <a:pt x="714" y="114"/>
                    </a:lnTo>
                    <a:lnTo>
                      <a:pt x="738" y="102"/>
                    </a:lnTo>
                    <a:lnTo>
                      <a:pt x="750" y="114"/>
                    </a:lnTo>
                    <a:lnTo>
                      <a:pt x="762" y="120"/>
                    </a:lnTo>
                    <a:lnTo>
                      <a:pt x="780" y="126"/>
                    </a:lnTo>
                    <a:lnTo>
                      <a:pt x="792" y="138"/>
                    </a:lnTo>
                    <a:lnTo>
                      <a:pt x="792" y="144"/>
                    </a:lnTo>
                    <a:lnTo>
                      <a:pt x="786" y="150"/>
                    </a:lnTo>
                    <a:lnTo>
                      <a:pt x="786" y="162"/>
                    </a:lnTo>
                    <a:lnTo>
                      <a:pt x="774" y="174"/>
                    </a:lnTo>
                    <a:lnTo>
                      <a:pt x="828" y="174"/>
                    </a:lnTo>
                    <a:lnTo>
                      <a:pt x="834" y="180"/>
                    </a:lnTo>
                    <a:lnTo>
                      <a:pt x="846" y="186"/>
                    </a:lnTo>
                    <a:lnTo>
                      <a:pt x="852" y="192"/>
                    </a:lnTo>
                    <a:lnTo>
                      <a:pt x="858" y="192"/>
                    </a:lnTo>
                    <a:lnTo>
                      <a:pt x="864" y="186"/>
                    </a:lnTo>
                    <a:lnTo>
                      <a:pt x="876" y="186"/>
                    </a:lnTo>
                    <a:lnTo>
                      <a:pt x="894" y="174"/>
                    </a:lnTo>
                    <a:lnTo>
                      <a:pt x="906" y="168"/>
                    </a:lnTo>
                    <a:lnTo>
                      <a:pt x="924" y="162"/>
                    </a:lnTo>
                    <a:lnTo>
                      <a:pt x="936" y="156"/>
                    </a:lnTo>
                    <a:lnTo>
                      <a:pt x="942" y="150"/>
                    </a:lnTo>
                    <a:lnTo>
                      <a:pt x="942" y="144"/>
                    </a:lnTo>
                    <a:lnTo>
                      <a:pt x="936" y="144"/>
                    </a:lnTo>
                    <a:lnTo>
                      <a:pt x="924" y="138"/>
                    </a:lnTo>
                    <a:lnTo>
                      <a:pt x="888" y="138"/>
                    </a:lnTo>
                    <a:lnTo>
                      <a:pt x="882" y="120"/>
                    </a:lnTo>
                    <a:lnTo>
                      <a:pt x="828" y="114"/>
                    </a:lnTo>
                    <a:lnTo>
                      <a:pt x="828" y="96"/>
                    </a:lnTo>
                    <a:lnTo>
                      <a:pt x="798" y="102"/>
                    </a:lnTo>
                    <a:lnTo>
                      <a:pt x="798" y="84"/>
                    </a:lnTo>
                    <a:lnTo>
                      <a:pt x="726" y="84"/>
                    </a:lnTo>
                    <a:lnTo>
                      <a:pt x="720" y="72"/>
                    </a:lnTo>
                    <a:lnTo>
                      <a:pt x="684" y="72"/>
                    </a:lnTo>
                    <a:lnTo>
                      <a:pt x="678" y="60"/>
                    </a:lnTo>
                    <a:lnTo>
                      <a:pt x="654" y="48"/>
                    </a:lnTo>
                    <a:lnTo>
                      <a:pt x="624" y="48"/>
                    </a:lnTo>
                    <a:lnTo>
                      <a:pt x="624" y="30"/>
                    </a:lnTo>
                    <a:lnTo>
                      <a:pt x="618" y="30"/>
                    </a:lnTo>
                    <a:lnTo>
                      <a:pt x="612" y="24"/>
                    </a:lnTo>
                    <a:lnTo>
                      <a:pt x="540" y="24"/>
                    </a:lnTo>
                    <a:lnTo>
                      <a:pt x="534" y="30"/>
                    </a:lnTo>
                    <a:lnTo>
                      <a:pt x="534" y="36"/>
                    </a:lnTo>
                    <a:lnTo>
                      <a:pt x="540" y="42"/>
                    </a:lnTo>
                    <a:lnTo>
                      <a:pt x="546" y="54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6" y="60"/>
                    </a:lnTo>
                    <a:lnTo>
                      <a:pt x="528" y="48"/>
                    </a:lnTo>
                    <a:lnTo>
                      <a:pt x="492" y="30"/>
                    </a:lnTo>
                    <a:lnTo>
                      <a:pt x="480" y="30"/>
                    </a:lnTo>
                    <a:lnTo>
                      <a:pt x="474" y="36"/>
                    </a:lnTo>
                    <a:lnTo>
                      <a:pt x="468" y="48"/>
                    </a:lnTo>
                    <a:lnTo>
                      <a:pt x="462" y="54"/>
                    </a:lnTo>
                    <a:lnTo>
                      <a:pt x="450" y="54"/>
                    </a:lnTo>
                    <a:lnTo>
                      <a:pt x="438" y="48"/>
                    </a:lnTo>
                    <a:lnTo>
                      <a:pt x="420" y="48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8" y="30"/>
                    </a:lnTo>
                    <a:lnTo>
                      <a:pt x="384" y="30"/>
                    </a:lnTo>
                    <a:lnTo>
                      <a:pt x="372" y="42"/>
                    </a:lnTo>
                    <a:lnTo>
                      <a:pt x="366" y="30"/>
                    </a:lnTo>
                    <a:lnTo>
                      <a:pt x="354" y="30"/>
                    </a:lnTo>
                    <a:lnTo>
                      <a:pt x="318" y="48"/>
                    </a:lnTo>
                    <a:lnTo>
                      <a:pt x="318" y="60"/>
                    </a:lnTo>
                    <a:lnTo>
                      <a:pt x="324" y="66"/>
                    </a:lnTo>
                    <a:close/>
                    <a:moveTo>
                      <a:pt x="642" y="708"/>
                    </a:moveTo>
                    <a:lnTo>
                      <a:pt x="666" y="696"/>
                    </a:lnTo>
                    <a:lnTo>
                      <a:pt x="666" y="690"/>
                    </a:lnTo>
                    <a:lnTo>
                      <a:pt x="678" y="690"/>
                    </a:lnTo>
                    <a:lnTo>
                      <a:pt x="678" y="678"/>
                    </a:lnTo>
                    <a:lnTo>
                      <a:pt x="672" y="672"/>
                    </a:lnTo>
                    <a:lnTo>
                      <a:pt x="630" y="690"/>
                    </a:lnTo>
                    <a:lnTo>
                      <a:pt x="642" y="708"/>
                    </a:lnTo>
                    <a:close/>
                    <a:moveTo>
                      <a:pt x="774" y="648"/>
                    </a:moveTo>
                    <a:lnTo>
                      <a:pt x="780" y="642"/>
                    </a:lnTo>
                    <a:lnTo>
                      <a:pt x="786" y="642"/>
                    </a:lnTo>
                    <a:lnTo>
                      <a:pt x="792" y="636"/>
                    </a:lnTo>
                    <a:lnTo>
                      <a:pt x="792" y="630"/>
                    </a:lnTo>
                    <a:lnTo>
                      <a:pt x="786" y="624"/>
                    </a:lnTo>
                    <a:lnTo>
                      <a:pt x="774" y="624"/>
                    </a:lnTo>
                    <a:lnTo>
                      <a:pt x="768" y="630"/>
                    </a:lnTo>
                    <a:lnTo>
                      <a:pt x="768" y="642"/>
                    </a:lnTo>
                    <a:lnTo>
                      <a:pt x="774" y="648"/>
                    </a:lnTo>
                    <a:close/>
                    <a:moveTo>
                      <a:pt x="594" y="696"/>
                    </a:moveTo>
                    <a:lnTo>
                      <a:pt x="576" y="696"/>
                    </a:lnTo>
                    <a:lnTo>
                      <a:pt x="552" y="708"/>
                    </a:lnTo>
                    <a:lnTo>
                      <a:pt x="546" y="714"/>
                    </a:lnTo>
                    <a:lnTo>
                      <a:pt x="570" y="720"/>
                    </a:lnTo>
                    <a:lnTo>
                      <a:pt x="576" y="714"/>
                    </a:lnTo>
                    <a:lnTo>
                      <a:pt x="588" y="714"/>
                    </a:lnTo>
                    <a:lnTo>
                      <a:pt x="600" y="702"/>
                    </a:lnTo>
                    <a:lnTo>
                      <a:pt x="594" y="696"/>
                    </a:lnTo>
                    <a:close/>
                    <a:moveTo>
                      <a:pt x="918" y="612"/>
                    </a:moveTo>
                    <a:lnTo>
                      <a:pt x="936" y="618"/>
                    </a:lnTo>
                    <a:lnTo>
                      <a:pt x="942" y="606"/>
                    </a:lnTo>
                    <a:lnTo>
                      <a:pt x="948" y="600"/>
                    </a:lnTo>
                    <a:lnTo>
                      <a:pt x="948" y="594"/>
                    </a:lnTo>
                    <a:lnTo>
                      <a:pt x="918" y="594"/>
                    </a:lnTo>
                    <a:lnTo>
                      <a:pt x="918" y="612"/>
                    </a:lnTo>
                    <a:close/>
                    <a:moveTo>
                      <a:pt x="486" y="756"/>
                    </a:moveTo>
                    <a:lnTo>
                      <a:pt x="474" y="756"/>
                    </a:lnTo>
                    <a:lnTo>
                      <a:pt x="438" y="774"/>
                    </a:lnTo>
                    <a:lnTo>
                      <a:pt x="432" y="780"/>
                    </a:lnTo>
                    <a:lnTo>
                      <a:pt x="432" y="786"/>
                    </a:lnTo>
                    <a:lnTo>
                      <a:pt x="444" y="786"/>
                    </a:lnTo>
                    <a:lnTo>
                      <a:pt x="456" y="780"/>
                    </a:lnTo>
                    <a:lnTo>
                      <a:pt x="462" y="774"/>
                    </a:lnTo>
                    <a:lnTo>
                      <a:pt x="474" y="768"/>
                    </a:lnTo>
                    <a:lnTo>
                      <a:pt x="510" y="768"/>
                    </a:lnTo>
                    <a:lnTo>
                      <a:pt x="510" y="762"/>
                    </a:lnTo>
                    <a:lnTo>
                      <a:pt x="504" y="762"/>
                    </a:lnTo>
                    <a:lnTo>
                      <a:pt x="504" y="756"/>
                    </a:lnTo>
                    <a:lnTo>
                      <a:pt x="486" y="756"/>
                    </a:lnTo>
                    <a:close/>
                    <a:moveTo>
                      <a:pt x="1356" y="660"/>
                    </a:moveTo>
                    <a:lnTo>
                      <a:pt x="1326" y="666"/>
                    </a:lnTo>
                    <a:lnTo>
                      <a:pt x="1290" y="654"/>
                    </a:lnTo>
                    <a:lnTo>
                      <a:pt x="1260" y="642"/>
                    </a:lnTo>
                    <a:lnTo>
                      <a:pt x="1302" y="642"/>
                    </a:lnTo>
                    <a:lnTo>
                      <a:pt x="1326" y="630"/>
                    </a:lnTo>
                    <a:lnTo>
                      <a:pt x="1344" y="630"/>
                    </a:lnTo>
                    <a:lnTo>
                      <a:pt x="1350" y="624"/>
                    </a:lnTo>
                    <a:lnTo>
                      <a:pt x="1356" y="624"/>
                    </a:lnTo>
                    <a:lnTo>
                      <a:pt x="1344" y="618"/>
                    </a:lnTo>
                    <a:lnTo>
                      <a:pt x="1338" y="612"/>
                    </a:lnTo>
                    <a:lnTo>
                      <a:pt x="1320" y="606"/>
                    </a:lnTo>
                    <a:lnTo>
                      <a:pt x="1308" y="600"/>
                    </a:lnTo>
                    <a:lnTo>
                      <a:pt x="1284" y="600"/>
                    </a:lnTo>
                    <a:lnTo>
                      <a:pt x="1260" y="588"/>
                    </a:lnTo>
                    <a:lnTo>
                      <a:pt x="1254" y="588"/>
                    </a:lnTo>
                    <a:lnTo>
                      <a:pt x="1242" y="582"/>
                    </a:lnTo>
                    <a:lnTo>
                      <a:pt x="1242" y="588"/>
                    </a:lnTo>
                    <a:lnTo>
                      <a:pt x="1236" y="594"/>
                    </a:lnTo>
                    <a:lnTo>
                      <a:pt x="1236" y="600"/>
                    </a:lnTo>
                    <a:lnTo>
                      <a:pt x="1218" y="618"/>
                    </a:lnTo>
                    <a:lnTo>
                      <a:pt x="1206" y="618"/>
                    </a:lnTo>
                    <a:lnTo>
                      <a:pt x="1200" y="612"/>
                    </a:lnTo>
                    <a:lnTo>
                      <a:pt x="1224" y="588"/>
                    </a:lnTo>
                    <a:lnTo>
                      <a:pt x="1158" y="564"/>
                    </a:lnTo>
                    <a:lnTo>
                      <a:pt x="1158" y="576"/>
                    </a:lnTo>
                    <a:lnTo>
                      <a:pt x="1152" y="594"/>
                    </a:lnTo>
                    <a:lnTo>
                      <a:pt x="1134" y="630"/>
                    </a:lnTo>
                    <a:lnTo>
                      <a:pt x="1128" y="630"/>
                    </a:lnTo>
                    <a:lnTo>
                      <a:pt x="1122" y="624"/>
                    </a:lnTo>
                    <a:lnTo>
                      <a:pt x="1116" y="612"/>
                    </a:lnTo>
                    <a:lnTo>
                      <a:pt x="1116" y="594"/>
                    </a:lnTo>
                    <a:lnTo>
                      <a:pt x="1122" y="582"/>
                    </a:lnTo>
                    <a:lnTo>
                      <a:pt x="1116" y="594"/>
                    </a:lnTo>
                    <a:lnTo>
                      <a:pt x="1104" y="600"/>
                    </a:lnTo>
                    <a:lnTo>
                      <a:pt x="1080" y="624"/>
                    </a:lnTo>
                    <a:lnTo>
                      <a:pt x="1056" y="636"/>
                    </a:lnTo>
                    <a:lnTo>
                      <a:pt x="1050" y="636"/>
                    </a:lnTo>
                    <a:lnTo>
                      <a:pt x="1050" y="630"/>
                    </a:lnTo>
                    <a:lnTo>
                      <a:pt x="1056" y="618"/>
                    </a:lnTo>
                    <a:lnTo>
                      <a:pt x="1086" y="588"/>
                    </a:lnTo>
                    <a:lnTo>
                      <a:pt x="1092" y="576"/>
                    </a:lnTo>
                    <a:lnTo>
                      <a:pt x="1104" y="570"/>
                    </a:lnTo>
                    <a:lnTo>
                      <a:pt x="1068" y="570"/>
                    </a:lnTo>
                    <a:lnTo>
                      <a:pt x="1050" y="582"/>
                    </a:lnTo>
                    <a:lnTo>
                      <a:pt x="1026" y="582"/>
                    </a:lnTo>
                    <a:lnTo>
                      <a:pt x="984" y="606"/>
                    </a:lnTo>
                    <a:lnTo>
                      <a:pt x="960" y="606"/>
                    </a:lnTo>
                    <a:lnTo>
                      <a:pt x="954" y="636"/>
                    </a:lnTo>
                    <a:lnTo>
                      <a:pt x="918" y="624"/>
                    </a:lnTo>
                    <a:lnTo>
                      <a:pt x="882" y="630"/>
                    </a:lnTo>
                    <a:lnTo>
                      <a:pt x="894" y="660"/>
                    </a:lnTo>
                    <a:lnTo>
                      <a:pt x="846" y="648"/>
                    </a:lnTo>
                    <a:lnTo>
                      <a:pt x="828" y="654"/>
                    </a:lnTo>
                    <a:lnTo>
                      <a:pt x="834" y="678"/>
                    </a:lnTo>
                    <a:lnTo>
                      <a:pt x="792" y="690"/>
                    </a:lnTo>
                    <a:lnTo>
                      <a:pt x="792" y="654"/>
                    </a:lnTo>
                    <a:lnTo>
                      <a:pt x="762" y="654"/>
                    </a:lnTo>
                    <a:lnTo>
                      <a:pt x="774" y="678"/>
                    </a:lnTo>
                    <a:lnTo>
                      <a:pt x="750" y="660"/>
                    </a:lnTo>
                    <a:lnTo>
                      <a:pt x="750" y="690"/>
                    </a:lnTo>
                    <a:lnTo>
                      <a:pt x="726" y="690"/>
                    </a:lnTo>
                    <a:lnTo>
                      <a:pt x="726" y="660"/>
                    </a:lnTo>
                    <a:lnTo>
                      <a:pt x="738" y="654"/>
                    </a:lnTo>
                    <a:lnTo>
                      <a:pt x="744" y="648"/>
                    </a:lnTo>
                    <a:lnTo>
                      <a:pt x="708" y="642"/>
                    </a:lnTo>
                    <a:lnTo>
                      <a:pt x="708" y="684"/>
                    </a:lnTo>
                    <a:lnTo>
                      <a:pt x="678" y="696"/>
                    </a:lnTo>
                    <a:lnTo>
                      <a:pt x="696" y="708"/>
                    </a:lnTo>
                    <a:lnTo>
                      <a:pt x="660" y="714"/>
                    </a:lnTo>
                    <a:lnTo>
                      <a:pt x="672" y="726"/>
                    </a:lnTo>
                    <a:lnTo>
                      <a:pt x="630" y="726"/>
                    </a:lnTo>
                    <a:lnTo>
                      <a:pt x="630" y="738"/>
                    </a:lnTo>
                    <a:lnTo>
                      <a:pt x="660" y="750"/>
                    </a:lnTo>
                    <a:lnTo>
                      <a:pt x="654" y="762"/>
                    </a:lnTo>
                    <a:lnTo>
                      <a:pt x="618" y="744"/>
                    </a:lnTo>
                    <a:lnTo>
                      <a:pt x="600" y="750"/>
                    </a:lnTo>
                    <a:lnTo>
                      <a:pt x="624" y="762"/>
                    </a:lnTo>
                    <a:lnTo>
                      <a:pt x="606" y="780"/>
                    </a:lnTo>
                    <a:lnTo>
                      <a:pt x="594" y="762"/>
                    </a:lnTo>
                    <a:lnTo>
                      <a:pt x="576" y="768"/>
                    </a:lnTo>
                    <a:lnTo>
                      <a:pt x="576" y="780"/>
                    </a:lnTo>
                    <a:lnTo>
                      <a:pt x="546" y="780"/>
                    </a:lnTo>
                    <a:lnTo>
                      <a:pt x="540" y="792"/>
                    </a:lnTo>
                    <a:lnTo>
                      <a:pt x="564" y="804"/>
                    </a:lnTo>
                    <a:lnTo>
                      <a:pt x="564" y="822"/>
                    </a:lnTo>
                    <a:lnTo>
                      <a:pt x="528" y="810"/>
                    </a:lnTo>
                    <a:lnTo>
                      <a:pt x="522" y="822"/>
                    </a:lnTo>
                    <a:lnTo>
                      <a:pt x="552" y="834"/>
                    </a:lnTo>
                    <a:lnTo>
                      <a:pt x="504" y="834"/>
                    </a:lnTo>
                    <a:lnTo>
                      <a:pt x="504" y="852"/>
                    </a:lnTo>
                    <a:lnTo>
                      <a:pt x="492" y="846"/>
                    </a:lnTo>
                    <a:lnTo>
                      <a:pt x="486" y="846"/>
                    </a:lnTo>
                    <a:lnTo>
                      <a:pt x="474" y="852"/>
                    </a:lnTo>
                    <a:lnTo>
                      <a:pt x="468" y="858"/>
                    </a:lnTo>
                    <a:lnTo>
                      <a:pt x="456" y="858"/>
                    </a:lnTo>
                    <a:lnTo>
                      <a:pt x="456" y="870"/>
                    </a:lnTo>
                    <a:lnTo>
                      <a:pt x="462" y="876"/>
                    </a:lnTo>
                    <a:lnTo>
                      <a:pt x="456" y="876"/>
                    </a:lnTo>
                    <a:lnTo>
                      <a:pt x="450" y="882"/>
                    </a:lnTo>
                    <a:lnTo>
                      <a:pt x="444" y="882"/>
                    </a:lnTo>
                    <a:lnTo>
                      <a:pt x="444" y="900"/>
                    </a:lnTo>
                    <a:lnTo>
                      <a:pt x="480" y="900"/>
                    </a:lnTo>
                    <a:lnTo>
                      <a:pt x="468" y="912"/>
                    </a:lnTo>
                    <a:lnTo>
                      <a:pt x="432" y="906"/>
                    </a:lnTo>
                    <a:lnTo>
                      <a:pt x="420" y="912"/>
                    </a:lnTo>
                    <a:lnTo>
                      <a:pt x="414" y="918"/>
                    </a:lnTo>
                    <a:lnTo>
                      <a:pt x="414" y="930"/>
                    </a:lnTo>
                    <a:lnTo>
                      <a:pt x="420" y="936"/>
                    </a:lnTo>
                    <a:lnTo>
                      <a:pt x="420" y="948"/>
                    </a:lnTo>
                    <a:lnTo>
                      <a:pt x="408" y="954"/>
                    </a:lnTo>
                    <a:lnTo>
                      <a:pt x="390" y="954"/>
                    </a:lnTo>
                    <a:lnTo>
                      <a:pt x="390" y="972"/>
                    </a:lnTo>
                    <a:lnTo>
                      <a:pt x="408" y="990"/>
                    </a:lnTo>
                    <a:lnTo>
                      <a:pt x="408" y="996"/>
                    </a:lnTo>
                    <a:lnTo>
                      <a:pt x="402" y="1002"/>
                    </a:lnTo>
                    <a:lnTo>
                      <a:pt x="366" y="1002"/>
                    </a:lnTo>
                    <a:lnTo>
                      <a:pt x="360" y="1008"/>
                    </a:lnTo>
                    <a:lnTo>
                      <a:pt x="360" y="1026"/>
                    </a:lnTo>
                    <a:lnTo>
                      <a:pt x="354" y="1032"/>
                    </a:lnTo>
                    <a:lnTo>
                      <a:pt x="342" y="1032"/>
                    </a:lnTo>
                    <a:lnTo>
                      <a:pt x="336" y="1026"/>
                    </a:lnTo>
                    <a:lnTo>
                      <a:pt x="318" y="1026"/>
                    </a:lnTo>
                    <a:lnTo>
                      <a:pt x="294" y="1050"/>
                    </a:lnTo>
                    <a:lnTo>
                      <a:pt x="282" y="1050"/>
                    </a:lnTo>
                    <a:lnTo>
                      <a:pt x="270" y="1062"/>
                    </a:lnTo>
                    <a:lnTo>
                      <a:pt x="270" y="1068"/>
                    </a:lnTo>
                    <a:lnTo>
                      <a:pt x="276" y="1074"/>
                    </a:lnTo>
                    <a:lnTo>
                      <a:pt x="276" y="1080"/>
                    </a:lnTo>
                    <a:lnTo>
                      <a:pt x="264" y="1092"/>
                    </a:lnTo>
                    <a:lnTo>
                      <a:pt x="252" y="1092"/>
                    </a:lnTo>
                    <a:lnTo>
                      <a:pt x="246" y="1086"/>
                    </a:lnTo>
                    <a:lnTo>
                      <a:pt x="234" y="1080"/>
                    </a:lnTo>
                    <a:lnTo>
                      <a:pt x="234" y="1074"/>
                    </a:lnTo>
                    <a:lnTo>
                      <a:pt x="228" y="1074"/>
                    </a:lnTo>
                    <a:lnTo>
                      <a:pt x="204" y="1086"/>
                    </a:lnTo>
                    <a:lnTo>
                      <a:pt x="198" y="1092"/>
                    </a:lnTo>
                    <a:lnTo>
                      <a:pt x="180" y="1092"/>
                    </a:lnTo>
                    <a:lnTo>
                      <a:pt x="180" y="1110"/>
                    </a:lnTo>
                    <a:lnTo>
                      <a:pt x="186" y="1116"/>
                    </a:lnTo>
                    <a:lnTo>
                      <a:pt x="192" y="1116"/>
                    </a:lnTo>
                    <a:lnTo>
                      <a:pt x="192" y="1128"/>
                    </a:lnTo>
                    <a:lnTo>
                      <a:pt x="186" y="1128"/>
                    </a:lnTo>
                    <a:lnTo>
                      <a:pt x="174" y="1116"/>
                    </a:lnTo>
                    <a:lnTo>
                      <a:pt x="162" y="1116"/>
                    </a:lnTo>
                    <a:lnTo>
                      <a:pt x="156" y="1122"/>
                    </a:lnTo>
                    <a:lnTo>
                      <a:pt x="156" y="1134"/>
                    </a:lnTo>
                    <a:lnTo>
                      <a:pt x="168" y="1134"/>
                    </a:lnTo>
                    <a:lnTo>
                      <a:pt x="174" y="1140"/>
                    </a:lnTo>
                    <a:lnTo>
                      <a:pt x="180" y="1140"/>
                    </a:lnTo>
                    <a:lnTo>
                      <a:pt x="180" y="1152"/>
                    </a:lnTo>
                    <a:lnTo>
                      <a:pt x="138" y="1152"/>
                    </a:lnTo>
                    <a:lnTo>
                      <a:pt x="138" y="1146"/>
                    </a:lnTo>
                    <a:lnTo>
                      <a:pt x="132" y="1146"/>
                    </a:lnTo>
                    <a:lnTo>
                      <a:pt x="126" y="1158"/>
                    </a:lnTo>
                    <a:lnTo>
                      <a:pt x="126" y="1170"/>
                    </a:lnTo>
                    <a:lnTo>
                      <a:pt x="120" y="1164"/>
                    </a:lnTo>
                    <a:lnTo>
                      <a:pt x="102" y="1164"/>
                    </a:lnTo>
                    <a:lnTo>
                      <a:pt x="96" y="1158"/>
                    </a:lnTo>
                    <a:lnTo>
                      <a:pt x="90" y="1158"/>
                    </a:lnTo>
                    <a:lnTo>
                      <a:pt x="90" y="1164"/>
                    </a:lnTo>
                    <a:lnTo>
                      <a:pt x="96" y="1170"/>
                    </a:lnTo>
                    <a:lnTo>
                      <a:pt x="120" y="1182"/>
                    </a:lnTo>
                    <a:lnTo>
                      <a:pt x="132" y="1182"/>
                    </a:lnTo>
                    <a:lnTo>
                      <a:pt x="108" y="1200"/>
                    </a:lnTo>
                    <a:lnTo>
                      <a:pt x="108" y="1188"/>
                    </a:lnTo>
                    <a:lnTo>
                      <a:pt x="90" y="1188"/>
                    </a:lnTo>
                    <a:lnTo>
                      <a:pt x="84" y="1194"/>
                    </a:lnTo>
                    <a:lnTo>
                      <a:pt x="60" y="1182"/>
                    </a:lnTo>
                    <a:lnTo>
                      <a:pt x="54" y="1194"/>
                    </a:lnTo>
                    <a:lnTo>
                      <a:pt x="66" y="1200"/>
                    </a:lnTo>
                    <a:lnTo>
                      <a:pt x="30" y="1194"/>
                    </a:lnTo>
                    <a:lnTo>
                      <a:pt x="30" y="1212"/>
                    </a:lnTo>
                    <a:lnTo>
                      <a:pt x="78" y="1212"/>
                    </a:lnTo>
                    <a:lnTo>
                      <a:pt x="54" y="1218"/>
                    </a:lnTo>
                    <a:lnTo>
                      <a:pt x="18" y="1212"/>
                    </a:lnTo>
                    <a:lnTo>
                      <a:pt x="6" y="1224"/>
                    </a:lnTo>
                    <a:lnTo>
                      <a:pt x="6" y="1230"/>
                    </a:lnTo>
                    <a:lnTo>
                      <a:pt x="18" y="1242"/>
                    </a:lnTo>
                    <a:lnTo>
                      <a:pt x="36" y="1242"/>
                    </a:lnTo>
                    <a:lnTo>
                      <a:pt x="18" y="1248"/>
                    </a:lnTo>
                    <a:lnTo>
                      <a:pt x="12" y="1254"/>
                    </a:lnTo>
                    <a:lnTo>
                      <a:pt x="12" y="1260"/>
                    </a:lnTo>
                    <a:lnTo>
                      <a:pt x="66" y="1260"/>
                    </a:lnTo>
                    <a:lnTo>
                      <a:pt x="78" y="1272"/>
                    </a:lnTo>
                    <a:lnTo>
                      <a:pt x="96" y="1260"/>
                    </a:lnTo>
                    <a:lnTo>
                      <a:pt x="108" y="1272"/>
                    </a:lnTo>
                    <a:lnTo>
                      <a:pt x="138" y="1260"/>
                    </a:lnTo>
                    <a:lnTo>
                      <a:pt x="132" y="1266"/>
                    </a:lnTo>
                    <a:lnTo>
                      <a:pt x="126" y="1278"/>
                    </a:lnTo>
                    <a:lnTo>
                      <a:pt x="60" y="1278"/>
                    </a:lnTo>
                    <a:lnTo>
                      <a:pt x="54" y="1272"/>
                    </a:lnTo>
                    <a:lnTo>
                      <a:pt x="24" y="1272"/>
                    </a:lnTo>
                    <a:lnTo>
                      <a:pt x="12" y="1278"/>
                    </a:lnTo>
                    <a:lnTo>
                      <a:pt x="0" y="1278"/>
                    </a:lnTo>
                    <a:lnTo>
                      <a:pt x="6" y="1284"/>
                    </a:lnTo>
                    <a:lnTo>
                      <a:pt x="6" y="1296"/>
                    </a:lnTo>
                    <a:lnTo>
                      <a:pt x="12" y="1296"/>
                    </a:lnTo>
                    <a:lnTo>
                      <a:pt x="18" y="1302"/>
                    </a:lnTo>
                    <a:lnTo>
                      <a:pt x="30" y="1302"/>
                    </a:lnTo>
                    <a:lnTo>
                      <a:pt x="24" y="1308"/>
                    </a:lnTo>
                    <a:lnTo>
                      <a:pt x="18" y="1320"/>
                    </a:lnTo>
                    <a:lnTo>
                      <a:pt x="36" y="1338"/>
                    </a:lnTo>
                    <a:lnTo>
                      <a:pt x="48" y="1338"/>
                    </a:lnTo>
                    <a:lnTo>
                      <a:pt x="72" y="1320"/>
                    </a:lnTo>
                    <a:lnTo>
                      <a:pt x="102" y="1314"/>
                    </a:lnTo>
                    <a:lnTo>
                      <a:pt x="90" y="1338"/>
                    </a:lnTo>
                    <a:lnTo>
                      <a:pt x="78" y="1332"/>
                    </a:lnTo>
                    <a:lnTo>
                      <a:pt x="66" y="1350"/>
                    </a:lnTo>
                    <a:lnTo>
                      <a:pt x="30" y="1350"/>
                    </a:lnTo>
                    <a:lnTo>
                      <a:pt x="48" y="1368"/>
                    </a:lnTo>
                    <a:lnTo>
                      <a:pt x="24" y="1380"/>
                    </a:lnTo>
                    <a:lnTo>
                      <a:pt x="6" y="1380"/>
                    </a:lnTo>
                    <a:lnTo>
                      <a:pt x="6" y="1398"/>
                    </a:lnTo>
                    <a:lnTo>
                      <a:pt x="66" y="1398"/>
                    </a:lnTo>
                    <a:lnTo>
                      <a:pt x="54" y="1422"/>
                    </a:lnTo>
                    <a:lnTo>
                      <a:pt x="66" y="1422"/>
                    </a:lnTo>
                    <a:lnTo>
                      <a:pt x="54" y="1440"/>
                    </a:lnTo>
                    <a:lnTo>
                      <a:pt x="42" y="1434"/>
                    </a:lnTo>
                    <a:lnTo>
                      <a:pt x="36" y="1434"/>
                    </a:lnTo>
                    <a:lnTo>
                      <a:pt x="30" y="1428"/>
                    </a:lnTo>
                    <a:lnTo>
                      <a:pt x="18" y="1428"/>
                    </a:lnTo>
                    <a:lnTo>
                      <a:pt x="18" y="1440"/>
                    </a:lnTo>
                    <a:lnTo>
                      <a:pt x="24" y="1452"/>
                    </a:lnTo>
                    <a:lnTo>
                      <a:pt x="36" y="1464"/>
                    </a:lnTo>
                    <a:lnTo>
                      <a:pt x="84" y="1482"/>
                    </a:lnTo>
                    <a:lnTo>
                      <a:pt x="78" y="1488"/>
                    </a:lnTo>
                    <a:lnTo>
                      <a:pt x="84" y="1494"/>
                    </a:lnTo>
                    <a:lnTo>
                      <a:pt x="126" y="1494"/>
                    </a:lnTo>
                    <a:lnTo>
                      <a:pt x="132" y="1500"/>
                    </a:lnTo>
                    <a:lnTo>
                      <a:pt x="144" y="1500"/>
                    </a:lnTo>
                    <a:lnTo>
                      <a:pt x="192" y="1476"/>
                    </a:lnTo>
                    <a:lnTo>
                      <a:pt x="204" y="1464"/>
                    </a:lnTo>
                    <a:lnTo>
                      <a:pt x="216" y="1458"/>
                    </a:lnTo>
                    <a:lnTo>
                      <a:pt x="222" y="1452"/>
                    </a:lnTo>
                    <a:lnTo>
                      <a:pt x="258" y="1422"/>
                    </a:lnTo>
                    <a:lnTo>
                      <a:pt x="282" y="1422"/>
                    </a:lnTo>
                    <a:lnTo>
                      <a:pt x="294" y="1416"/>
                    </a:lnTo>
                    <a:lnTo>
                      <a:pt x="300" y="1410"/>
                    </a:lnTo>
                    <a:lnTo>
                      <a:pt x="300" y="1386"/>
                    </a:lnTo>
                    <a:lnTo>
                      <a:pt x="294" y="1380"/>
                    </a:lnTo>
                    <a:lnTo>
                      <a:pt x="294" y="1374"/>
                    </a:lnTo>
                    <a:lnTo>
                      <a:pt x="312" y="1368"/>
                    </a:lnTo>
                    <a:lnTo>
                      <a:pt x="306" y="1374"/>
                    </a:lnTo>
                    <a:lnTo>
                      <a:pt x="306" y="1380"/>
                    </a:lnTo>
                    <a:lnTo>
                      <a:pt x="300" y="1386"/>
                    </a:lnTo>
                    <a:lnTo>
                      <a:pt x="300" y="1392"/>
                    </a:lnTo>
                    <a:lnTo>
                      <a:pt x="312" y="1404"/>
                    </a:lnTo>
                    <a:lnTo>
                      <a:pt x="330" y="1410"/>
                    </a:lnTo>
                    <a:lnTo>
                      <a:pt x="342" y="1410"/>
                    </a:lnTo>
                    <a:lnTo>
                      <a:pt x="348" y="1416"/>
                    </a:lnTo>
                    <a:lnTo>
                      <a:pt x="354" y="1416"/>
                    </a:lnTo>
                    <a:lnTo>
                      <a:pt x="372" y="1434"/>
                    </a:lnTo>
                    <a:lnTo>
                      <a:pt x="378" y="1422"/>
                    </a:lnTo>
                    <a:lnTo>
                      <a:pt x="384" y="1416"/>
                    </a:lnTo>
                    <a:lnTo>
                      <a:pt x="384" y="1398"/>
                    </a:lnTo>
                    <a:lnTo>
                      <a:pt x="372" y="1386"/>
                    </a:lnTo>
                    <a:lnTo>
                      <a:pt x="372" y="1380"/>
                    </a:lnTo>
                    <a:lnTo>
                      <a:pt x="378" y="1374"/>
                    </a:lnTo>
                    <a:lnTo>
                      <a:pt x="384" y="1374"/>
                    </a:lnTo>
                    <a:lnTo>
                      <a:pt x="384" y="1368"/>
                    </a:lnTo>
                    <a:lnTo>
                      <a:pt x="378" y="1356"/>
                    </a:lnTo>
                    <a:lnTo>
                      <a:pt x="414" y="1356"/>
                    </a:lnTo>
                    <a:lnTo>
                      <a:pt x="420" y="1350"/>
                    </a:lnTo>
                    <a:lnTo>
                      <a:pt x="420" y="1326"/>
                    </a:lnTo>
                    <a:lnTo>
                      <a:pt x="426" y="1326"/>
                    </a:lnTo>
                    <a:lnTo>
                      <a:pt x="420" y="1314"/>
                    </a:lnTo>
                    <a:lnTo>
                      <a:pt x="420" y="1308"/>
                    </a:lnTo>
                    <a:lnTo>
                      <a:pt x="414" y="1302"/>
                    </a:lnTo>
                    <a:lnTo>
                      <a:pt x="414" y="1296"/>
                    </a:lnTo>
                    <a:lnTo>
                      <a:pt x="408" y="1284"/>
                    </a:lnTo>
                    <a:lnTo>
                      <a:pt x="402" y="1278"/>
                    </a:lnTo>
                    <a:lnTo>
                      <a:pt x="426" y="1272"/>
                    </a:lnTo>
                    <a:lnTo>
                      <a:pt x="438" y="1260"/>
                    </a:lnTo>
                    <a:lnTo>
                      <a:pt x="438" y="1248"/>
                    </a:lnTo>
                    <a:lnTo>
                      <a:pt x="420" y="1230"/>
                    </a:lnTo>
                    <a:lnTo>
                      <a:pt x="414" y="1230"/>
                    </a:lnTo>
                    <a:lnTo>
                      <a:pt x="402" y="1218"/>
                    </a:lnTo>
                    <a:lnTo>
                      <a:pt x="402" y="1200"/>
                    </a:lnTo>
                    <a:lnTo>
                      <a:pt x="408" y="1188"/>
                    </a:lnTo>
                    <a:lnTo>
                      <a:pt x="408" y="1176"/>
                    </a:lnTo>
                    <a:lnTo>
                      <a:pt x="384" y="1152"/>
                    </a:lnTo>
                    <a:lnTo>
                      <a:pt x="384" y="1140"/>
                    </a:lnTo>
                    <a:lnTo>
                      <a:pt x="390" y="1134"/>
                    </a:lnTo>
                    <a:lnTo>
                      <a:pt x="396" y="1134"/>
                    </a:lnTo>
                    <a:lnTo>
                      <a:pt x="402" y="1128"/>
                    </a:lnTo>
                    <a:lnTo>
                      <a:pt x="402" y="1122"/>
                    </a:lnTo>
                    <a:lnTo>
                      <a:pt x="396" y="1116"/>
                    </a:lnTo>
                    <a:lnTo>
                      <a:pt x="390" y="1116"/>
                    </a:lnTo>
                    <a:lnTo>
                      <a:pt x="384" y="1110"/>
                    </a:lnTo>
                    <a:lnTo>
                      <a:pt x="426" y="1068"/>
                    </a:lnTo>
                    <a:lnTo>
                      <a:pt x="438" y="1062"/>
                    </a:lnTo>
                    <a:lnTo>
                      <a:pt x="444" y="1056"/>
                    </a:lnTo>
                    <a:lnTo>
                      <a:pt x="456" y="1050"/>
                    </a:lnTo>
                    <a:lnTo>
                      <a:pt x="498" y="1050"/>
                    </a:lnTo>
                    <a:lnTo>
                      <a:pt x="504" y="1044"/>
                    </a:lnTo>
                    <a:lnTo>
                      <a:pt x="504" y="1038"/>
                    </a:lnTo>
                    <a:lnTo>
                      <a:pt x="486" y="1020"/>
                    </a:lnTo>
                    <a:lnTo>
                      <a:pt x="474" y="1014"/>
                    </a:lnTo>
                    <a:lnTo>
                      <a:pt x="486" y="1008"/>
                    </a:lnTo>
                    <a:lnTo>
                      <a:pt x="492" y="1008"/>
                    </a:lnTo>
                    <a:lnTo>
                      <a:pt x="522" y="978"/>
                    </a:lnTo>
                    <a:lnTo>
                      <a:pt x="528" y="936"/>
                    </a:lnTo>
                    <a:lnTo>
                      <a:pt x="528" y="900"/>
                    </a:lnTo>
                    <a:lnTo>
                      <a:pt x="546" y="912"/>
                    </a:lnTo>
                    <a:lnTo>
                      <a:pt x="558" y="906"/>
                    </a:lnTo>
                    <a:lnTo>
                      <a:pt x="564" y="906"/>
                    </a:lnTo>
                    <a:lnTo>
                      <a:pt x="570" y="900"/>
                    </a:lnTo>
                    <a:lnTo>
                      <a:pt x="576" y="900"/>
                    </a:lnTo>
                    <a:lnTo>
                      <a:pt x="576" y="894"/>
                    </a:lnTo>
                    <a:lnTo>
                      <a:pt x="570" y="888"/>
                    </a:lnTo>
                    <a:lnTo>
                      <a:pt x="570" y="882"/>
                    </a:lnTo>
                    <a:lnTo>
                      <a:pt x="564" y="876"/>
                    </a:lnTo>
                    <a:lnTo>
                      <a:pt x="582" y="876"/>
                    </a:lnTo>
                    <a:lnTo>
                      <a:pt x="588" y="870"/>
                    </a:lnTo>
                    <a:lnTo>
                      <a:pt x="588" y="864"/>
                    </a:lnTo>
                    <a:lnTo>
                      <a:pt x="594" y="858"/>
                    </a:lnTo>
                    <a:lnTo>
                      <a:pt x="606" y="852"/>
                    </a:lnTo>
                    <a:lnTo>
                      <a:pt x="612" y="852"/>
                    </a:lnTo>
                    <a:lnTo>
                      <a:pt x="618" y="834"/>
                    </a:lnTo>
                    <a:lnTo>
                      <a:pt x="612" y="828"/>
                    </a:lnTo>
                    <a:lnTo>
                      <a:pt x="600" y="822"/>
                    </a:lnTo>
                    <a:lnTo>
                      <a:pt x="600" y="810"/>
                    </a:lnTo>
                    <a:lnTo>
                      <a:pt x="606" y="810"/>
                    </a:lnTo>
                    <a:lnTo>
                      <a:pt x="618" y="804"/>
                    </a:lnTo>
                    <a:lnTo>
                      <a:pt x="636" y="786"/>
                    </a:lnTo>
                    <a:lnTo>
                      <a:pt x="678" y="780"/>
                    </a:lnTo>
                    <a:lnTo>
                      <a:pt x="696" y="780"/>
                    </a:lnTo>
                    <a:lnTo>
                      <a:pt x="702" y="774"/>
                    </a:lnTo>
                    <a:lnTo>
                      <a:pt x="702" y="744"/>
                    </a:lnTo>
                    <a:lnTo>
                      <a:pt x="714" y="732"/>
                    </a:lnTo>
                    <a:lnTo>
                      <a:pt x="720" y="738"/>
                    </a:lnTo>
                    <a:lnTo>
                      <a:pt x="720" y="750"/>
                    </a:lnTo>
                    <a:lnTo>
                      <a:pt x="744" y="744"/>
                    </a:lnTo>
                    <a:lnTo>
                      <a:pt x="768" y="750"/>
                    </a:lnTo>
                    <a:lnTo>
                      <a:pt x="792" y="750"/>
                    </a:lnTo>
                    <a:lnTo>
                      <a:pt x="798" y="756"/>
                    </a:lnTo>
                    <a:lnTo>
                      <a:pt x="810" y="756"/>
                    </a:lnTo>
                    <a:lnTo>
                      <a:pt x="816" y="750"/>
                    </a:lnTo>
                    <a:lnTo>
                      <a:pt x="810" y="750"/>
                    </a:lnTo>
                    <a:lnTo>
                      <a:pt x="798" y="738"/>
                    </a:lnTo>
                    <a:lnTo>
                      <a:pt x="798" y="732"/>
                    </a:lnTo>
                    <a:lnTo>
                      <a:pt x="810" y="732"/>
                    </a:lnTo>
                    <a:lnTo>
                      <a:pt x="810" y="708"/>
                    </a:lnTo>
                    <a:lnTo>
                      <a:pt x="840" y="714"/>
                    </a:lnTo>
                    <a:lnTo>
                      <a:pt x="834" y="708"/>
                    </a:lnTo>
                    <a:lnTo>
                      <a:pt x="840" y="702"/>
                    </a:lnTo>
                    <a:lnTo>
                      <a:pt x="858" y="708"/>
                    </a:lnTo>
                    <a:lnTo>
                      <a:pt x="858" y="696"/>
                    </a:lnTo>
                    <a:lnTo>
                      <a:pt x="864" y="690"/>
                    </a:lnTo>
                    <a:lnTo>
                      <a:pt x="882" y="690"/>
                    </a:lnTo>
                    <a:lnTo>
                      <a:pt x="888" y="696"/>
                    </a:lnTo>
                    <a:lnTo>
                      <a:pt x="894" y="708"/>
                    </a:lnTo>
                    <a:lnTo>
                      <a:pt x="906" y="714"/>
                    </a:lnTo>
                    <a:lnTo>
                      <a:pt x="918" y="726"/>
                    </a:lnTo>
                    <a:lnTo>
                      <a:pt x="930" y="726"/>
                    </a:lnTo>
                    <a:lnTo>
                      <a:pt x="942" y="732"/>
                    </a:lnTo>
                    <a:lnTo>
                      <a:pt x="960" y="732"/>
                    </a:lnTo>
                    <a:lnTo>
                      <a:pt x="966" y="738"/>
                    </a:lnTo>
                    <a:lnTo>
                      <a:pt x="978" y="738"/>
                    </a:lnTo>
                    <a:lnTo>
                      <a:pt x="990" y="732"/>
                    </a:lnTo>
                    <a:lnTo>
                      <a:pt x="996" y="726"/>
                    </a:lnTo>
                    <a:lnTo>
                      <a:pt x="1026" y="726"/>
                    </a:lnTo>
                    <a:lnTo>
                      <a:pt x="1038" y="732"/>
                    </a:lnTo>
                    <a:lnTo>
                      <a:pt x="1044" y="738"/>
                    </a:lnTo>
                    <a:lnTo>
                      <a:pt x="1062" y="738"/>
                    </a:lnTo>
                    <a:lnTo>
                      <a:pt x="1062" y="726"/>
                    </a:lnTo>
                    <a:lnTo>
                      <a:pt x="1068" y="720"/>
                    </a:lnTo>
                    <a:lnTo>
                      <a:pt x="1068" y="714"/>
                    </a:lnTo>
                    <a:lnTo>
                      <a:pt x="1092" y="714"/>
                    </a:lnTo>
                    <a:lnTo>
                      <a:pt x="1092" y="678"/>
                    </a:lnTo>
                    <a:lnTo>
                      <a:pt x="1098" y="672"/>
                    </a:lnTo>
                    <a:lnTo>
                      <a:pt x="1098" y="660"/>
                    </a:lnTo>
                    <a:lnTo>
                      <a:pt x="1110" y="654"/>
                    </a:lnTo>
                    <a:lnTo>
                      <a:pt x="1116" y="654"/>
                    </a:lnTo>
                    <a:lnTo>
                      <a:pt x="1128" y="648"/>
                    </a:lnTo>
                    <a:lnTo>
                      <a:pt x="1158" y="648"/>
                    </a:lnTo>
                    <a:lnTo>
                      <a:pt x="1170" y="642"/>
                    </a:lnTo>
                    <a:lnTo>
                      <a:pt x="1206" y="642"/>
                    </a:lnTo>
                    <a:lnTo>
                      <a:pt x="1206" y="654"/>
                    </a:lnTo>
                    <a:lnTo>
                      <a:pt x="1242" y="660"/>
                    </a:lnTo>
                    <a:lnTo>
                      <a:pt x="1248" y="660"/>
                    </a:lnTo>
                    <a:lnTo>
                      <a:pt x="1260" y="672"/>
                    </a:lnTo>
                    <a:lnTo>
                      <a:pt x="1266" y="684"/>
                    </a:lnTo>
                    <a:lnTo>
                      <a:pt x="1266" y="702"/>
                    </a:lnTo>
                    <a:lnTo>
                      <a:pt x="1260" y="702"/>
                    </a:lnTo>
                    <a:lnTo>
                      <a:pt x="1260" y="696"/>
                    </a:lnTo>
                    <a:lnTo>
                      <a:pt x="1254" y="696"/>
                    </a:lnTo>
                    <a:lnTo>
                      <a:pt x="1254" y="708"/>
                    </a:lnTo>
                    <a:lnTo>
                      <a:pt x="1278" y="708"/>
                    </a:lnTo>
                    <a:lnTo>
                      <a:pt x="1284" y="696"/>
                    </a:lnTo>
                    <a:lnTo>
                      <a:pt x="1284" y="690"/>
                    </a:lnTo>
                    <a:lnTo>
                      <a:pt x="1308" y="684"/>
                    </a:lnTo>
                    <a:lnTo>
                      <a:pt x="1314" y="672"/>
                    </a:lnTo>
                    <a:lnTo>
                      <a:pt x="1350" y="672"/>
                    </a:lnTo>
                    <a:lnTo>
                      <a:pt x="1362" y="660"/>
                    </a:lnTo>
                    <a:lnTo>
                      <a:pt x="1356" y="660"/>
                    </a:lnTo>
                    <a:close/>
                    <a:moveTo>
                      <a:pt x="564" y="726"/>
                    </a:moveTo>
                    <a:lnTo>
                      <a:pt x="540" y="738"/>
                    </a:lnTo>
                    <a:lnTo>
                      <a:pt x="546" y="756"/>
                    </a:lnTo>
                    <a:lnTo>
                      <a:pt x="576" y="756"/>
                    </a:lnTo>
                    <a:lnTo>
                      <a:pt x="570" y="738"/>
                    </a:lnTo>
                    <a:lnTo>
                      <a:pt x="564" y="726"/>
                    </a:lnTo>
                    <a:close/>
                    <a:moveTo>
                      <a:pt x="522" y="714"/>
                    </a:moveTo>
                    <a:lnTo>
                      <a:pt x="516" y="720"/>
                    </a:lnTo>
                    <a:lnTo>
                      <a:pt x="510" y="732"/>
                    </a:lnTo>
                    <a:lnTo>
                      <a:pt x="510" y="750"/>
                    </a:lnTo>
                    <a:lnTo>
                      <a:pt x="528" y="768"/>
                    </a:lnTo>
                    <a:lnTo>
                      <a:pt x="528" y="756"/>
                    </a:lnTo>
                    <a:lnTo>
                      <a:pt x="534" y="744"/>
                    </a:lnTo>
                    <a:lnTo>
                      <a:pt x="534" y="720"/>
                    </a:lnTo>
                    <a:lnTo>
                      <a:pt x="528" y="714"/>
                    </a:lnTo>
                    <a:lnTo>
                      <a:pt x="522" y="714"/>
                    </a:lnTo>
                    <a:close/>
                    <a:moveTo>
                      <a:pt x="606" y="738"/>
                    </a:moveTo>
                    <a:lnTo>
                      <a:pt x="618" y="732"/>
                    </a:lnTo>
                    <a:lnTo>
                      <a:pt x="624" y="732"/>
                    </a:lnTo>
                    <a:lnTo>
                      <a:pt x="630" y="726"/>
                    </a:lnTo>
                    <a:lnTo>
                      <a:pt x="618" y="720"/>
                    </a:lnTo>
                    <a:lnTo>
                      <a:pt x="588" y="720"/>
                    </a:lnTo>
                    <a:lnTo>
                      <a:pt x="576" y="732"/>
                    </a:lnTo>
                    <a:lnTo>
                      <a:pt x="582" y="744"/>
                    </a:lnTo>
                    <a:lnTo>
                      <a:pt x="606" y="7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1" name="Nether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2784833-0D7C-C91B-CF3C-C84F2AB64A2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22850" y="1990058"/>
                <a:ext cx="122385" cy="94019"/>
              </a:xfrm>
              <a:custGeom>
                <a:avLst/>
                <a:gdLst>
                  <a:gd name="T0" fmla="*/ 0 w 270"/>
                  <a:gd name="T1" fmla="*/ 2147483647 h 210"/>
                  <a:gd name="T2" fmla="*/ 2147483647 w 270"/>
                  <a:gd name="T3" fmla="*/ 2147483647 h 210"/>
                  <a:gd name="T4" fmla="*/ 2147483647 w 270"/>
                  <a:gd name="T5" fmla="*/ 2147483647 h 210"/>
                  <a:gd name="T6" fmla="*/ 2147483647 w 270"/>
                  <a:gd name="T7" fmla="*/ 2147483647 h 210"/>
                  <a:gd name="T8" fmla="*/ 2147483647 w 270"/>
                  <a:gd name="T9" fmla="*/ 2147483647 h 210"/>
                  <a:gd name="T10" fmla="*/ 2147483647 w 270"/>
                  <a:gd name="T11" fmla="*/ 2147483647 h 210"/>
                  <a:gd name="T12" fmla="*/ 2147483647 w 270"/>
                  <a:gd name="T13" fmla="*/ 2147483647 h 210"/>
                  <a:gd name="T14" fmla="*/ 2147483647 w 270"/>
                  <a:gd name="T15" fmla="*/ 2147483647 h 210"/>
                  <a:gd name="T16" fmla="*/ 2147483647 w 270"/>
                  <a:gd name="T17" fmla="*/ 2147483647 h 210"/>
                  <a:gd name="T18" fmla="*/ 2147483647 w 270"/>
                  <a:gd name="T19" fmla="*/ 2147483647 h 210"/>
                  <a:gd name="T20" fmla="*/ 2147483647 w 270"/>
                  <a:gd name="T21" fmla="*/ 2147483647 h 210"/>
                  <a:gd name="T22" fmla="*/ 2147483647 w 270"/>
                  <a:gd name="T23" fmla="*/ 2147483647 h 210"/>
                  <a:gd name="T24" fmla="*/ 2147483647 w 270"/>
                  <a:gd name="T25" fmla="*/ 2147483647 h 210"/>
                  <a:gd name="T26" fmla="*/ 2147483647 w 270"/>
                  <a:gd name="T27" fmla="*/ 2147483647 h 210"/>
                  <a:gd name="T28" fmla="*/ 2147483647 w 270"/>
                  <a:gd name="T29" fmla="*/ 2147483647 h 210"/>
                  <a:gd name="T30" fmla="*/ 2147483647 w 270"/>
                  <a:gd name="T31" fmla="*/ 2147483647 h 210"/>
                  <a:gd name="T32" fmla="*/ 2147483647 w 270"/>
                  <a:gd name="T33" fmla="*/ 2147483647 h 210"/>
                  <a:gd name="T34" fmla="*/ 2147483647 w 270"/>
                  <a:gd name="T35" fmla="*/ 2147483647 h 210"/>
                  <a:gd name="T36" fmla="*/ 2147483647 w 270"/>
                  <a:gd name="T37" fmla="*/ 2147483647 h 210"/>
                  <a:gd name="T38" fmla="*/ 2147483647 w 270"/>
                  <a:gd name="T39" fmla="*/ 2147483647 h 210"/>
                  <a:gd name="T40" fmla="*/ 2147483647 w 270"/>
                  <a:gd name="T41" fmla="*/ 2147483647 h 210"/>
                  <a:gd name="T42" fmla="*/ 2147483647 w 270"/>
                  <a:gd name="T43" fmla="*/ 2147483647 h 210"/>
                  <a:gd name="T44" fmla="*/ 2147483647 w 270"/>
                  <a:gd name="T45" fmla="*/ 2147483647 h 210"/>
                  <a:gd name="T46" fmla="*/ 2147483647 w 270"/>
                  <a:gd name="T47" fmla="*/ 2147483647 h 210"/>
                  <a:gd name="T48" fmla="*/ 2147483647 w 270"/>
                  <a:gd name="T49" fmla="*/ 2147483647 h 210"/>
                  <a:gd name="T50" fmla="*/ 2147483647 w 270"/>
                  <a:gd name="T51" fmla="*/ 2147483647 h 210"/>
                  <a:gd name="T52" fmla="*/ 2147483647 w 270"/>
                  <a:gd name="T53" fmla="*/ 2147483647 h 210"/>
                  <a:gd name="T54" fmla="*/ 2147483647 w 270"/>
                  <a:gd name="T55" fmla="*/ 2147483647 h 210"/>
                  <a:gd name="T56" fmla="*/ 2147483647 w 270"/>
                  <a:gd name="T57" fmla="*/ 2147483647 h 210"/>
                  <a:gd name="T58" fmla="*/ 2147483647 w 270"/>
                  <a:gd name="T59" fmla="*/ 0 h 210"/>
                  <a:gd name="T60" fmla="*/ 2147483647 w 270"/>
                  <a:gd name="T61" fmla="*/ 2147483647 h 210"/>
                  <a:gd name="T62" fmla="*/ 2147483647 w 270"/>
                  <a:gd name="T63" fmla="*/ 2147483647 h 210"/>
                  <a:gd name="T64" fmla="*/ 2147483647 w 270"/>
                  <a:gd name="T65" fmla="*/ 2147483647 h 210"/>
                  <a:gd name="T66" fmla="*/ 2147483647 w 270"/>
                  <a:gd name="T67" fmla="*/ 2147483647 h 210"/>
                  <a:gd name="T68" fmla="*/ 2147483647 w 270"/>
                  <a:gd name="T69" fmla="*/ 2147483647 h 210"/>
                  <a:gd name="T70" fmla="*/ 2147483647 w 270"/>
                  <a:gd name="T71" fmla="*/ 2147483647 h 210"/>
                  <a:gd name="T72" fmla="*/ 2147483647 w 270"/>
                  <a:gd name="T73" fmla="*/ 2147483647 h 210"/>
                  <a:gd name="T74" fmla="*/ 2147483647 w 270"/>
                  <a:gd name="T75" fmla="*/ 2147483647 h 210"/>
                  <a:gd name="T76" fmla="*/ 2147483647 w 270"/>
                  <a:gd name="T77" fmla="*/ 2147483647 h 210"/>
                  <a:gd name="T78" fmla="*/ 2147483647 w 270"/>
                  <a:gd name="T79" fmla="*/ 2147483647 h 210"/>
                  <a:gd name="T80" fmla="*/ 2147483647 w 270"/>
                  <a:gd name="T81" fmla="*/ 2147483647 h 210"/>
                  <a:gd name="T82" fmla="*/ 2147483647 w 270"/>
                  <a:gd name="T83" fmla="*/ 2147483647 h 210"/>
                  <a:gd name="T84" fmla="*/ 2147483647 w 270"/>
                  <a:gd name="T85" fmla="*/ 2147483647 h 210"/>
                  <a:gd name="T86" fmla="*/ 2147483647 w 270"/>
                  <a:gd name="T87" fmla="*/ 2147483647 h 210"/>
                  <a:gd name="T88" fmla="*/ 2147483647 w 270"/>
                  <a:gd name="T89" fmla="*/ 2147483647 h 21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70"/>
                  <a:gd name="T136" fmla="*/ 0 h 210"/>
                  <a:gd name="T137" fmla="*/ 270 w 270"/>
                  <a:gd name="T138" fmla="*/ 210 h 21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70" h="210">
                    <a:moveTo>
                      <a:pt x="18" y="156"/>
                    </a:moveTo>
                    <a:lnTo>
                      <a:pt x="0" y="174"/>
                    </a:lnTo>
                    <a:lnTo>
                      <a:pt x="12" y="162"/>
                    </a:lnTo>
                    <a:lnTo>
                      <a:pt x="24" y="162"/>
                    </a:lnTo>
                    <a:lnTo>
                      <a:pt x="30" y="168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62"/>
                    </a:lnTo>
                    <a:lnTo>
                      <a:pt x="84" y="168"/>
                    </a:lnTo>
                    <a:lnTo>
                      <a:pt x="84" y="156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8" y="174"/>
                    </a:lnTo>
                    <a:lnTo>
                      <a:pt x="150" y="174"/>
                    </a:lnTo>
                    <a:lnTo>
                      <a:pt x="162" y="168"/>
                    </a:lnTo>
                    <a:lnTo>
                      <a:pt x="168" y="168"/>
                    </a:lnTo>
                    <a:lnTo>
                      <a:pt x="174" y="174"/>
                    </a:lnTo>
                    <a:lnTo>
                      <a:pt x="174" y="192"/>
                    </a:lnTo>
                    <a:lnTo>
                      <a:pt x="168" y="198"/>
                    </a:lnTo>
                    <a:lnTo>
                      <a:pt x="168" y="210"/>
                    </a:lnTo>
                    <a:lnTo>
                      <a:pt x="180" y="210"/>
                    </a:lnTo>
                    <a:lnTo>
                      <a:pt x="180" y="198"/>
                    </a:lnTo>
                    <a:lnTo>
                      <a:pt x="186" y="192"/>
                    </a:lnTo>
                    <a:lnTo>
                      <a:pt x="186" y="180"/>
                    </a:lnTo>
                    <a:lnTo>
                      <a:pt x="180" y="174"/>
                    </a:lnTo>
                    <a:lnTo>
                      <a:pt x="186" y="168"/>
                    </a:lnTo>
                    <a:lnTo>
                      <a:pt x="198" y="162"/>
                    </a:lnTo>
                    <a:lnTo>
                      <a:pt x="198" y="156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22" y="126"/>
                    </a:lnTo>
                    <a:lnTo>
                      <a:pt x="222" y="120"/>
                    </a:lnTo>
                    <a:lnTo>
                      <a:pt x="228" y="114"/>
                    </a:lnTo>
                    <a:lnTo>
                      <a:pt x="234" y="114"/>
                    </a:lnTo>
                    <a:lnTo>
                      <a:pt x="240" y="102"/>
                    </a:lnTo>
                    <a:lnTo>
                      <a:pt x="246" y="96"/>
                    </a:lnTo>
                    <a:lnTo>
                      <a:pt x="252" y="96"/>
                    </a:lnTo>
                    <a:lnTo>
                      <a:pt x="252" y="90"/>
                    </a:lnTo>
                    <a:lnTo>
                      <a:pt x="240" y="78"/>
                    </a:lnTo>
                    <a:lnTo>
                      <a:pt x="234" y="78"/>
                    </a:lnTo>
                    <a:lnTo>
                      <a:pt x="228" y="72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46" y="60"/>
                    </a:lnTo>
                    <a:lnTo>
                      <a:pt x="258" y="60"/>
                    </a:lnTo>
                    <a:lnTo>
                      <a:pt x="252" y="54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70" y="30"/>
                    </a:lnTo>
                    <a:lnTo>
                      <a:pt x="264" y="18"/>
                    </a:lnTo>
                    <a:lnTo>
                      <a:pt x="270" y="12"/>
                    </a:lnTo>
                    <a:lnTo>
                      <a:pt x="264" y="12"/>
                    </a:lnTo>
                    <a:lnTo>
                      <a:pt x="252" y="6"/>
                    </a:lnTo>
                    <a:lnTo>
                      <a:pt x="246" y="6"/>
                    </a:lnTo>
                    <a:lnTo>
                      <a:pt x="234" y="0"/>
                    </a:lnTo>
                    <a:lnTo>
                      <a:pt x="180" y="0"/>
                    </a:lnTo>
                    <a:lnTo>
                      <a:pt x="168" y="12"/>
                    </a:lnTo>
                    <a:lnTo>
                      <a:pt x="156" y="18"/>
                    </a:lnTo>
                    <a:lnTo>
                      <a:pt x="156" y="30"/>
                    </a:lnTo>
                    <a:lnTo>
                      <a:pt x="162" y="36"/>
                    </a:lnTo>
                    <a:lnTo>
                      <a:pt x="162" y="54"/>
                    </a:lnTo>
                    <a:lnTo>
                      <a:pt x="168" y="60"/>
                    </a:lnTo>
                    <a:lnTo>
                      <a:pt x="174" y="60"/>
                    </a:lnTo>
                    <a:lnTo>
                      <a:pt x="180" y="66"/>
                    </a:lnTo>
                    <a:lnTo>
                      <a:pt x="180" y="78"/>
                    </a:lnTo>
                    <a:lnTo>
                      <a:pt x="168" y="84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84"/>
                    </a:lnTo>
                    <a:lnTo>
                      <a:pt x="138" y="66"/>
                    </a:lnTo>
                    <a:lnTo>
                      <a:pt x="150" y="54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36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90" y="90"/>
                    </a:lnTo>
                    <a:lnTo>
                      <a:pt x="90" y="102"/>
                    </a:lnTo>
                    <a:lnTo>
                      <a:pt x="60" y="132"/>
                    </a:lnTo>
                    <a:lnTo>
                      <a:pt x="72" y="144"/>
                    </a:lnTo>
                    <a:lnTo>
                      <a:pt x="42" y="144"/>
                    </a:lnTo>
                    <a:lnTo>
                      <a:pt x="18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2" name="Montenegr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02A2D2E-AA28-4136-4E8D-88B793B3AD6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0953" y="2335976"/>
                <a:ext cx="51437" cy="60314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2147483647 w 114"/>
                  <a:gd name="T7" fmla="*/ 2147483647 h 138"/>
                  <a:gd name="T8" fmla="*/ 2147483647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0 h 138"/>
                  <a:gd name="T14" fmla="*/ 2147483647 w 114"/>
                  <a:gd name="T15" fmla="*/ 0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0 w 114"/>
                  <a:gd name="T29" fmla="*/ 2147483647 h 138"/>
                  <a:gd name="T30" fmla="*/ 0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2147483647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2147483647 w 114"/>
                  <a:gd name="T61" fmla="*/ 2147483647 h 138"/>
                  <a:gd name="T62" fmla="*/ 2147483647 w 114"/>
                  <a:gd name="T63" fmla="*/ 2147483647 h 138"/>
                  <a:gd name="T64" fmla="*/ 2147483647 w 114"/>
                  <a:gd name="T65" fmla="*/ 2147483647 h 138"/>
                  <a:gd name="T66" fmla="*/ 2147483647 w 114"/>
                  <a:gd name="T67" fmla="*/ 2147483647 h 138"/>
                  <a:gd name="T68" fmla="*/ 2147483647 w 114"/>
                  <a:gd name="T69" fmla="*/ 2147483647 h 138"/>
                  <a:gd name="T70" fmla="*/ 2147483647 w 114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"/>
                  <a:gd name="T109" fmla="*/ 0 h 138"/>
                  <a:gd name="T110" fmla="*/ 114 w 114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" h="138">
                    <a:moveTo>
                      <a:pt x="114" y="42"/>
                    </a:moveTo>
                    <a:lnTo>
                      <a:pt x="108" y="48"/>
                    </a:lnTo>
                    <a:lnTo>
                      <a:pt x="96" y="30"/>
                    </a:lnTo>
                    <a:lnTo>
                      <a:pt x="84" y="1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6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6" y="96"/>
                    </a:lnTo>
                    <a:lnTo>
                      <a:pt x="36" y="114"/>
                    </a:lnTo>
                    <a:lnTo>
                      <a:pt x="60" y="138"/>
                    </a:lnTo>
                    <a:lnTo>
                      <a:pt x="72" y="126"/>
                    </a:lnTo>
                    <a:lnTo>
                      <a:pt x="66" y="108"/>
                    </a:lnTo>
                    <a:lnTo>
                      <a:pt x="60" y="114"/>
                    </a:lnTo>
                    <a:lnTo>
                      <a:pt x="42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78"/>
                    </a:lnTo>
                    <a:lnTo>
                      <a:pt x="108" y="90"/>
                    </a:lnTo>
                    <a:lnTo>
                      <a:pt x="114" y="84"/>
                    </a:lnTo>
                    <a:lnTo>
                      <a:pt x="114" y="90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3" name="Moldov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BD5961C-7EE2-E9EF-5C2E-3DC59FC04EF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487988" y="2163905"/>
                <a:ext cx="97553" cy="106437"/>
              </a:xfrm>
              <a:custGeom>
                <a:avLst/>
                <a:gdLst>
                  <a:gd name="T0" fmla="*/ 2147483647 w 216"/>
                  <a:gd name="T1" fmla="*/ 2147483647 h 240"/>
                  <a:gd name="T2" fmla="*/ 2147483647 w 216"/>
                  <a:gd name="T3" fmla="*/ 2147483647 h 240"/>
                  <a:gd name="T4" fmla="*/ 2147483647 w 216"/>
                  <a:gd name="T5" fmla="*/ 2147483647 h 240"/>
                  <a:gd name="T6" fmla="*/ 2147483647 w 216"/>
                  <a:gd name="T7" fmla="*/ 2147483647 h 240"/>
                  <a:gd name="T8" fmla="*/ 2147483647 w 216"/>
                  <a:gd name="T9" fmla="*/ 2147483647 h 240"/>
                  <a:gd name="T10" fmla="*/ 2147483647 w 216"/>
                  <a:gd name="T11" fmla="*/ 2147483647 h 240"/>
                  <a:gd name="T12" fmla="*/ 2147483647 w 216"/>
                  <a:gd name="T13" fmla="*/ 2147483647 h 240"/>
                  <a:gd name="T14" fmla="*/ 2147483647 w 216"/>
                  <a:gd name="T15" fmla="*/ 2147483647 h 240"/>
                  <a:gd name="T16" fmla="*/ 2147483647 w 216"/>
                  <a:gd name="T17" fmla="*/ 2147483647 h 240"/>
                  <a:gd name="T18" fmla="*/ 2147483647 w 216"/>
                  <a:gd name="T19" fmla="*/ 2147483647 h 240"/>
                  <a:gd name="T20" fmla="*/ 2147483647 w 216"/>
                  <a:gd name="T21" fmla="*/ 2147483647 h 240"/>
                  <a:gd name="T22" fmla="*/ 2147483647 w 216"/>
                  <a:gd name="T23" fmla="*/ 2147483647 h 240"/>
                  <a:gd name="T24" fmla="*/ 2147483647 w 216"/>
                  <a:gd name="T25" fmla="*/ 2147483647 h 240"/>
                  <a:gd name="T26" fmla="*/ 2147483647 w 216"/>
                  <a:gd name="T27" fmla="*/ 2147483647 h 240"/>
                  <a:gd name="T28" fmla="*/ 2147483647 w 216"/>
                  <a:gd name="T29" fmla="*/ 2147483647 h 240"/>
                  <a:gd name="T30" fmla="*/ 2147483647 w 216"/>
                  <a:gd name="T31" fmla="*/ 2147483647 h 240"/>
                  <a:gd name="T32" fmla="*/ 2147483647 w 216"/>
                  <a:gd name="T33" fmla="*/ 2147483647 h 240"/>
                  <a:gd name="T34" fmla="*/ 2147483647 w 216"/>
                  <a:gd name="T35" fmla="*/ 2147483647 h 240"/>
                  <a:gd name="T36" fmla="*/ 2147483647 w 216"/>
                  <a:gd name="T37" fmla="*/ 2147483647 h 240"/>
                  <a:gd name="T38" fmla="*/ 2147483647 w 216"/>
                  <a:gd name="T39" fmla="*/ 2147483647 h 240"/>
                  <a:gd name="T40" fmla="*/ 2147483647 w 216"/>
                  <a:gd name="T41" fmla="*/ 2147483647 h 240"/>
                  <a:gd name="T42" fmla="*/ 2147483647 w 216"/>
                  <a:gd name="T43" fmla="*/ 2147483647 h 240"/>
                  <a:gd name="T44" fmla="*/ 2147483647 w 216"/>
                  <a:gd name="T45" fmla="*/ 2147483647 h 240"/>
                  <a:gd name="T46" fmla="*/ 2147483647 w 216"/>
                  <a:gd name="T47" fmla="*/ 2147483647 h 240"/>
                  <a:gd name="T48" fmla="*/ 2147483647 w 216"/>
                  <a:gd name="T49" fmla="*/ 2147483647 h 240"/>
                  <a:gd name="T50" fmla="*/ 2147483647 w 216"/>
                  <a:gd name="T51" fmla="*/ 2147483647 h 240"/>
                  <a:gd name="T52" fmla="*/ 2147483647 w 216"/>
                  <a:gd name="T53" fmla="*/ 2147483647 h 240"/>
                  <a:gd name="T54" fmla="*/ 2147483647 w 216"/>
                  <a:gd name="T55" fmla="*/ 2147483647 h 240"/>
                  <a:gd name="T56" fmla="*/ 2147483647 w 216"/>
                  <a:gd name="T57" fmla="*/ 2147483647 h 240"/>
                  <a:gd name="T58" fmla="*/ 2147483647 w 216"/>
                  <a:gd name="T59" fmla="*/ 2147483647 h 240"/>
                  <a:gd name="T60" fmla="*/ 2147483647 w 216"/>
                  <a:gd name="T61" fmla="*/ 0 h 240"/>
                  <a:gd name="T62" fmla="*/ 2147483647 w 216"/>
                  <a:gd name="T63" fmla="*/ 2147483647 h 240"/>
                  <a:gd name="T64" fmla="*/ 2147483647 w 216"/>
                  <a:gd name="T65" fmla="*/ 2147483647 h 240"/>
                  <a:gd name="T66" fmla="*/ 2147483647 w 216"/>
                  <a:gd name="T67" fmla="*/ 2147483647 h 2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240"/>
                  <a:gd name="T104" fmla="*/ 216 w 216"/>
                  <a:gd name="T105" fmla="*/ 240 h 2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240">
                    <a:moveTo>
                      <a:pt x="0" y="18"/>
                    </a:moveTo>
                    <a:lnTo>
                      <a:pt x="18" y="24"/>
                    </a:lnTo>
                    <a:lnTo>
                      <a:pt x="24" y="30"/>
                    </a:lnTo>
                    <a:lnTo>
                      <a:pt x="30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60" y="72"/>
                    </a:lnTo>
                    <a:lnTo>
                      <a:pt x="66" y="96"/>
                    </a:lnTo>
                    <a:lnTo>
                      <a:pt x="78" y="96"/>
                    </a:lnTo>
                    <a:lnTo>
                      <a:pt x="84" y="114"/>
                    </a:lnTo>
                    <a:lnTo>
                      <a:pt x="102" y="114"/>
                    </a:lnTo>
                    <a:lnTo>
                      <a:pt x="108" y="120"/>
                    </a:lnTo>
                    <a:lnTo>
                      <a:pt x="108" y="162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102" y="198"/>
                    </a:lnTo>
                    <a:lnTo>
                      <a:pt x="108" y="210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38" y="234"/>
                    </a:lnTo>
                    <a:lnTo>
                      <a:pt x="138" y="222"/>
                    </a:lnTo>
                    <a:lnTo>
                      <a:pt x="132" y="216"/>
                    </a:lnTo>
                    <a:lnTo>
                      <a:pt x="132" y="204"/>
                    </a:lnTo>
                    <a:lnTo>
                      <a:pt x="138" y="204"/>
                    </a:lnTo>
                    <a:lnTo>
                      <a:pt x="150" y="198"/>
                    </a:lnTo>
                    <a:lnTo>
                      <a:pt x="156" y="192"/>
                    </a:lnTo>
                    <a:lnTo>
                      <a:pt x="174" y="180"/>
                    </a:lnTo>
                    <a:lnTo>
                      <a:pt x="168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62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98" y="162"/>
                    </a:lnTo>
                    <a:lnTo>
                      <a:pt x="210" y="156"/>
                    </a:lnTo>
                    <a:lnTo>
                      <a:pt x="216" y="156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20"/>
                    </a:lnTo>
                    <a:lnTo>
                      <a:pt x="192" y="114"/>
                    </a:lnTo>
                    <a:lnTo>
                      <a:pt x="180" y="114"/>
                    </a:lnTo>
                    <a:lnTo>
                      <a:pt x="180" y="96"/>
                    </a:lnTo>
                    <a:lnTo>
                      <a:pt x="186" y="90"/>
                    </a:lnTo>
                    <a:lnTo>
                      <a:pt x="180" y="84"/>
                    </a:lnTo>
                    <a:lnTo>
                      <a:pt x="174" y="84"/>
                    </a:lnTo>
                    <a:lnTo>
                      <a:pt x="162" y="90"/>
                    </a:lnTo>
                    <a:lnTo>
                      <a:pt x="162" y="66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44" y="36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78" y="18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4" name="Maced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58C9D5F-1712-EB48-942F-81414C76F94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2378551"/>
                <a:ext cx="74496" cy="56766"/>
              </a:xfrm>
              <a:custGeom>
                <a:avLst/>
                <a:gdLst>
                  <a:gd name="T0" fmla="*/ 2147483647 w 162"/>
                  <a:gd name="T1" fmla="*/ 2147483647 h 126"/>
                  <a:gd name="T2" fmla="*/ 2147483647 w 162"/>
                  <a:gd name="T3" fmla="*/ 2147483647 h 126"/>
                  <a:gd name="T4" fmla="*/ 2147483647 w 162"/>
                  <a:gd name="T5" fmla="*/ 2147483647 h 126"/>
                  <a:gd name="T6" fmla="*/ 2147483647 w 162"/>
                  <a:gd name="T7" fmla="*/ 2147483647 h 126"/>
                  <a:gd name="T8" fmla="*/ 2147483647 w 162"/>
                  <a:gd name="T9" fmla="*/ 0 h 126"/>
                  <a:gd name="T10" fmla="*/ 2147483647 w 162"/>
                  <a:gd name="T11" fmla="*/ 2147483647 h 126"/>
                  <a:gd name="T12" fmla="*/ 2147483647 w 162"/>
                  <a:gd name="T13" fmla="*/ 2147483647 h 126"/>
                  <a:gd name="T14" fmla="*/ 2147483647 w 162"/>
                  <a:gd name="T15" fmla="*/ 2147483647 h 126"/>
                  <a:gd name="T16" fmla="*/ 2147483647 w 162"/>
                  <a:gd name="T17" fmla="*/ 2147483647 h 126"/>
                  <a:gd name="T18" fmla="*/ 2147483647 w 162"/>
                  <a:gd name="T19" fmla="*/ 2147483647 h 126"/>
                  <a:gd name="T20" fmla="*/ 2147483647 w 162"/>
                  <a:gd name="T21" fmla="*/ 2147483647 h 126"/>
                  <a:gd name="T22" fmla="*/ 0 w 162"/>
                  <a:gd name="T23" fmla="*/ 2147483647 h 126"/>
                  <a:gd name="T24" fmla="*/ 0 w 162"/>
                  <a:gd name="T25" fmla="*/ 2147483647 h 126"/>
                  <a:gd name="T26" fmla="*/ 2147483647 w 162"/>
                  <a:gd name="T27" fmla="*/ 2147483647 h 126"/>
                  <a:gd name="T28" fmla="*/ 2147483647 w 162"/>
                  <a:gd name="T29" fmla="*/ 2147483647 h 126"/>
                  <a:gd name="T30" fmla="*/ 2147483647 w 162"/>
                  <a:gd name="T31" fmla="*/ 2147483647 h 126"/>
                  <a:gd name="T32" fmla="*/ 2147483647 w 162"/>
                  <a:gd name="T33" fmla="*/ 2147483647 h 126"/>
                  <a:gd name="T34" fmla="*/ 2147483647 w 162"/>
                  <a:gd name="T35" fmla="*/ 2147483647 h 126"/>
                  <a:gd name="T36" fmla="*/ 2147483647 w 162"/>
                  <a:gd name="T37" fmla="*/ 2147483647 h 126"/>
                  <a:gd name="T38" fmla="*/ 2147483647 w 162"/>
                  <a:gd name="T39" fmla="*/ 2147483647 h 126"/>
                  <a:gd name="T40" fmla="*/ 2147483647 w 162"/>
                  <a:gd name="T41" fmla="*/ 2147483647 h 126"/>
                  <a:gd name="T42" fmla="*/ 2147483647 w 162"/>
                  <a:gd name="T43" fmla="*/ 2147483647 h 126"/>
                  <a:gd name="T44" fmla="*/ 2147483647 w 162"/>
                  <a:gd name="T45" fmla="*/ 2147483647 h 126"/>
                  <a:gd name="T46" fmla="*/ 2147483647 w 162"/>
                  <a:gd name="T47" fmla="*/ 2147483647 h 126"/>
                  <a:gd name="T48" fmla="*/ 2147483647 w 162"/>
                  <a:gd name="T49" fmla="*/ 2147483647 h 126"/>
                  <a:gd name="T50" fmla="*/ 2147483647 w 162"/>
                  <a:gd name="T51" fmla="*/ 2147483647 h 126"/>
                  <a:gd name="T52" fmla="*/ 2147483647 w 162"/>
                  <a:gd name="T53" fmla="*/ 2147483647 h 126"/>
                  <a:gd name="T54" fmla="*/ 2147483647 w 162"/>
                  <a:gd name="T55" fmla="*/ 2147483647 h 126"/>
                  <a:gd name="T56" fmla="*/ 2147483647 w 162"/>
                  <a:gd name="T57" fmla="*/ 2147483647 h 126"/>
                  <a:gd name="T58" fmla="*/ 2147483647 w 162"/>
                  <a:gd name="T59" fmla="*/ 2147483647 h 126"/>
                  <a:gd name="T60" fmla="*/ 2147483647 w 162"/>
                  <a:gd name="T61" fmla="*/ 2147483647 h 126"/>
                  <a:gd name="T62" fmla="*/ 2147483647 w 162"/>
                  <a:gd name="T63" fmla="*/ 2147483647 h 126"/>
                  <a:gd name="T64" fmla="*/ 2147483647 w 162"/>
                  <a:gd name="T65" fmla="*/ 2147483647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2"/>
                  <a:gd name="T100" fmla="*/ 0 h 126"/>
                  <a:gd name="T101" fmla="*/ 162 w 162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2" h="126">
                    <a:moveTo>
                      <a:pt x="150" y="42"/>
                    </a:moveTo>
                    <a:lnTo>
                      <a:pt x="132" y="30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1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18" y="36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78"/>
                    </a:lnTo>
                    <a:lnTo>
                      <a:pt x="6" y="102"/>
                    </a:lnTo>
                    <a:lnTo>
                      <a:pt x="12" y="108"/>
                    </a:lnTo>
                    <a:lnTo>
                      <a:pt x="18" y="108"/>
                    </a:lnTo>
                    <a:lnTo>
                      <a:pt x="18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90" y="126"/>
                    </a:lnTo>
                    <a:lnTo>
                      <a:pt x="96" y="114"/>
                    </a:lnTo>
                    <a:lnTo>
                      <a:pt x="96" y="108"/>
                    </a:lnTo>
                    <a:lnTo>
                      <a:pt x="120" y="108"/>
                    </a:lnTo>
                    <a:lnTo>
                      <a:pt x="132" y="102"/>
                    </a:lnTo>
                    <a:lnTo>
                      <a:pt x="156" y="78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48"/>
                    </a:lnTo>
                    <a:lnTo>
                      <a:pt x="15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5" name="Luxembourg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069B0E-EE0C-7230-B9CE-2E612C75BCF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97344" y="2105365"/>
                <a:ext cx="23058" cy="19514"/>
              </a:xfrm>
              <a:custGeom>
                <a:avLst/>
                <a:gdLst>
                  <a:gd name="T0" fmla="*/ 2147483647 w 54"/>
                  <a:gd name="T1" fmla="*/ 2147483647 h 42"/>
                  <a:gd name="T2" fmla="*/ 2147483647 w 54"/>
                  <a:gd name="T3" fmla="*/ 2147483647 h 42"/>
                  <a:gd name="T4" fmla="*/ 2147483647 w 54"/>
                  <a:gd name="T5" fmla="*/ 2147483647 h 42"/>
                  <a:gd name="T6" fmla="*/ 2147483647 w 54"/>
                  <a:gd name="T7" fmla="*/ 2147483647 h 42"/>
                  <a:gd name="T8" fmla="*/ 2147483647 w 54"/>
                  <a:gd name="T9" fmla="*/ 2147483647 h 42"/>
                  <a:gd name="T10" fmla="*/ 2147483647 w 54"/>
                  <a:gd name="T11" fmla="*/ 2147483647 h 42"/>
                  <a:gd name="T12" fmla="*/ 2147483647 w 54"/>
                  <a:gd name="T13" fmla="*/ 2147483647 h 42"/>
                  <a:gd name="T14" fmla="*/ 2147483647 w 54"/>
                  <a:gd name="T15" fmla="*/ 2147483647 h 42"/>
                  <a:gd name="T16" fmla="*/ 2147483647 w 54"/>
                  <a:gd name="T17" fmla="*/ 0 h 42"/>
                  <a:gd name="T18" fmla="*/ 2147483647 w 54"/>
                  <a:gd name="T19" fmla="*/ 0 h 42"/>
                  <a:gd name="T20" fmla="*/ 2147483647 w 54"/>
                  <a:gd name="T21" fmla="*/ 2147483647 h 42"/>
                  <a:gd name="T22" fmla="*/ 2147483647 w 54"/>
                  <a:gd name="T23" fmla="*/ 2147483647 h 42"/>
                  <a:gd name="T24" fmla="*/ 0 w 54"/>
                  <a:gd name="T25" fmla="*/ 2147483647 h 42"/>
                  <a:gd name="T26" fmla="*/ 0 w 54"/>
                  <a:gd name="T27" fmla="*/ 2147483647 h 42"/>
                  <a:gd name="T28" fmla="*/ 2147483647 w 54"/>
                  <a:gd name="T29" fmla="*/ 2147483647 h 42"/>
                  <a:gd name="T30" fmla="*/ 2147483647 w 54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4"/>
                  <a:gd name="T49" fmla="*/ 0 h 42"/>
                  <a:gd name="T50" fmla="*/ 54 w 54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4" h="42">
                    <a:moveTo>
                      <a:pt x="18" y="42"/>
                    </a:moveTo>
                    <a:lnTo>
                      <a:pt x="30" y="36"/>
                    </a:lnTo>
                    <a:lnTo>
                      <a:pt x="48" y="42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2" y="30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6" name="Lithu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2A2E4AA-32C5-45C6-D757-614639E6291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12392" y="1885395"/>
                <a:ext cx="152538" cy="88697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7" name="Liechtenste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006F0BC-DC70-3B87-879D-E7C00CA090A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98446" y="2202930"/>
                <a:ext cx="7095" cy="10644"/>
              </a:xfrm>
              <a:custGeom>
                <a:avLst/>
                <a:gdLst>
                  <a:gd name="T0" fmla="*/ 2147483647 w 18"/>
                  <a:gd name="T1" fmla="*/ 0 h 24"/>
                  <a:gd name="T2" fmla="*/ 2147483647 w 18"/>
                  <a:gd name="T3" fmla="*/ 2147483647 h 24"/>
                  <a:gd name="T4" fmla="*/ 0 w 18"/>
                  <a:gd name="T5" fmla="*/ 2147483647 h 24"/>
                  <a:gd name="T6" fmla="*/ 0 w 18"/>
                  <a:gd name="T7" fmla="*/ 2147483647 h 24"/>
                  <a:gd name="T8" fmla="*/ 2147483647 w 18"/>
                  <a:gd name="T9" fmla="*/ 2147483647 h 24"/>
                  <a:gd name="T10" fmla="*/ 2147483647 w 18"/>
                  <a:gd name="T11" fmla="*/ 0 h 24"/>
                  <a:gd name="T12" fmla="*/ 2147483647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12" y="0"/>
                    </a:moveTo>
                    <a:lnTo>
                      <a:pt x="6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8" name="Leban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A2261E7-230D-31D8-733F-FB12F492341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773556" y="2658834"/>
                <a:ext cx="47890" cy="70957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9" name="Lat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EBC1D7A-F9C9-260C-3D6D-794608B766B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08844" y="1830402"/>
                <a:ext cx="191560" cy="81601"/>
              </a:xfrm>
              <a:custGeom>
                <a:avLst/>
                <a:gdLst>
                  <a:gd name="T0" fmla="*/ 2147483647 w 426"/>
                  <a:gd name="T1" fmla="*/ 2147483647 h 180"/>
                  <a:gd name="T2" fmla="*/ 2147483647 w 426"/>
                  <a:gd name="T3" fmla="*/ 2147483647 h 180"/>
                  <a:gd name="T4" fmla="*/ 2147483647 w 426"/>
                  <a:gd name="T5" fmla="*/ 2147483647 h 180"/>
                  <a:gd name="T6" fmla="*/ 2147483647 w 426"/>
                  <a:gd name="T7" fmla="*/ 2147483647 h 180"/>
                  <a:gd name="T8" fmla="*/ 2147483647 w 426"/>
                  <a:gd name="T9" fmla="*/ 2147483647 h 180"/>
                  <a:gd name="T10" fmla="*/ 2147483647 w 426"/>
                  <a:gd name="T11" fmla="*/ 2147483647 h 180"/>
                  <a:gd name="T12" fmla="*/ 2147483647 w 426"/>
                  <a:gd name="T13" fmla="*/ 2147483647 h 180"/>
                  <a:gd name="T14" fmla="*/ 2147483647 w 426"/>
                  <a:gd name="T15" fmla="*/ 2147483647 h 180"/>
                  <a:gd name="T16" fmla="*/ 2147483647 w 426"/>
                  <a:gd name="T17" fmla="*/ 2147483647 h 180"/>
                  <a:gd name="T18" fmla="*/ 2147483647 w 426"/>
                  <a:gd name="T19" fmla="*/ 2147483647 h 180"/>
                  <a:gd name="T20" fmla="*/ 2147483647 w 426"/>
                  <a:gd name="T21" fmla="*/ 2147483647 h 180"/>
                  <a:gd name="T22" fmla="*/ 2147483647 w 426"/>
                  <a:gd name="T23" fmla="*/ 2147483647 h 180"/>
                  <a:gd name="T24" fmla="*/ 2147483647 w 426"/>
                  <a:gd name="T25" fmla="*/ 2147483647 h 180"/>
                  <a:gd name="T26" fmla="*/ 2147483647 w 426"/>
                  <a:gd name="T27" fmla="*/ 2147483647 h 180"/>
                  <a:gd name="T28" fmla="*/ 2147483647 w 426"/>
                  <a:gd name="T29" fmla="*/ 2147483647 h 180"/>
                  <a:gd name="T30" fmla="*/ 2147483647 w 426"/>
                  <a:gd name="T31" fmla="*/ 2147483647 h 180"/>
                  <a:gd name="T32" fmla="*/ 2147483647 w 426"/>
                  <a:gd name="T33" fmla="*/ 2147483647 h 180"/>
                  <a:gd name="T34" fmla="*/ 2147483647 w 426"/>
                  <a:gd name="T35" fmla="*/ 2147483647 h 180"/>
                  <a:gd name="T36" fmla="*/ 2147483647 w 426"/>
                  <a:gd name="T37" fmla="*/ 2147483647 h 180"/>
                  <a:gd name="T38" fmla="*/ 2147483647 w 426"/>
                  <a:gd name="T39" fmla="*/ 2147483647 h 180"/>
                  <a:gd name="T40" fmla="*/ 2147483647 w 426"/>
                  <a:gd name="T41" fmla="*/ 2147483647 h 180"/>
                  <a:gd name="T42" fmla="*/ 2147483647 w 426"/>
                  <a:gd name="T43" fmla="*/ 2147483647 h 180"/>
                  <a:gd name="T44" fmla="*/ 2147483647 w 426"/>
                  <a:gd name="T45" fmla="*/ 2147483647 h 180"/>
                  <a:gd name="T46" fmla="*/ 2147483647 w 426"/>
                  <a:gd name="T47" fmla="*/ 2147483647 h 180"/>
                  <a:gd name="T48" fmla="*/ 2147483647 w 426"/>
                  <a:gd name="T49" fmla="*/ 2147483647 h 180"/>
                  <a:gd name="T50" fmla="*/ 2147483647 w 426"/>
                  <a:gd name="T51" fmla="*/ 2147483647 h 180"/>
                  <a:gd name="T52" fmla="*/ 2147483647 w 426"/>
                  <a:gd name="T53" fmla="*/ 2147483647 h 180"/>
                  <a:gd name="T54" fmla="*/ 2147483647 w 426"/>
                  <a:gd name="T55" fmla="*/ 2147483647 h 180"/>
                  <a:gd name="T56" fmla="*/ 2147483647 w 426"/>
                  <a:gd name="T57" fmla="*/ 2147483647 h 180"/>
                  <a:gd name="T58" fmla="*/ 2147483647 w 426"/>
                  <a:gd name="T59" fmla="*/ 2147483647 h 180"/>
                  <a:gd name="T60" fmla="*/ 2147483647 w 426"/>
                  <a:gd name="T61" fmla="*/ 0 h 180"/>
                  <a:gd name="T62" fmla="*/ 2147483647 w 426"/>
                  <a:gd name="T63" fmla="*/ 2147483647 h 180"/>
                  <a:gd name="T64" fmla="*/ 2147483647 w 426"/>
                  <a:gd name="T65" fmla="*/ 2147483647 h 180"/>
                  <a:gd name="T66" fmla="*/ 2147483647 w 426"/>
                  <a:gd name="T67" fmla="*/ 2147483647 h 180"/>
                  <a:gd name="T68" fmla="*/ 2147483647 w 426"/>
                  <a:gd name="T69" fmla="*/ 2147483647 h 180"/>
                  <a:gd name="T70" fmla="*/ 2147483647 w 426"/>
                  <a:gd name="T71" fmla="*/ 2147483647 h 180"/>
                  <a:gd name="T72" fmla="*/ 2147483647 w 426"/>
                  <a:gd name="T73" fmla="*/ 2147483647 h 180"/>
                  <a:gd name="T74" fmla="*/ 2147483647 w 426"/>
                  <a:gd name="T75" fmla="*/ 2147483647 h 180"/>
                  <a:gd name="T76" fmla="*/ 2147483647 w 426"/>
                  <a:gd name="T77" fmla="*/ 2147483647 h 180"/>
                  <a:gd name="T78" fmla="*/ 2147483647 w 426"/>
                  <a:gd name="T79" fmla="*/ 2147483647 h 180"/>
                  <a:gd name="T80" fmla="*/ 2147483647 w 426"/>
                  <a:gd name="T81" fmla="*/ 2147483647 h 180"/>
                  <a:gd name="T82" fmla="*/ 2147483647 w 426"/>
                  <a:gd name="T83" fmla="*/ 2147483647 h 180"/>
                  <a:gd name="T84" fmla="*/ 0 w 426"/>
                  <a:gd name="T85" fmla="*/ 2147483647 h 180"/>
                  <a:gd name="T86" fmla="*/ 2147483647 w 426"/>
                  <a:gd name="T87" fmla="*/ 2147483647 h 1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6"/>
                  <a:gd name="T133" fmla="*/ 0 h 180"/>
                  <a:gd name="T134" fmla="*/ 426 w 426"/>
                  <a:gd name="T135" fmla="*/ 180 h 1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6" h="180">
                    <a:moveTo>
                      <a:pt x="6" y="144"/>
                    </a:moveTo>
                    <a:lnTo>
                      <a:pt x="6" y="138"/>
                    </a:lnTo>
                    <a:lnTo>
                      <a:pt x="12" y="138"/>
                    </a:lnTo>
                    <a:lnTo>
                      <a:pt x="24" y="132"/>
                    </a:lnTo>
                    <a:lnTo>
                      <a:pt x="66" y="132"/>
                    </a:lnTo>
                    <a:lnTo>
                      <a:pt x="78" y="120"/>
                    </a:lnTo>
                    <a:lnTo>
                      <a:pt x="96" y="120"/>
                    </a:lnTo>
                    <a:lnTo>
                      <a:pt x="102" y="126"/>
                    </a:lnTo>
                    <a:lnTo>
                      <a:pt x="108" y="126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2"/>
                    </a:lnTo>
                    <a:lnTo>
                      <a:pt x="180" y="132"/>
                    </a:lnTo>
                    <a:lnTo>
                      <a:pt x="186" y="138"/>
                    </a:lnTo>
                    <a:lnTo>
                      <a:pt x="204" y="138"/>
                    </a:lnTo>
                    <a:lnTo>
                      <a:pt x="216" y="126"/>
                    </a:lnTo>
                    <a:lnTo>
                      <a:pt x="228" y="126"/>
                    </a:lnTo>
                    <a:lnTo>
                      <a:pt x="234" y="132"/>
                    </a:lnTo>
                    <a:lnTo>
                      <a:pt x="240" y="144"/>
                    </a:lnTo>
                    <a:lnTo>
                      <a:pt x="270" y="144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300" y="162"/>
                    </a:lnTo>
                    <a:lnTo>
                      <a:pt x="318" y="174"/>
                    </a:lnTo>
                    <a:lnTo>
                      <a:pt x="336" y="180"/>
                    </a:lnTo>
                    <a:lnTo>
                      <a:pt x="360" y="168"/>
                    </a:lnTo>
                    <a:lnTo>
                      <a:pt x="378" y="168"/>
                    </a:lnTo>
                    <a:lnTo>
                      <a:pt x="384" y="174"/>
                    </a:lnTo>
                    <a:lnTo>
                      <a:pt x="390" y="168"/>
                    </a:lnTo>
                    <a:lnTo>
                      <a:pt x="396" y="168"/>
                    </a:lnTo>
                    <a:lnTo>
                      <a:pt x="402" y="162"/>
                    </a:lnTo>
                    <a:lnTo>
                      <a:pt x="408" y="150"/>
                    </a:lnTo>
                    <a:lnTo>
                      <a:pt x="414" y="144"/>
                    </a:lnTo>
                    <a:lnTo>
                      <a:pt x="420" y="150"/>
                    </a:lnTo>
                    <a:lnTo>
                      <a:pt x="426" y="150"/>
                    </a:lnTo>
                    <a:lnTo>
                      <a:pt x="426" y="126"/>
                    </a:lnTo>
                    <a:lnTo>
                      <a:pt x="414" y="114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78" y="90"/>
                    </a:lnTo>
                    <a:lnTo>
                      <a:pt x="384" y="72"/>
                    </a:lnTo>
                    <a:lnTo>
                      <a:pt x="402" y="72"/>
                    </a:lnTo>
                    <a:lnTo>
                      <a:pt x="402" y="66"/>
                    </a:lnTo>
                    <a:lnTo>
                      <a:pt x="396" y="60"/>
                    </a:lnTo>
                    <a:lnTo>
                      <a:pt x="384" y="54"/>
                    </a:lnTo>
                    <a:lnTo>
                      <a:pt x="372" y="42"/>
                    </a:lnTo>
                    <a:lnTo>
                      <a:pt x="354" y="42"/>
                    </a:lnTo>
                    <a:lnTo>
                      <a:pt x="348" y="36"/>
                    </a:lnTo>
                    <a:lnTo>
                      <a:pt x="330" y="36"/>
                    </a:lnTo>
                    <a:lnTo>
                      <a:pt x="324" y="42"/>
                    </a:lnTo>
                    <a:lnTo>
                      <a:pt x="306" y="42"/>
                    </a:lnTo>
                    <a:lnTo>
                      <a:pt x="288" y="24"/>
                    </a:lnTo>
                    <a:lnTo>
                      <a:pt x="276" y="18"/>
                    </a:lnTo>
                    <a:lnTo>
                      <a:pt x="270" y="12"/>
                    </a:lnTo>
                    <a:lnTo>
                      <a:pt x="246" y="0"/>
                    </a:lnTo>
                    <a:lnTo>
                      <a:pt x="216" y="0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6" y="42"/>
                    </a:lnTo>
                    <a:lnTo>
                      <a:pt x="186" y="60"/>
                    </a:lnTo>
                    <a:lnTo>
                      <a:pt x="192" y="66"/>
                    </a:lnTo>
                    <a:lnTo>
                      <a:pt x="186" y="78"/>
                    </a:lnTo>
                    <a:lnTo>
                      <a:pt x="156" y="78"/>
                    </a:lnTo>
                    <a:lnTo>
                      <a:pt x="138" y="72"/>
                    </a:lnTo>
                    <a:lnTo>
                      <a:pt x="126" y="72"/>
                    </a:lnTo>
                    <a:lnTo>
                      <a:pt x="114" y="54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0" y="30"/>
                    </a:lnTo>
                    <a:lnTo>
                      <a:pt x="48" y="30"/>
                    </a:lnTo>
                    <a:lnTo>
                      <a:pt x="36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18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6" y="150"/>
                    </a:lnTo>
                    <a:lnTo>
                      <a:pt x="6" y="14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0" name="Ital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19187EB-7804-19E4-1BEB-72700821CB9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18630" y="2210026"/>
                <a:ext cx="349420" cy="374302"/>
              </a:xfrm>
              <a:custGeom>
                <a:avLst/>
                <a:gdLst>
                  <a:gd name="T0" fmla="*/ 2147483647 w 780"/>
                  <a:gd name="T1" fmla="*/ 2147483647 h 828"/>
                  <a:gd name="T2" fmla="*/ 2147483647 w 780"/>
                  <a:gd name="T3" fmla="*/ 2147483647 h 828"/>
                  <a:gd name="T4" fmla="*/ 2147483647 w 780"/>
                  <a:gd name="T5" fmla="*/ 2147483647 h 828"/>
                  <a:gd name="T6" fmla="*/ 2147483647 w 780"/>
                  <a:gd name="T7" fmla="*/ 2147483647 h 828"/>
                  <a:gd name="T8" fmla="*/ 2147483647 w 780"/>
                  <a:gd name="T9" fmla="*/ 2147483647 h 828"/>
                  <a:gd name="T10" fmla="*/ 2147483647 w 780"/>
                  <a:gd name="T11" fmla="*/ 2147483647 h 828"/>
                  <a:gd name="T12" fmla="*/ 2147483647 w 780"/>
                  <a:gd name="T13" fmla="*/ 2147483647 h 828"/>
                  <a:gd name="T14" fmla="*/ 2147483647 w 780"/>
                  <a:gd name="T15" fmla="*/ 2147483647 h 828"/>
                  <a:gd name="T16" fmla="*/ 2147483647 w 780"/>
                  <a:gd name="T17" fmla="*/ 2147483647 h 828"/>
                  <a:gd name="T18" fmla="*/ 2147483647 w 780"/>
                  <a:gd name="T19" fmla="*/ 2147483647 h 828"/>
                  <a:gd name="T20" fmla="*/ 2147483647 w 780"/>
                  <a:gd name="T21" fmla="*/ 2147483647 h 828"/>
                  <a:gd name="T22" fmla="*/ 2147483647 w 780"/>
                  <a:gd name="T23" fmla="*/ 2147483647 h 828"/>
                  <a:gd name="T24" fmla="*/ 2147483647 w 780"/>
                  <a:gd name="T25" fmla="*/ 2147483647 h 828"/>
                  <a:gd name="T26" fmla="*/ 2147483647 w 780"/>
                  <a:gd name="T27" fmla="*/ 2147483647 h 828"/>
                  <a:gd name="T28" fmla="*/ 2147483647 w 780"/>
                  <a:gd name="T29" fmla="*/ 2147483647 h 828"/>
                  <a:gd name="T30" fmla="*/ 2147483647 w 780"/>
                  <a:gd name="T31" fmla="*/ 2147483647 h 828"/>
                  <a:gd name="T32" fmla="*/ 2147483647 w 780"/>
                  <a:gd name="T33" fmla="*/ 2147483647 h 828"/>
                  <a:gd name="T34" fmla="*/ 2147483647 w 780"/>
                  <a:gd name="T35" fmla="*/ 2147483647 h 828"/>
                  <a:gd name="T36" fmla="*/ 2147483647 w 780"/>
                  <a:gd name="T37" fmla="*/ 2147483647 h 828"/>
                  <a:gd name="T38" fmla="*/ 2147483647 w 780"/>
                  <a:gd name="T39" fmla="*/ 2147483647 h 828"/>
                  <a:gd name="T40" fmla="*/ 2147483647 w 780"/>
                  <a:gd name="T41" fmla="*/ 2147483647 h 828"/>
                  <a:gd name="T42" fmla="*/ 2147483647 w 780"/>
                  <a:gd name="T43" fmla="*/ 2147483647 h 828"/>
                  <a:gd name="T44" fmla="*/ 2147483647 w 780"/>
                  <a:gd name="T45" fmla="*/ 2147483647 h 828"/>
                  <a:gd name="T46" fmla="*/ 2147483647 w 780"/>
                  <a:gd name="T47" fmla="*/ 2147483647 h 828"/>
                  <a:gd name="T48" fmla="*/ 2147483647 w 780"/>
                  <a:gd name="T49" fmla="*/ 2147483647 h 828"/>
                  <a:gd name="T50" fmla="*/ 2147483647 w 780"/>
                  <a:gd name="T51" fmla="*/ 2147483647 h 828"/>
                  <a:gd name="T52" fmla="*/ 2147483647 w 780"/>
                  <a:gd name="T53" fmla="*/ 2147483647 h 828"/>
                  <a:gd name="T54" fmla="*/ 2147483647 w 780"/>
                  <a:gd name="T55" fmla="*/ 2147483647 h 828"/>
                  <a:gd name="T56" fmla="*/ 2147483647 w 780"/>
                  <a:gd name="T57" fmla="*/ 2147483647 h 828"/>
                  <a:gd name="T58" fmla="*/ 2147483647 w 780"/>
                  <a:gd name="T59" fmla="*/ 2147483647 h 828"/>
                  <a:gd name="T60" fmla="*/ 2147483647 w 780"/>
                  <a:gd name="T61" fmla="*/ 2147483647 h 828"/>
                  <a:gd name="T62" fmla="*/ 2147483647 w 780"/>
                  <a:gd name="T63" fmla="*/ 2147483647 h 828"/>
                  <a:gd name="T64" fmla="*/ 2147483647 w 780"/>
                  <a:gd name="T65" fmla="*/ 2147483647 h 828"/>
                  <a:gd name="T66" fmla="*/ 2147483647 w 780"/>
                  <a:gd name="T67" fmla="*/ 2147483647 h 828"/>
                  <a:gd name="T68" fmla="*/ 2147483647 w 780"/>
                  <a:gd name="T69" fmla="*/ 2147483647 h 828"/>
                  <a:gd name="T70" fmla="*/ 2147483647 w 780"/>
                  <a:gd name="T71" fmla="*/ 2147483647 h 828"/>
                  <a:gd name="T72" fmla="*/ 2147483647 w 780"/>
                  <a:gd name="T73" fmla="*/ 2147483647 h 828"/>
                  <a:gd name="T74" fmla="*/ 2147483647 w 780"/>
                  <a:gd name="T75" fmla="*/ 2147483647 h 828"/>
                  <a:gd name="T76" fmla="*/ 2147483647 w 780"/>
                  <a:gd name="T77" fmla="*/ 2147483647 h 828"/>
                  <a:gd name="T78" fmla="*/ 2147483647 w 780"/>
                  <a:gd name="T79" fmla="*/ 2147483647 h 828"/>
                  <a:gd name="T80" fmla="*/ 2147483647 w 780"/>
                  <a:gd name="T81" fmla="*/ 2147483647 h 828"/>
                  <a:gd name="T82" fmla="*/ 2147483647 w 780"/>
                  <a:gd name="T83" fmla="*/ 2147483647 h 828"/>
                  <a:gd name="T84" fmla="*/ 2147483647 w 780"/>
                  <a:gd name="T85" fmla="*/ 2147483647 h 828"/>
                  <a:gd name="T86" fmla="*/ 2147483647 w 780"/>
                  <a:gd name="T87" fmla="*/ 2147483647 h 828"/>
                  <a:gd name="T88" fmla="*/ 2147483647 w 780"/>
                  <a:gd name="T89" fmla="*/ 2147483647 h 828"/>
                  <a:gd name="T90" fmla="*/ 2147483647 w 780"/>
                  <a:gd name="T91" fmla="*/ 2147483647 h 828"/>
                  <a:gd name="T92" fmla="*/ 2147483647 w 780"/>
                  <a:gd name="T93" fmla="*/ 2147483647 h 828"/>
                  <a:gd name="T94" fmla="*/ 2147483647 w 780"/>
                  <a:gd name="T95" fmla="*/ 2147483647 h 828"/>
                  <a:gd name="T96" fmla="*/ 2147483647 w 780"/>
                  <a:gd name="T97" fmla="*/ 2147483647 h 828"/>
                  <a:gd name="T98" fmla="*/ 2147483647 w 780"/>
                  <a:gd name="T99" fmla="*/ 2147483647 h 828"/>
                  <a:gd name="T100" fmla="*/ 2147483647 w 780"/>
                  <a:gd name="T101" fmla="*/ 2147483647 h 828"/>
                  <a:gd name="T102" fmla="*/ 2147483647 w 780"/>
                  <a:gd name="T103" fmla="*/ 2147483647 h 828"/>
                  <a:gd name="T104" fmla="*/ 2147483647 w 780"/>
                  <a:gd name="T105" fmla="*/ 2147483647 h 828"/>
                  <a:gd name="T106" fmla="*/ 2147483647 w 780"/>
                  <a:gd name="T107" fmla="*/ 2147483647 h 828"/>
                  <a:gd name="T108" fmla="*/ 2147483647 w 780"/>
                  <a:gd name="T109" fmla="*/ 2147483647 h 828"/>
                  <a:gd name="T110" fmla="*/ 2147483647 w 780"/>
                  <a:gd name="T111" fmla="*/ 2147483647 h 828"/>
                  <a:gd name="T112" fmla="*/ 2147483647 w 780"/>
                  <a:gd name="T113" fmla="*/ 2147483647 h 82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0"/>
                  <a:gd name="T172" fmla="*/ 0 h 828"/>
                  <a:gd name="T173" fmla="*/ 780 w 780"/>
                  <a:gd name="T174" fmla="*/ 828 h 82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0" h="828">
                    <a:moveTo>
                      <a:pt x="570" y="720"/>
                    </a:moveTo>
                    <a:lnTo>
                      <a:pt x="558" y="714"/>
                    </a:lnTo>
                    <a:lnTo>
                      <a:pt x="552" y="708"/>
                    </a:lnTo>
                    <a:lnTo>
                      <a:pt x="540" y="708"/>
                    </a:lnTo>
                    <a:lnTo>
                      <a:pt x="534" y="714"/>
                    </a:lnTo>
                    <a:lnTo>
                      <a:pt x="522" y="720"/>
                    </a:lnTo>
                    <a:lnTo>
                      <a:pt x="516" y="726"/>
                    </a:lnTo>
                    <a:lnTo>
                      <a:pt x="468" y="726"/>
                    </a:lnTo>
                    <a:lnTo>
                      <a:pt x="456" y="720"/>
                    </a:lnTo>
                    <a:lnTo>
                      <a:pt x="444" y="708"/>
                    </a:lnTo>
                    <a:lnTo>
                      <a:pt x="438" y="708"/>
                    </a:lnTo>
                    <a:lnTo>
                      <a:pt x="420" y="726"/>
                    </a:lnTo>
                    <a:lnTo>
                      <a:pt x="402" y="714"/>
                    </a:lnTo>
                    <a:lnTo>
                      <a:pt x="396" y="714"/>
                    </a:lnTo>
                    <a:lnTo>
                      <a:pt x="384" y="726"/>
                    </a:lnTo>
                    <a:lnTo>
                      <a:pt x="384" y="738"/>
                    </a:lnTo>
                    <a:lnTo>
                      <a:pt x="396" y="750"/>
                    </a:lnTo>
                    <a:lnTo>
                      <a:pt x="420" y="762"/>
                    </a:lnTo>
                    <a:lnTo>
                      <a:pt x="426" y="762"/>
                    </a:lnTo>
                    <a:lnTo>
                      <a:pt x="444" y="780"/>
                    </a:lnTo>
                    <a:lnTo>
                      <a:pt x="444" y="786"/>
                    </a:lnTo>
                    <a:lnTo>
                      <a:pt x="456" y="786"/>
                    </a:lnTo>
                    <a:lnTo>
                      <a:pt x="468" y="798"/>
                    </a:lnTo>
                    <a:lnTo>
                      <a:pt x="480" y="804"/>
                    </a:lnTo>
                    <a:lnTo>
                      <a:pt x="498" y="798"/>
                    </a:lnTo>
                    <a:lnTo>
                      <a:pt x="504" y="804"/>
                    </a:lnTo>
                    <a:lnTo>
                      <a:pt x="516" y="810"/>
                    </a:lnTo>
                    <a:lnTo>
                      <a:pt x="522" y="822"/>
                    </a:lnTo>
                    <a:lnTo>
                      <a:pt x="534" y="828"/>
                    </a:lnTo>
                    <a:lnTo>
                      <a:pt x="558" y="828"/>
                    </a:lnTo>
                    <a:lnTo>
                      <a:pt x="570" y="816"/>
                    </a:lnTo>
                    <a:lnTo>
                      <a:pt x="570" y="792"/>
                    </a:lnTo>
                    <a:lnTo>
                      <a:pt x="564" y="780"/>
                    </a:lnTo>
                    <a:lnTo>
                      <a:pt x="564" y="768"/>
                    </a:lnTo>
                    <a:lnTo>
                      <a:pt x="570" y="750"/>
                    </a:lnTo>
                    <a:lnTo>
                      <a:pt x="576" y="738"/>
                    </a:lnTo>
                    <a:lnTo>
                      <a:pt x="582" y="732"/>
                    </a:lnTo>
                    <a:lnTo>
                      <a:pt x="582" y="714"/>
                    </a:lnTo>
                    <a:lnTo>
                      <a:pt x="576" y="702"/>
                    </a:lnTo>
                    <a:lnTo>
                      <a:pt x="570" y="720"/>
                    </a:lnTo>
                    <a:close/>
                    <a:moveTo>
                      <a:pt x="180" y="468"/>
                    </a:moveTo>
                    <a:lnTo>
                      <a:pt x="156" y="480"/>
                    </a:lnTo>
                    <a:lnTo>
                      <a:pt x="150" y="486"/>
                    </a:lnTo>
                    <a:lnTo>
                      <a:pt x="138" y="492"/>
                    </a:lnTo>
                    <a:lnTo>
                      <a:pt x="132" y="498"/>
                    </a:lnTo>
                    <a:lnTo>
                      <a:pt x="126" y="498"/>
                    </a:lnTo>
                    <a:lnTo>
                      <a:pt x="114" y="492"/>
                    </a:lnTo>
                    <a:lnTo>
                      <a:pt x="102" y="480"/>
                    </a:lnTo>
                    <a:lnTo>
                      <a:pt x="96" y="498"/>
                    </a:lnTo>
                    <a:lnTo>
                      <a:pt x="102" y="504"/>
                    </a:lnTo>
                    <a:lnTo>
                      <a:pt x="114" y="510"/>
                    </a:lnTo>
                    <a:lnTo>
                      <a:pt x="120" y="522"/>
                    </a:lnTo>
                    <a:lnTo>
                      <a:pt x="120" y="540"/>
                    </a:lnTo>
                    <a:lnTo>
                      <a:pt x="114" y="558"/>
                    </a:lnTo>
                    <a:lnTo>
                      <a:pt x="114" y="570"/>
                    </a:lnTo>
                    <a:lnTo>
                      <a:pt x="126" y="582"/>
                    </a:lnTo>
                    <a:lnTo>
                      <a:pt x="114" y="588"/>
                    </a:lnTo>
                    <a:lnTo>
                      <a:pt x="120" y="636"/>
                    </a:lnTo>
                    <a:lnTo>
                      <a:pt x="108" y="636"/>
                    </a:lnTo>
                    <a:lnTo>
                      <a:pt x="126" y="654"/>
                    </a:lnTo>
                    <a:lnTo>
                      <a:pt x="138" y="654"/>
                    </a:lnTo>
                    <a:lnTo>
                      <a:pt x="144" y="642"/>
                    </a:lnTo>
                    <a:lnTo>
                      <a:pt x="156" y="630"/>
                    </a:lnTo>
                    <a:lnTo>
                      <a:pt x="156" y="618"/>
                    </a:lnTo>
                    <a:lnTo>
                      <a:pt x="168" y="630"/>
                    </a:lnTo>
                    <a:lnTo>
                      <a:pt x="180" y="636"/>
                    </a:lnTo>
                    <a:lnTo>
                      <a:pt x="186" y="636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198" y="594"/>
                    </a:lnTo>
                    <a:lnTo>
                      <a:pt x="204" y="582"/>
                    </a:lnTo>
                    <a:lnTo>
                      <a:pt x="204" y="558"/>
                    </a:lnTo>
                    <a:lnTo>
                      <a:pt x="198" y="552"/>
                    </a:lnTo>
                    <a:lnTo>
                      <a:pt x="192" y="552"/>
                    </a:lnTo>
                    <a:lnTo>
                      <a:pt x="192" y="546"/>
                    </a:lnTo>
                    <a:lnTo>
                      <a:pt x="198" y="540"/>
                    </a:lnTo>
                    <a:lnTo>
                      <a:pt x="204" y="540"/>
                    </a:lnTo>
                    <a:lnTo>
                      <a:pt x="210" y="534"/>
                    </a:lnTo>
                    <a:lnTo>
                      <a:pt x="210" y="522"/>
                    </a:lnTo>
                    <a:lnTo>
                      <a:pt x="204" y="510"/>
                    </a:lnTo>
                    <a:lnTo>
                      <a:pt x="204" y="492"/>
                    </a:lnTo>
                    <a:lnTo>
                      <a:pt x="198" y="480"/>
                    </a:lnTo>
                    <a:lnTo>
                      <a:pt x="186" y="474"/>
                    </a:lnTo>
                    <a:lnTo>
                      <a:pt x="180" y="468"/>
                    </a:lnTo>
                    <a:close/>
                    <a:moveTo>
                      <a:pt x="774" y="546"/>
                    </a:moveTo>
                    <a:lnTo>
                      <a:pt x="768" y="534"/>
                    </a:lnTo>
                    <a:lnTo>
                      <a:pt x="756" y="528"/>
                    </a:lnTo>
                    <a:lnTo>
                      <a:pt x="738" y="51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74"/>
                    </a:lnTo>
                    <a:lnTo>
                      <a:pt x="648" y="474"/>
                    </a:lnTo>
                    <a:lnTo>
                      <a:pt x="630" y="468"/>
                    </a:lnTo>
                    <a:lnTo>
                      <a:pt x="606" y="456"/>
                    </a:lnTo>
                    <a:lnTo>
                      <a:pt x="606" y="450"/>
                    </a:lnTo>
                    <a:lnTo>
                      <a:pt x="612" y="438"/>
                    </a:lnTo>
                    <a:lnTo>
                      <a:pt x="624" y="426"/>
                    </a:lnTo>
                    <a:lnTo>
                      <a:pt x="624" y="420"/>
                    </a:lnTo>
                    <a:lnTo>
                      <a:pt x="618" y="414"/>
                    </a:lnTo>
                    <a:lnTo>
                      <a:pt x="612" y="414"/>
                    </a:lnTo>
                    <a:lnTo>
                      <a:pt x="594" y="408"/>
                    </a:lnTo>
                    <a:lnTo>
                      <a:pt x="552" y="408"/>
                    </a:lnTo>
                    <a:lnTo>
                      <a:pt x="540" y="402"/>
                    </a:lnTo>
                    <a:lnTo>
                      <a:pt x="534" y="396"/>
                    </a:lnTo>
                    <a:lnTo>
                      <a:pt x="516" y="384"/>
                    </a:lnTo>
                    <a:lnTo>
                      <a:pt x="492" y="360"/>
                    </a:lnTo>
                    <a:lnTo>
                      <a:pt x="480" y="342"/>
                    </a:lnTo>
                    <a:lnTo>
                      <a:pt x="474" y="336"/>
                    </a:lnTo>
                    <a:lnTo>
                      <a:pt x="468" y="324"/>
                    </a:lnTo>
                    <a:lnTo>
                      <a:pt x="468" y="312"/>
                    </a:lnTo>
                    <a:lnTo>
                      <a:pt x="450" y="276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20" y="258"/>
                    </a:lnTo>
                    <a:lnTo>
                      <a:pt x="414" y="252"/>
                    </a:lnTo>
                    <a:lnTo>
                      <a:pt x="378" y="222"/>
                    </a:lnTo>
                    <a:lnTo>
                      <a:pt x="372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66" y="180"/>
                    </a:lnTo>
                    <a:lnTo>
                      <a:pt x="384" y="180"/>
                    </a:lnTo>
                    <a:lnTo>
                      <a:pt x="384" y="174"/>
                    </a:lnTo>
                    <a:lnTo>
                      <a:pt x="372" y="162"/>
                    </a:lnTo>
                    <a:lnTo>
                      <a:pt x="366" y="150"/>
                    </a:lnTo>
                    <a:lnTo>
                      <a:pt x="366" y="138"/>
                    </a:lnTo>
                    <a:lnTo>
                      <a:pt x="402" y="120"/>
                    </a:lnTo>
                    <a:lnTo>
                      <a:pt x="408" y="114"/>
                    </a:lnTo>
                    <a:lnTo>
                      <a:pt x="414" y="114"/>
                    </a:lnTo>
                    <a:lnTo>
                      <a:pt x="438" y="108"/>
                    </a:lnTo>
                    <a:lnTo>
                      <a:pt x="444" y="72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2"/>
                    </a:lnTo>
                    <a:lnTo>
                      <a:pt x="384" y="42"/>
                    </a:lnTo>
                    <a:lnTo>
                      <a:pt x="378" y="24"/>
                    </a:lnTo>
                    <a:lnTo>
                      <a:pt x="366" y="24"/>
                    </a:lnTo>
                    <a:lnTo>
                      <a:pt x="366" y="6"/>
                    </a:lnTo>
                    <a:lnTo>
                      <a:pt x="360" y="0"/>
                    </a:lnTo>
                    <a:lnTo>
                      <a:pt x="342" y="0"/>
                    </a:lnTo>
                    <a:lnTo>
                      <a:pt x="336" y="6"/>
                    </a:lnTo>
                    <a:lnTo>
                      <a:pt x="336" y="12"/>
                    </a:lnTo>
                    <a:lnTo>
                      <a:pt x="294" y="12"/>
                    </a:lnTo>
                    <a:lnTo>
                      <a:pt x="282" y="30"/>
                    </a:lnTo>
                    <a:lnTo>
                      <a:pt x="270" y="24"/>
                    </a:lnTo>
                    <a:lnTo>
                      <a:pt x="252" y="24"/>
                    </a:lnTo>
                    <a:lnTo>
                      <a:pt x="246" y="42"/>
                    </a:lnTo>
                    <a:lnTo>
                      <a:pt x="222" y="42"/>
                    </a:lnTo>
                    <a:lnTo>
                      <a:pt x="222" y="48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0" y="60"/>
                    </a:lnTo>
                    <a:lnTo>
                      <a:pt x="192" y="66"/>
                    </a:lnTo>
                    <a:lnTo>
                      <a:pt x="180" y="48"/>
                    </a:lnTo>
                    <a:lnTo>
                      <a:pt x="174" y="72"/>
                    </a:lnTo>
                    <a:lnTo>
                      <a:pt x="162" y="84"/>
                    </a:lnTo>
                    <a:lnTo>
                      <a:pt x="162" y="102"/>
                    </a:lnTo>
                    <a:lnTo>
                      <a:pt x="138" y="78"/>
                    </a:lnTo>
                    <a:lnTo>
                      <a:pt x="132" y="78"/>
                    </a:lnTo>
                    <a:lnTo>
                      <a:pt x="132" y="72"/>
                    </a:lnTo>
                    <a:lnTo>
                      <a:pt x="126" y="66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84" y="96"/>
                    </a:lnTo>
                    <a:lnTo>
                      <a:pt x="78" y="96"/>
                    </a:lnTo>
                    <a:lnTo>
                      <a:pt x="66" y="84"/>
                    </a:lnTo>
                    <a:lnTo>
                      <a:pt x="54" y="84"/>
                    </a:lnTo>
                    <a:lnTo>
                      <a:pt x="42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42" y="132"/>
                    </a:lnTo>
                    <a:lnTo>
                      <a:pt x="42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12" y="174"/>
                    </a:lnTo>
                    <a:lnTo>
                      <a:pt x="24" y="174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24" y="198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22"/>
                    </a:lnTo>
                    <a:lnTo>
                      <a:pt x="36" y="228"/>
                    </a:lnTo>
                    <a:lnTo>
                      <a:pt x="42" y="228"/>
                    </a:lnTo>
                    <a:lnTo>
                      <a:pt x="42" y="234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2" y="246"/>
                    </a:lnTo>
                    <a:lnTo>
                      <a:pt x="54" y="264"/>
                    </a:lnTo>
                    <a:lnTo>
                      <a:pt x="54" y="270"/>
                    </a:lnTo>
                    <a:lnTo>
                      <a:pt x="66" y="270"/>
                    </a:lnTo>
                    <a:lnTo>
                      <a:pt x="90" y="258"/>
                    </a:lnTo>
                    <a:lnTo>
                      <a:pt x="120" y="228"/>
                    </a:lnTo>
                    <a:lnTo>
                      <a:pt x="144" y="216"/>
                    </a:lnTo>
                    <a:lnTo>
                      <a:pt x="156" y="216"/>
                    </a:lnTo>
                    <a:lnTo>
                      <a:pt x="168" y="222"/>
                    </a:lnTo>
                    <a:lnTo>
                      <a:pt x="204" y="234"/>
                    </a:lnTo>
                    <a:lnTo>
                      <a:pt x="216" y="240"/>
                    </a:lnTo>
                    <a:lnTo>
                      <a:pt x="228" y="252"/>
                    </a:lnTo>
                    <a:lnTo>
                      <a:pt x="234" y="264"/>
                    </a:lnTo>
                    <a:lnTo>
                      <a:pt x="234" y="276"/>
                    </a:lnTo>
                    <a:lnTo>
                      <a:pt x="240" y="282"/>
                    </a:lnTo>
                    <a:lnTo>
                      <a:pt x="240" y="288"/>
                    </a:lnTo>
                    <a:lnTo>
                      <a:pt x="252" y="300"/>
                    </a:lnTo>
                    <a:lnTo>
                      <a:pt x="252" y="306"/>
                    </a:lnTo>
                    <a:lnTo>
                      <a:pt x="246" y="318"/>
                    </a:lnTo>
                    <a:lnTo>
                      <a:pt x="246" y="324"/>
                    </a:lnTo>
                    <a:lnTo>
                      <a:pt x="258" y="336"/>
                    </a:lnTo>
                    <a:lnTo>
                      <a:pt x="282" y="348"/>
                    </a:lnTo>
                    <a:lnTo>
                      <a:pt x="288" y="354"/>
                    </a:lnTo>
                    <a:lnTo>
                      <a:pt x="294" y="354"/>
                    </a:lnTo>
                    <a:lnTo>
                      <a:pt x="300" y="372"/>
                    </a:lnTo>
                    <a:lnTo>
                      <a:pt x="330" y="372"/>
                    </a:lnTo>
                    <a:lnTo>
                      <a:pt x="348" y="390"/>
                    </a:lnTo>
                    <a:lnTo>
                      <a:pt x="354" y="402"/>
                    </a:lnTo>
                    <a:lnTo>
                      <a:pt x="366" y="414"/>
                    </a:lnTo>
                    <a:lnTo>
                      <a:pt x="378" y="420"/>
                    </a:lnTo>
                    <a:lnTo>
                      <a:pt x="384" y="432"/>
                    </a:lnTo>
                    <a:lnTo>
                      <a:pt x="420" y="468"/>
                    </a:lnTo>
                    <a:lnTo>
                      <a:pt x="456" y="468"/>
                    </a:lnTo>
                    <a:lnTo>
                      <a:pt x="462" y="474"/>
                    </a:lnTo>
                    <a:lnTo>
                      <a:pt x="468" y="486"/>
                    </a:lnTo>
                    <a:lnTo>
                      <a:pt x="492" y="498"/>
                    </a:lnTo>
                    <a:lnTo>
                      <a:pt x="510" y="504"/>
                    </a:lnTo>
                    <a:lnTo>
                      <a:pt x="528" y="504"/>
                    </a:lnTo>
                    <a:lnTo>
                      <a:pt x="540" y="510"/>
                    </a:lnTo>
                    <a:lnTo>
                      <a:pt x="546" y="510"/>
                    </a:lnTo>
                    <a:lnTo>
                      <a:pt x="552" y="522"/>
                    </a:lnTo>
                    <a:lnTo>
                      <a:pt x="552" y="534"/>
                    </a:lnTo>
                    <a:lnTo>
                      <a:pt x="564" y="558"/>
                    </a:lnTo>
                    <a:lnTo>
                      <a:pt x="570" y="564"/>
                    </a:lnTo>
                    <a:lnTo>
                      <a:pt x="582" y="564"/>
                    </a:lnTo>
                    <a:lnTo>
                      <a:pt x="594" y="558"/>
                    </a:lnTo>
                    <a:lnTo>
                      <a:pt x="600" y="558"/>
                    </a:lnTo>
                    <a:lnTo>
                      <a:pt x="600" y="570"/>
                    </a:lnTo>
                    <a:lnTo>
                      <a:pt x="606" y="582"/>
                    </a:lnTo>
                    <a:lnTo>
                      <a:pt x="606" y="606"/>
                    </a:lnTo>
                    <a:lnTo>
                      <a:pt x="612" y="618"/>
                    </a:lnTo>
                    <a:lnTo>
                      <a:pt x="630" y="636"/>
                    </a:lnTo>
                    <a:lnTo>
                      <a:pt x="630" y="666"/>
                    </a:lnTo>
                    <a:lnTo>
                      <a:pt x="612" y="666"/>
                    </a:lnTo>
                    <a:lnTo>
                      <a:pt x="612" y="690"/>
                    </a:lnTo>
                    <a:lnTo>
                      <a:pt x="606" y="696"/>
                    </a:lnTo>
                    <a:lnTo>
                      <a:pt x="600" y="708"/>
                    </a:lnTo>
                    <a:lnTo>
                      <a:pt x="594" y="714"/>
                    </a:lnTo>
                    <a:lnTo>
                      <a:pt x="594" y="732"/>
                    </a:lnTo>
                    <a:lnTo>
                      <a:pt x="606" y="732"/>
                    </a:lnTo>
                    <a:lnTo>
                      <a:pt x="618" y="726"/>
                    </a:lnTo>
                    <a:lnTo>
                      <a:pt x="624" y="726"/>
                    </a:lnTo>
                    <a:lnTo>
                      <a:pt x="636" y="702"/>
                    </a:lnTo>
                    <a:lnTo>
                      <a:pt x="654" y="696"/>
                    </a:lnTo>
                    <a:lnTo>
                      <a:pt x="654" y="666"/>
                    </a:lnTo>
                    <a:lnTo>
                      <a:pt x="666" y="654"/>
                    </a:lnTo>
                    <a:lnTo>
                      <a:pt x="678" y="654"/>
                    </a:lnTo>
                    <a:lnTo>
                      <a:pt x="684" y="648"/>
                    </a:lnTo>
                    <a:lnTo>
                      <a:pt x="696" y="648"/>
                    </a:lnTo>
                    <a:lnTo>
                      <a:pt x="696" y="636"/>
                    </a:lnTo>
                    <a:lnTo>
                      <a:pt x="690" y="630"/>
                    </a:lnTo>
                    <a:lnTo>
                      <a:pt x="690" y="618"/>
                    </a:lnTo>
                    <a:lnTo>
                      <a:pt x="678" y="606"/>
                    </a:lnTo>
                    <a:lnTo>
                      <a:pt x="666" y="606"/>
                    </a:lnTo>
                    <a:lnTo>
                      <a:pt x="648" y="588"/>
                    </a:lnTo>
                    <a:lnTo>
                      <a:pt x="654" y="582"/>
                    </a:lnTo>
                    <a:lnTo>
                      <a:pt x="660" y="570"/>
                    </a:lnTo>
                    <a:lnTo>
                      <a:pt x="666" y="552"/>
                    </a:lnTo>
                    <a:lnTo>
                      <a:pt x="672" y="540"/>
                    </a:lnTo>
                    <a:lnTo>
                      <a:pt x="684" y="528"/>
                    </a:lnTo>
                    <a:lnTo>
                      <a:pt x="690" y="534"/>
                    </a:lnTo>
                    <a:lnTo>
                      <a:pt x="702" y="534"/>
                    </a:lnTo>
                    <a:lnTo>
                      <a:pt x="708" y="540"/>
                    </a:lnTo>
                    <a:lnTo>
                      <a:pt x="738" y="540"/>
                    </a:lnTo>
                    <a:lnTo>
                      <a:pt x="738" y="552"/>
                    </a:lnTo>
                    <a:lnTo>
                      <a:pt x="744" y="558"/>
                    </a:lnTo>
                    <a:lnTo>
                      <a:pt x="744" y="564"/>
                    </a:lnTo>
                    <a:lnTo>
                      <a:pt x="750" y="576"/>
                    </a:lnTo>
                    <a:lnTo>
                      <a:pt x="762" y="576"/>
                    </a:lnTo>
                    <a:lnTo>
                      <a:pt x="774" y="570"/>
                    </a:lnTo>
                    <a:lnTo>
                      <a:pt x="780" y="564"/>
                    </a:lnTo>
                    <a:lnTo>
                      <a:pt x="780" y="558"/>
                    </a:lnTo>
                    <a:lnTo>
                      <a:pt x="774" y="54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1" name="Ir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F6D2298-3857-336D-D2BC-93E80A8CDCC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459239" y="1926196"/>
                <a:ext cx="125933" cy="133046"/>
              </a:xfrm>
              <a:custGeom>
                <a:avLst/>
                <a:gdLst>
                  <a:gd name="T0" fmla="*/ 2147483647 w 282"/>
                  <a:gd name="T1" fmla="*/ 2147483647 h 300"/>
                  <a:gd name="T2" fmla="*/ 2147483647 w 282"/>
                  <a:gd name="T3" fmla="*/ 2147483647 h 300"/>
                  <a:gd name="T4" fmla="*/ 2147483647 w 282"/>
                  <a:gd name="T5" fmla="*/ 2147483647 h 300"/>
                  <a:gd name="T6" fmla="*/ 2147483647 w 282"/>
                  <a:gd name="T7" fmla="*/ 2147483647 h 300"/>
                  <a:gd name="T8" fmla="*/ 2147483647 w 282"/>
                  <a:gd name="T9" fmla="*/ 2147483647 h 300"/>
                  <a:gd name="T10" fmla="*/ 2147483647 w 282"/>
                  <a:gd name="T11" fmla="*/ 2147483647 h 300"/>
                  <a:gd name="T12" fmla="*/ 2147483647 w 282"/>
                  <a:gd name="T13" fmla="*/ 2147483647 h 300"/>
                  <a:gd name="T14" fmla="*/ 2147483647 w 282"/>
                  <a:gd name="T15" fmla="*/ 2147483647 h 300"/>
                  <a:gd name="T16" fmla="*/ 2147483647 w 282"/>
                  <a:gd name="T17" fmla="*/ 2147483647 h 300"/>
                  <a:gd name="T18" fmla="*/ 2147483647 w 282"/>
                  <a:gd name="T19" fmla="*/ 2147483647 h 300"/>
                  <a:gd name="T20" fmla="*/ 2147483647 w 282"/>
                  <a:gd name="T21" fmla="*/ 2147483647 h 300"/>
                  <a:gd name="T22" fmla="*/ 2147483647 w 282"/>
                  <a:gd name="T23" fmla="*/ 2147483647 h 300"/>
                  <a:gd name="T24" fmla="*/ 2147483647 w 282"/>
                  <a:gd name="T25" fmla="*/ 0 h 300"/>
                  <a:gd name="T26" fmla="*/ 2147483647 w 282"/>
                  <a:gd name="T27" fmla="*/ 2147483647 h 300"/>
                  <a:gd name="T28" fmla="*/ 2147483647 w 282"/>
                  <a:gd name="T29" fmla="*/ 2147483647 h 300"/>
                  <a:gd name="T30" fmla="*/ 2147483647 w 282"/>
                  <a:gd name="T31" fmla="*/ 2147483647 h 300"/>
                  <a:gd name="T32" fmla="*/ 2147483647 w 282"/>
                  <a:gd name="T33" fmla="*/ 2147483647 h 300"/>
                  <a:gd name="T34" fmla="*/ 2147483647 w 282"/>
                  <a:gd name="T35" fmla="*/ 2147483647 h 300"/>
                  <a:gd name="T36" fmla="*/ 2147483647 w 282"/>
                  <a:gd name="T37" fmla="*/ 2147483647 h 300"/>
                  <a:gd name="T38" fmla="*/ 2147483647 w 282"/>
                  <a:gd name="T39" fmla="*/ 2147483647 h 300"/>
                  <a:gd name="T40" fmla="*/ 2147483647 w 282"/>
                  <a:gd name="T41" fmla="*/ 2147483647 h 300"/>
                  <a:gd name="T42" fmla="*/ 2147483647 w 282"/>
                  <a:gd name="T43" fmla="*/ 2147483647 h 300"/>
                  <a:gd name="T44" fmla="*/ 2147483647 w 282"/>
                  <a:gd name="T45" fmla="*/ 2147483647 h 300"/>
                  <a:gd name="T46" fmla="*/ 2147483647 w 282"/>
                  <a:gd name="T47" fmla="*/ 2147483647 h 300"/>
                  <a:gd name="T48" fmla="*/ 2147483647 w 282"/>
                  <a:gd name="T49" fmla="*/ 2147483647 h 300"/>
                  <a:gd name="T50" fmla="*/ 2147483647 w 282"/>
                  <a:gd name="T51" fmla="*/ 2147483647 h 300"/>
                  <a:gd name="T52" fmla="*/ 2147483647 w 282"/>
                  <a:gd name="T53" fmla="*/ 2147483647 h 300"/>
                  <a:gd name="T54" fmla="*/ 2147483647 w 282"/>
                  <a:gd name="T55" fmla="*/ 2147483647 h 300"/>
                  <a:gd name="T56" fmla="*/ 2147483647 w 282"/>
                  <a:gd name="T57" fmla="*/ 2147483647 h 300"/>
                  <a:gd name="T58" fmla="*/ 2147483647 w 282"/>
                  <a:gd name="T59" fmla="*/ 2147483647 h 300"/>
                  <a:gd name="T60" fmla="*/ 2147483647 w 282"/>
                  <a:gd name="T61" fmla="*/ 2147483647 h 300"/>
                  <a:gd name="T62" fmla="*/ 2147483647 w 282"/>
                  <a:gd name="T63" fmla="*/ 2147483647 h 300"/>
                  <a:gd name="T64" fmla="*/ 2147483647 w 282"/>
                  <a:gd name="T65" fmla="*/ 2147483647 h 300"/>
                  <a:gd name="T66" fmla="*/ 2147483647 w 282"/>
                  <a:gd name="T67" fmla="*/ 2147483647 h 300"/>
                  <a:gd name="T68" fmla="*/ 2147483647 w 282"/>
                  <a:gd name="T69" fmla="*/ 2147483647 h 300"/>
                  <a:gd name="T70" fmla="*/ 2147483647 w 282"/>
                  <a:gd name="T71" fmla="*/ 2147483647 h 300"/>
                  <a:gd name="T72" fmla="*/ 2147483647 w 282"/>
                  <a:gd name="T73" fmla="*/ 2147483647 h 300"/>
                  <a:gd name="T74" fmla="*/ 2147483647 w 282"/>
                  <a:gd name="T75" fmla="*/ 2147483647 h 300"/>
                  <a:gd name="T76" fmla="*/ 2147483647 w 282"/>
                  <a:gd name="T77" fmla="*/ 2147483647 h 300"/>
                  <a:gd name="T78" fmla="*/ 2147483647 w 282"/>
                  <a:gd name="T79" fmla="*/ 2147483647 h 300"/>
                  <a:gd name="T80" fmla="*/ 0 w 282"/>
                  <a:gd name="T81" fmla="*/ 2147483647 h 300"/>
                  <a:gd name="T82" fmla="*/ 2147483647 w 282"/>
                  <a:gd name="T83" fmla="*/ 2147483647 h 300"/>
                  <a:gd name="T84" fmla="*/ 2147483647 w 282"/>
                  <a:gd name="T85" fmla="*/ 2147483647 h 300"/>
                  <a:gd name="T86" fmla="*/ 2147483647 w 282"/>
                  <a:gd name="T87" fmla="*/ 2147483647 h 300"/>
                  <a:gd name="T88" fmla="*/ 2147483647 w 282"/>
                  <a:gd name="T89" fmla="*/ 2147483647 h 300"/>
                  <a:gd name="T90" fmla="*/ 2147483647 w 282"/>
                  <a:gd name="T91" fmla="*/ 2147483647 h 300"/>
                  <a:gd name="T92" fmla="*/ 2147483647 w 282"/>
                  <a:gd name="T93" fmla="*/ 2147483647 h 300"/>
                  <a:gd name="T94" fmla="*/ 2147483647 w 282"/>
                  <a:gd name="T95" fmla="*/ 2147483647 h 300"/>
                  <a:gd name="T96" fmla="*/ 2147483647 w 282"/>
                  <a:gd name="T97" fmla="*/ 2147483647 h 300"/>
                  <a:gd name="T98" fmla="*/ 2147483647 w 282"/>
                  <a:gd name="T99" fmla="*/ 2147483647 h 300"/>
                  <a:gd name="T100" fmla="*/ 2147483647 w 282"/>
                  <a:gd name="T101" fmla="*/ 2147483647 h 300"/>
                  <a:gd name="T102" fmla="*/ 2147483647 w 282"/>
                  <a:gd name="T103" fmla="*/ 2147483647 h 300"/>
                  <a:gd name="T104" fmla="*/ 2147483647 w 282"/>
                  <a:gd name="T105" fmla="*/ 2147483647 h 300"/>
                  <a:gd name="T106" fmla="*/ 2147483647 w 282"/>
                  <a:gd name="T107" fmla="*/ 2147483647 h 300"/>
                  <a:gd name="T108" fmla="*/ 2147483647 w 282"/>
                  <a:gd name="T109" fmla="*/ 2147483647 h 300"/>
                  <a:gd name="T110" fmla="*/ 2147483647 w 282"/>
                  <a:gd name="T111" fmla="*/ 2147483647 h 3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2"/>
                  <a:gd name="T169" fmla="*/ 0 h 300"/>
                  <a:gd name="T170" fmla="*/ 282 w 282"/>
                  <a:gd name="T171" fmla="*/ 300 h 3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2" h="300">
                    <a:moveTo>
                      <a:pt x="276" y="156"/>
                    </a:moveTo>
                    <a:lnTo>
                      <a:pt x="276" y="144"/>
                    </a:lnTo>
                    <a:lnTo>
                      <a:pt x="270" y="132"/>
                    </a:lnTo>
                    <a:lnTo>
                      <a:pt x="264" y="126"/>
                    </a:lnTo>
                    <a:lnTo>
                      <a:pt x="264" y="114"/>
                    </a:lnTo>
                    <a:lnTo>
                      <a:pt x="258" y="108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46" y="90"/>
                    </a:lnTo>
                    <a:lnTo>
                      <a:pt x="228" y="66"/>
                    </a:lnTo>
                    <a:lnTo>
                      <a:pt x="204" y="90"/>
                    </a:lnTo>
                    <a:lnTo>
                      <a:pt x="192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74" y="60"/>
                    </a:lnTo>
                    <a:lnTo>
                      <a:pt x="180" y="60"/>
                    </a:lnTo>
                    <a:lnTo>
                      <a:pt x="186" y="54"/>
                    </a:lnTo>
                    <a:lnTo>
                      <a:pt x="192" y="54"/>
                    </a:lnTo>
                    <a:lnTo>
                      <a:pt x="192" y="42"/>
                    </a:lnTo>
                    <a:lnTo>
                      <a:pt x="234" y="18"/>
                    </a:lnTo>
                    <a:lnTo>
                      <a:pt x="240" y="12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28" y="0"/>
                    </a:lnTo>
                    <a:lnTo>
                      <a:pt x="222" y="0"/>
                    </a:lnTo>
                    <a:lnTo>
                      <a:pt x="210" y="6"/>
                    </a:lnTo>
                    <a:lnTo>
                      <a:pt x="204" y="18"/>
                    </a:lnTo>
                    <a:lnTo>
                      <a:pt x="198" y="6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26" y="42"/>
                    </a:lnTo>
                    <a:lnTo>
                      <a:pt x="120" y="48"/>
                    </a:lnTo>
                    <a:lnTo>
                      <a:pt x="120" y="54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44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26" y="84"/>
                    </a:lnTo>
                    <a:lnTo>
                      <a:pt x="102" y="84"/>
                    </a:lnTo>
                    <a:lnTo>
                      <a:pt x="102" y="90"/>
                    </a:lnTo>
                    <a:lnTo>
                      <a:pt x="90" y="78"/>
                    </a:lnTo>
                    <a:lnTo>
                      <a:pt x="42" y="78"/>
                    </a:lnTo>
                    <a:lnTo>
                      <a:pt x="42" y="102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0" y="132"/>
                    </a:lnTo>
                    <a:lnTo>
                      <a:pt x="30" y="138"/>
                    </a:lnTo>
                    <a:lnTo>
                      <a:pt x="42" y="150"/>
                    </a:lnTo>
                    <a:lnTo>
                      <a:pt x="54" y="156"/>
                    </a:lnTo>
                    <a:lnTo>
                      <a:pt x="60" y="162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96" y="156"/>
                    </a:lnTo>
                    <a:lnTo>
                      <a:pt x="96" y="168"/>
                    </a:lnTo>
                    <a:lnTo>
                      <a:pt x="90" y="174"/>
                    </a:lnTo>
                    <a:lnTo>
                      <a:pt x="72" y="174"/>
                    </a:lnTo>
                    <a:lnTo>
                      <a:pt x="72" y="192"/>
                    </a:lnTo>
                    <a:lnTo>
                      <a:pt x="54" y="192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2" y="234"/>
                    </a:lnTo>
                    <a:lnTo>
                      <a:pt x="18" y="234"/>
                    </a:lnTo>
                    <a:lnTo>
                      <a:pt x="12" y="240"/>
                    </a:lnTo>
                    <a:lnTo>
                      <a:pt x="6" y="240"/>
                    </a:lnTo>
                    <a:lnTo>
                      <a:pt x="6" y="246"/>
                    </a:lnTo>
                    <a:lnTo>
                      <a:pt x="12" y="246"/>
                    </a:lnTo>
                    <a:lnTo>
                      <a:pt x="18" y="252"/>
                    </a:lnTo>
                    <a:lnTo>
                      <a:pt x="6" y="252"/>
                    </a:lnTo>
                    <a:lnTo>
                      <a:pt x="0" y="258"/>
                    </a:lnTo>
                    <a:lnTo>
                      <a:pt x="0" y="270"/>
                    </a:lnTo>
                    <a:lnTo>
                      <a:pt x="42" y="270"/>
                    </a:lnTo>
                    <a:lnTo>
                      <a:pt x="24" y="288"/>
                    </a:lnTo>
                    <a:lnTo>
                      <a:pt x="30" y="282"/>
                    </a:lnTo>
                    <a:lnTo>
                      <a:pt x="48" y="282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36" y="294"/>
                    </a:lnTo>
                    <a:lnTo>
                      <a:pt x="30" y="294"/>
                    </a:lnTo>
                    <a:lnTo>
                      <a:pt x="36" y="300"/>
                    </a:lnTo>
                    <a:lnTo>
                      <a:pt x="60" y="300"/>
                    </a:lnTo>
                    <a:lnTo>
                      <a:pt x="96" y="288"/>
                    </a:lnTo>
                    <a:lnTo>
                      <a:pt x="108" y="282"/>
                    </a:lnTo>
                    <a:lnTo>
                      <a:pt x="120" y="270"/>
                    </a:lnTo>
                    <a:lnTo>
                      <a:pt x="120" y="264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50" y="264"/>
                    </a:lnTo>
                    <a:lnTo>
                      <a:pt x="162" y="252"/>
                    </a:lnTo>
                    <a:lnTo>
                      <a:pt x="180" y="246"/>
                    </a:lnTo>
                    <a:lnTo>
                      <a:pt x="204" y="246"/>
                    </a:lnTo>
                    <a:lnTo>
                      <a:pt x="210" y="240"/>
                    </a:lnTo>
                    <a:lnTo>
                      <a:pt x="252" y="240"/>
                    </a:lnTo>
                    <a:lnTo>
                      <a:pt x="246" y="222"/>
                    </a:lnTo>
                    <a:lnTo>
                      <a:pt x="264" y="222"/>
                    </a:lnTo>
                    <a:lnTo>
                      <a:pt x="264" y="198"/>
                    </a:lnTo>
                    <a:lnTo>
                      <a:pt x="270" y="192"/>
                    </a:lnTo>
                    <a:lnTo>
                      <a:pt x="270" y="180"/>
                    </a:lnTo>
                    <a:lnTo>
                      <a:pt x="276" y="168"/>
                    </a:lnTo>
                    <a:lnTo>
                      <a:pt x="276" y="15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2" name="Iraq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CBD2C6A-CFA5-6B60-5D33-99849C8EEA6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92393" y="2563041"/>
                <a:ext cx="308625" cy="296249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3" name="Hungar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4636301-B1DF-494B-3D29-397033FF2EC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93552" y="2160356"/>
                <a:ext cx="191560" cy="99341"/>
              </a:xfrm>
              <a:custGeom>
                <a:avLst/>
                <a:gdLst>
                  <a:gd name="T0" fmla="*/ 2147483647 w 426"/>
                  <a:gd name="T1" fmla="*/ 2147483647 h 222"/>
                  <a:gd name="T2" fmla="*/ 2147483647 w 426"/>
                  <a:gd name="T3" fmla="*/ 2147483647 h 222"/>
                  <a:gd name="T4" fmla="*/ 2147483647 w 426"/>
                  <a:gd name="T5" fmla="*/ 2147483647 h 222"/>
                  <a:gd name="T6" fmla="*/ 0 w 426"/>
                  <a:gd name="T7" fmla="*/ 2147483647 h 222"/>
                  <a:gd name="T8" fmla="*/ 2147483647 w 426"/>
                  <a:gd name="T9" fmla="*/ 2147483647 h 222"/>
                  <a:gd name="T10" fmla="*/ 2147483647 w 426"/>
                  <a:gd name="T11" fmla="*/ 2147483647 h 222"/>
                  <a:gd name="T12" fmla="*/ 2147483647 w 426"/>
                  <a:gd name="T13" fmla="*/ 2147483647 h 222"/>
                  <a:gd name="T14" fmla="*/ 2147483647 w 426"/>
                  <a:gd name="T15" fmla="*/ 2147483647 h 222"/>
                  <a:gd name="T16" fmla="*/ 2147483647 w 426"/>
                  <a:gd name="T17" fmla="*/ 2147483647 h 222"/>
                  <a:gd name="T18" fmla="*/ 2147483647 w 426"/>
                  <a:gd name="T19" fmla="*/ 2147483647 h 222"/>
                  <a:gd name="T20" fmla="*/ 2147483647 w 426"/>
                  <a:gd name="T21" fmla="*/ 2147483647 h 222"/>
                  <a:gd name="T22" fmla="*/ 2147483647 w 426"/>
                  <a:gd name="T23" fmla="*/ 2147483647 h 222"/>
                  <a:gd name="T24" fmla="*/ 2147483647 w 426"/>
                  <a:gd name="T25" fmla="*/ 2147483647 h 222"/>
                  <a:gd name="T26" fmla="*/ 2147483647 w 426"/>
                  <a:gd name="T27" fmla="*/ 2147483647 h 222"/>
                  <a:gd name="T28" fmla="*/ 2147483647 w 426"/>
                  <a:gd name="T29" fmla="*/ 2147483647 h 222"/>
                  <a:gd name="T30" fmla="*/ 2147483647 w 426"/>
                  <a:gd name="T31" fmla="*/ 2147483647 h 222"/>
                  <a:gd name="T32" fmla="*/ 2147483647 w 426"/>
                  <a:gd name="T33" fmla="*/ 2147483647 h 222"/>
                  <a:gd name="T34" fmla="*/ 2147483647 w 426"/>
                  <a:gd name="T35" fmla="*/ 2147483647 h 222"/>
                  <a:gd name="T36" fmla="*/ 2147483647 w 426"/>
                  <a:gd name="T37" fmla="*/ 2147483647 h 222"/>
                  <a:gd name="T38" fmla="*/ 2147483647 w 426"/>
                  <a:gd name="T39" fmla="*/ 2147483647 h 222"/>
                  <a:gd name="T40" fmla="*/ 2147483647 w 426"/>
                  <a:gd name="T41" fmla="*/ 2147483647 h 222"/>
                  <a:gd name="T42" fmla="*/ 2147483647 w 426"/>
                  <a:gd name="T43" fmla="*/ 2147483647 h 222"/>
                  <a:gd name="T44" fmla="*/ 2147483647 w 426"/>
                  <a:gd name="T45" fmla="*/ 2147483647 h 222"/>
                  <a:gd name="T46" fmla="*/ 2147483647 w 426"/>
                  <a:gd name="T47" fmla="*/ 2147483647 h 222"/>
                  <a:gd name="T48" fmla="*/ 2147483647 w 426"/>
                  <a:gd name="T49" fmla="*/ 0 h 222"/>
                  <a:gd name="T50" fmla="*/ 2147483647 w 426"/>
                  <a:gd name="T51" fmla="*/ 2147483647 h 222"/>
                  <a:gd name="T52" fmla="*/ 2147483647 w 426"/>
                  <a:gd name="T53" fmla="*/ 0 h 222"/>
                  <a:gd name="T54" fmla="*/ 2147483647 w 426"/>
                  <a:gd name="T55" fmla="*/ 2147483647 h 222"/>
                  <a:gd name="T56" fmla="*/ 2147483647 w 426"/>
                  <a:gd name="T57" fmla="*/ 2147483647 h 222"/>
                  <a:gd name="T58" fmla="*/ 2147483647 w 426"/>
                  <a:gd name="T59" fmla="*/ 2147483647 h 222"/>
                  <a:gd name="T60" fmla="*/ 2147483647 w 426"/>
                  <a:gd name="T61" fmla="*/ 2147483647 h 222"/>
                  <a:gd name="T62" fmla="*/ 2147483647 w 426"/>
                  <a:gd name="T63" fmla="*/ 2147483647 h 222"/>
                  <a:gd name="T64" fmla="*/ 2147483647 w 426"/>
                  <a:gd name="T65" fmla="*/ 2147483647 h 222"/>
                  <a:gd name="T66" fmla="*/ 2147483647 w 426"/>
                  <a:gd name="T67" fmla="*/ 2147483647 h 222"/>
                  <a:gd name="T68" fmla="*/ 2147483647 w 426"/>
                  <a:gd name="T69" fmla="*/ 2147483647 h 222"/>
                  <a:gd name="T70" fmla="*/ 2147483647 w 426"/>
                  <a:gd name="T71" fmla="*/ 2147483647 h 2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26"/>
                  <a:gd name="T109" fmla="*/ 0 h 222"/>
                  <a:gd name="T110" fmla="*/ 426 w 426"/>
                  <a:gd name="T111" fmla="*/ 222 h 2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26" h="222">
                    <a:moveTo>
                      <a:pt x="42" y="66"/>
                    </a:moveTo>
                    <a:lnTo>
                      <a:pt x="24" y="66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18" y="96"/>
                    </a:lnTo>
                    <a:lnTo>
                      <a:pt x="18" y="120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50"/>
                    </a:lnTo>
                    <a:lnTo>
                      <a:pt x="30" y="162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60" y="192"/>
                    </a:lnTo>
                    <a:lnTo>
                      <a:pt x="72" y="198"/>
                    </a:lnTo>
                    <a:lnTo>
                      <a:pt x="78" y="204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14" y="222"/>
                    </a:lnTo>
                    <a:lnTo>
                      <a:pt x="156" y="216"/>
                    </a:lnTo>
                    <a:lnTo>
                      <a:pt x="168" y="210"/>
                    </a:lnTo>
                    <a:lnTo>
                      <a:pt x="174" y="204"/>
                    </a:lnTo>
                    <a:lnTo>
                      <a:pt x="198" y="204"/>
                    </a:lnTo>
                    <a:lnTo>
                      <a:pt x="216" y="186"/>
                    </a:lnTo>
                    <a:lnTo>
                      <a:pt x="240" y="186"/>
                    </a:lnTo>
                    <a:lnTo>
                      <a:pt x="258" y="198"/>
                    </a:lnTo>
                    <a:lnTo>
                      <a:pt x="288" y="192"/>
                    </a:lnTo>
                    <a:lnTo>
                      <a:pt x="288" y="174"/>
                    </a:lnTo>
                    <a:lnTo>
                      <a:pt x="306" y="180"/>
                    </a:lnTo>
                    <a:lnTo>
                      <a:pt x="312" y="174"/>
                    </a:lnTo>
                    <a:lnTo>
                      <a:pt x="324" y="168"/>
                    </a:lnTo>
                    <a:lnTo>
                      <a:pt x="330" y="162"/>
                    </a:lnTo>
                    <a:lnTo>
                      <a:pt x="330" y="144"/>
                    </a:lnTo>
                    <a:lnTo>
                      <a:pt x="336" y="138"/>
                    </a:lnTo>
                    <a:lnTo>
                      <a:pt x="348" y="132"/>
                    </a:lnTo>
                    <a:lnTo>
                      <a:pt x="366" y="114"/>
                    </a:lnTo>
                    <a:lnTo>
                      <a:pt x="366" y="72"/>
                    </a:lnTo>
                    <a:lnTo>
                      <a:pt x="378" y="60"/>
                    </a:lnTo>
                    <a:lnTo>
                      <a:pt x="408" y="60"/>
                    </a:lnTo>
                    <a:lnTo>
                      <a:pt x="426" y="42"/>
                    </a:lnTo>
                    <a:lnTo>
                      <a:pt x="420" y="36"/>
                    </a:lnTo>
                    <a:lnTo>
                      <a:pt x="408" y="36"/>
                    </a:lnTo>
                    <a:lnTo>
                      <a:pt x="402" y="30"/>
                    </a:lnTo>
                    <a:lnTo>
                      <a:pt x="396" y="30"/>
                    </a:lnTo>
                    <a:lnTo>
                      <a:pt x="372" y="6"/>
                    </a:lnTo>
                    <a:lnTo>
                      <a:pt x="348" y="6"/>
                    </a:lnTo>
                    <a:lnTo>
                      <a:pt x="336" y="12"/>
                    </a:lnTo>
                    <a:lnTo>
                      <a:pt x="324" y="12"/>
                    </a:lnTo>
                    <a:lnTo>
                      <a:pt x="324" y="0"/>
                    </a:lnTo>
                    <a:lnTo>
                      <a:pt x="312" y="0"/>
                    </a:lnTo>
                    <a:lnTo>
                      <a:pt x="312" y="18"/>
                    </a:lnTo>
                    <a:lnTo>
                      <a:pt x="294" y="12"/>
                    </a:lnTo>
                    <a:lnTo>
                      <a:pt x="294" y="0"/>
                    </a:lnTo>
                    <a:lnTo>
                      <a:pt x="270" y="0"/>
                    </a:lnTo>
                    <a:lnTo>
                      <a:pt x="264" y="12"/>
                    </a:lnTo>
                    <a:lnTo>
                      <a:pt x="252" y="24"/>
                    </a:lnTo>
                    <a:lnTo>
                      <a:pt x="246" y="24"/>
                    </a:lnTo>
                    <a:lnTo>
                      <a:pt x="234" y="30"/>
                    </a:lnTo>
                    <a:lnTo>
                      <a:pt x="210" y="30"/>
                    </a:lnTo>
                    <a:lnTo>
                      <a:pt x="204" y="42"/>
                    </a:lnTo>
                    <a:lnTo>
                      <a:pt x="168" y="36"/>
                    </a:lnTo>
                    <a:lnTo>
                      <a:pt x="156" y="60"/>
                    </a:lnTo>
                    <a:lnTo>
                      <a:pt x="144" y="60"/>
                    </a:lnTo>
                    <a:lnTo>
                      <a:pt x="126" y="66"/>
                    </a:lnTo>
                    <a:lnTo>
                      <a:pt x="84" y="66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42"/>
                    </a:lnTo>
                    <a:lnTo>
                      <a:pt x="54" y="60"/>
                    </a:lnTo>
                    <a:lnTo>
                      <a:pt x="42" y="54"/>
                    </a:lnTo>
                    <a:lnTo>
                      <a:pt x="42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4" name="Gree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C6FA3FE-8E15-8ACE-D243-F26BA8D897E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3035" y="2401612"/>
                <a:ext cx="239450" cy="248353"/>
              </a:xfrm>
              <a:custGeom>
                <a:avLst/>
                <a:gdLst>
                  <a:gd name="T0" fmla="*/ 0 w 534"/>
                  <a:gd name="T1" fmla="*/ 2147483647 h 552"/>
                  <a:gd name="T2" fmla="*/ 2147483647 w 534"/>
                  <a:gd name="T3" fmla="*/ 2147483647 h 552"/>
                  <a:gd name="T4" fmla="*/ 2147483647 w 534"/>
                  <a:gd name="T5" fmla="*/ 2147483647 h 552"/>
                  <a:gd name="T6" fmla="*/ 2147483647 w 534"/>
                  <a:gd name="T7" fmla="*/ 2147483647 h 552"/>
                  <a:gd name="T8" fmla="*/ 2147483647 w 534"/>
                  <a:gd name="T9" fmla="*/ 2147483647 h 552"/>
                  <a:gd name="T10" fmla="*/ 2147483647 w 534"/>
                  <a:gd name="T11" fmla="*/ 2147483647 h 552"/>
                  <a:gd name="T12" fmla="*/ 2147483647 w 534"/>
                  <a:gd name="T13" fmla="*/ 2147483647 h 552"/>
                  <a:gd name="T14" fmla="*/ 2147483647 w 534"/>
                  <a:gd name="T15" fmla="*/ 2147483647 h 552"/>
                  <a:gd name="T16" fmla="*/ 2147483647 w 534"/>
                  <a:gd name="T17" fmla="*/ 2147483647 h 552"/>
                  <a:gd name="T18" fmla="*/ 2147483647 w 534"/>
                  <a:gd name="T19" fmla="*/ 2147483647 h 552"/>
                  <a:gd name="T20" fmla="*/ 2147483647 w 534"/>
                  <a:gd name="T21" fmla="*/ 2147483647 h 552"/>
                  <a:gd name="T22" fmla="*/ 2147483647 w 534"/>
                  <a:gd name="T23" fmla="*/ 2147483647 h 552"/>
                  <a:gd name="T24" fmla="*/ 2147483647 w 534"/>
                  <a:gd name="T25" fmla="*/ 2147483647 h 552"/>
                  <a:gd name="T26" fmla="*/ 2147483647 w 534"/>
                  <a:gd name="T27" fmla="*/ 2147483647 h 552"/>
                  <a:gd name="T28" fmla="*/ 2147483647 w 534"/>
                  <a:gd name="T29" fmla="*/ 2147483647 h 552"/>
                  <a:gd name="T30" fmla="*/ 2147483647 w 534"/>
                  <a:gd name="T31" fmla="*/ 2147483647 h 552"/>
                  <a:gd name="T32" fmla="*/ 2147483647 w 534"/>
                  <a:gd name="T33" fmla="*/ 2147483647 h 552"/>
                  <a:gd name="T34" fmla="*/ 2147483647 w 534"/>
                  <a:gd name="T35" fmla="*/ 2147483647 h 552"/>
                  <a:gd name="T36" fmla="*/ 2147483647 w 534"/>
                  <a:gd name="T37" fmla="*/ 2147483647 h 552"/>
                  <a:gd name="T38" fmla="*/ 2147483647 w 534"/>
                  <a:gd name="T39" fmla="*/ 2147483647 h 552"/>
                  <a:gd name="T40" fmla="*/ 2147483647 w 534"/>
                  <a:gd name="T41" fmla="*/ 2147483647 h 552"/>
                  <a:gd name="T42" fmla="*/ 2147483647 w 534"/>
                  <a:gd name="T43" fmla="*/ 2147483647 h 552"/>
                  <a:gd name="T44" fmla="*/ 2147483647 w 534"/>
                  <a:gd name="T45" fmla="*/ 2147483647 h 552"/>
                  <a:gd name="T46" fmla="*/ 2147483647 w 534"/>
                  <a:gd name="T47" fmla="*/ 2147483647 h 552"/>
                  <a:gd name="T48" fmla="*/ 2147483647 w 534"/>
                  <a:gd name="T49" fmla="*/ 2147483647 h 552"/>
                  <a:gd name="T50" fmla="*/ 2147483647 w 534"/>
                  <a:gd name="T51" fmla="*/ 2147483647 h 552"/>
                  <a:gd name="T52" fmla="*/ 2147483647 w 534"/>
                  <a:gd name="T53" fmla="*/ 2147483647 h 552"/>
                  <a:gd name="T54" fmla="*/ 2147483647 w 534"/>
                  <a:gd name="T55" fmla="*/ 2147483647 h 552"/>
                  <a:gd name="T56" fmla="*/ 2147483647 w 534"/>
                  <a:gd name="T57" fmla="*/ 2147483647 h 552"/>
                  <a:gd name="T58" fmla="*/ 2147483647 w 534"/>
                  <a:gd name="T59" fmla="*/ 2147483647 h 552"/>
                  <a:gd name="T60" fmla="*/ 2147483647 w 534"/>
                  <a:gd name="T61" fmla="*/ 2147483647 h 552"/>
                  <a:gd name="T62" fmla="*/ 2147483647 w 534"/>
                  <a:gd name="T63" fmla="*/ 2147483647 h 552"/>
                  <a:gd name="T64" fmla="*/ 2147483647 w 534"/>
                  <a:gd name="T65" fmla="*/ 2147483647 h 552"/>
                  <a:gd name="T66" fmla="*/ 2147483647 w 534"/>
                  <a:gd name="T67" fmla="*/ 2147483647 h 552"/>
                  <a:gd name="T68" fmla="*/ 2147483647 w 534"/>
                  <a:gd name="T69" fmla="*/ 2147483647 h 552"/>
                  <a:gd name="T70" fmla="*/ 2147483647 w 534"/>
                  <a:gd name="T71" fmla="*/ 2147483647 h 552"/>
                  <a:gd name="T72" fmla="*/ 2147483647 w 534"/>
                  <a:gd name="T73" fmla="*/ 2147483647 h 552"/>
                  <a:gd name="T74" fmla="*/ 2147483647 w 534"/>
                  <a:gd name="T75" fmla="*/ 2147483647 h 552"/>
                  <a:gd name="T76" fmla="*/ 2147483647 w 534"/>
                  <a:gd name="T77" fmla="*/ 2147483647 h 552"/>
                  <a:gd name="T78" fmla="*/ 2147483647 w 534"/>
                  <a:gd name="T79" fmla="*/ 2147483647 h 552"/>
                  <a:gd name="T80" fmla="*/ 2147483647 w 534"/>
                  <a:gd name="T81" fmla="*/ 2147483647 h 552"/>
                  <a:gd name="T82" fmla="*/ 2147483647 w 534"/>
                  <a:gd name="T83" fmla="*/ 2147483647 h 552"/>
                  <a:gd name="T84" fmla="*/ 2147483647 w 534"/>
                  <a:gd name="T85" fmla="*/ 2147483647 h 552"/>
                  <a:gd name="T86" fmla="*/ 2147483647 w 534"/>
                  <a:gd name="T87" fmla="*/ 2147483647 h 552"/>
                  <a:gd name="T88" fmla="*/ 2147483647 w 534"/>
                  <a:gd name="T89" fmla="*/ 2147483647 h 552"/>
                  <a:gd name="T90" fmla="*/ 2147483647 w 534"/>
                  <a:gd name="T91" fmla="*/ 2147483647 h 552"/>
                  <a:gd name="T92" fmla="*/ 2147483647 w 534"/>
                  <a:gd name="T93" fmla="*/ 2147483647 h 552"/>
                  <a:gd name="T94" fmla="*/ 2147483647 w 534"/>
                  <a:gd name="T95" fmla="*/ 2147483647 h 552"/>
                  <a:gd name="T96" fmla="*/ 2147483647 w 534"/>
                  <a:gd name="T97" fmla="*/ 2147483647 h 552"/>
                  <a:gd name="T98" fmla="*/ 2147483647 w 534"/>
                  <a:gd name="T99" fmla="*/ 2147483647 h 552"/>
                  <a:gd name="T100" fmla="*/ 2147483647 w 534"/>
                  <a:gd name="T101" fmla="*/ 2147483647 h 552"/>
                  <a:gd name="T102" fmla="*/ 2147483647 w 534"/>
                  <a:gd name="T103" fmla="*/ 2147483647 h 552"/>
                  <a:gd name="T104" fmla="*/ 2147483647 w 534"/>
                  <a:gd name="T105" fmla="*/ 2147483647 h 552"/>
                  <a:gd name="T106" fmla="*/ 2147483647 w 534"/>
                  <a:gd name="T107" fmla="*/ 2147483647 h 5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34"/>
                  <a:gd name="T163" fmla="*/ 0 h 552"/>
                  <a:gd name="T164" fmla="*/ 534 w 534"/>
                  <a:gd name="T165" fmla="*/ 552 h 5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34" h="552">
                    <a:moveTo>
                      <a:pt x="240" y="108"/>
                    </a:moveTo>
                    <a:lnTo>
                      <a:pt x="270" y="126"/>
                    </a:lnTo>
                    <a:lnTo>
                      <a:pt x="282" y="120"/>
                    </a:lnTo>
                    <a:lnTo>
                      <a:pt x="240" y="108"/>
                    </a:lnTo>
                    <a:close/>
                    <a:moveTo>
                      <a:pt x="24" y="258"/>
                    </a:moveTo>
                    <a:lnTo>
                      <a:pt x="0" y="282"/>
                    </a:lnTo>
                    <a:lnTo>
                      <a:pt x="42" y="294"/>
                    </a:lnTo>
                    <a:lnTo>
                      <a:pt x="24" y="258"/>
                    </a:lnTo>
                    <a:close/>
                    <a:moveTo>
                      <a:pt x="312" y="414"/>
                    </a:moveTo>
                    <a:lnTo>
                      <a:pt x="312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18" y="408"/>
                    </a:lnTo>
                    <a:lnTo>
                      <a:pt x="312" y="408"/>
                    </a:lnTo>
                    <a:lnTo>
                      <a:pt x="312" y="414"/>
                    </a:lnTo>
                    <a:close/>
                    <a:moveTo>
                      <a:pt x="306" y="390"/>
                    </a:moveTo>
                    <a:lnTo>
                      <a:pt x="300" y="378"/>
                    </a:lnTo>
                    <a:lnTo>
                      <a:pt x="294" y="390"/>
                    </a:lnTo>
                    <a:lnTo>
                      <a:pt x="306" y="390"/>
                    </a:lnTo>
                    <a:close/>
                    <a:moveTo>
                      <a:pt x="294" y="294"/>
                    </a:moveTo>
                    <a:lnTo>
                      <a:pt x="318" y="336"/>
                    </a:lnTo>
                    <a:lnTo>
                      <a:pt x="330" y="318"/>
                    </a:lnTo>
                    <a:lnTo>
                      <a:pt x="294" y="294"/>
                    </a:lnTo>
                    <a:close/>
                    <a:moveTo>
                      <a:pt x="108" y="264"/>
                    </a:moveTo>
                    <a:lnTo>
                      <a:pt x="138" y="264"/>
                    </a:lnTo>
                    <a:lnTo>
                      <a:pt x="144" y="270"/>
                    </a:lnTo>
                    <a:lnTo>
                      <a:pt x="156" y="270"/>
                    </a:lnTo>
                    <a:lnTo>
                      <a:pt x="180" y="282"/>
                    </a:lnTo>
                    <a:lnTo>
                      <a:pt x="192" y="282"/>
                    </a:lnTo>
                    <a:lnTo>
                      <a:pt x="198" y="288"/>
                    </a:lnTo>
                    <a:lnTo>
                      <a:pt x="204" y="288"/>
                    </a:lnTo>
                    <a:lnTo>
                      <a:pt x="216" y="300"/>
                    </a:lnTo>
                    <a:lnTo>
                      <a:pt x="228" y="306"/>
                    </a:lnTo>
                    <a:lnTo>
                      <a:pt x="234" y="312"/>
                    </a:lnTo>
                    <a:lnTo>
                      <a:pt x="246" y="312"/>
                    </a:lnTo>
                    <a:lnTo>
                      <a:pt x="252" y="306"/>
                    </a:lnTo>
                    <a:lnTo>
                      <a:pt x="252" y="288"/>
                    </a:lnTo>
                    <a:lnTo>
                      <a:pt x="228" y="264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46"/>
                    </a:lnTo>
                    <a:lnTo>
                      <a:pt x="186" y="246"/>
                    </a:lnTo>
                    <a:lnTo>
                      <a:pt x="174" y="234"/>
                    </a:lnTo>
                    <a:lnTo>
                      <a:pt x="168" y="234"/>
                    </a:lnTo>
                    <a:lnTo>
                      <a:pt x="174" y="228"/>
                    </a:lnTo>
                    <a:lnTo>
                      <a:pt x="192" y="228"/>
                    </a:lnTo>
                    <a:lnTo>
                      <a:pt x="198" y="240"/>
                    </a:lnTo>
                    <a:lnTo>
                      <a:pt x="222" y="252"/>
                    </a:lnTo>
                    <a:lnTo>
                      <a:pt x="234" y="264"/>
                    </a:lnTo>
                    <a:lnTo>
                      <a:pt x="258" y="264"/>
                    </a:lnTo>
                    <a:lnTo>
                      <a:pt x="270" y="252"/>
                    </a:lnTo>
                    <a:lnTo>
                      <a:pt x="258" y="240"/>
                    </a:lnTo>
                    <a:lnTo>
                      <a:pt x="246" y="240"/>
                    </a:lnTo>
                    <a:lnTo>
                      <a:pt x="234" y="234"/>
                    </a:lnTo>
                    <a:lnTo>
                      <a:pt x="222" y="234"/>
                    </a:lnTo>
                    <a:lnTo>
                      <a:pt x="210" y="228"/>
                    </a:lnTo>
                    <a:lnTo>
                      <a:pt x="204" y="216"/>
                    </a:lnTo>
                    <a:lnTo>
                      <a:pt x="198" y="210"/>
                    </a:lnTo>
                    <a:lnTo>
                      <a:pt x="198" y="204"/>
                    </a:lnTo>
                    <a:lnTo>
                      <a:pt x="192" y="192"/>
                    </a:lnTo>
                    <a:lnTo>
                      <a:pt x="186" y="186"/>
                    </a:lnTo>
                    <a:lnTo>
                      <a:pt x="174" y="162"/>
                    </a:lnTo>
                    <a:lnTo>
                      <a:pt x="168" y="156"/>
                    </a:lnTo>
                    <a:lnTo>
                      <a:pt x="162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44" y="114"/>
                    </a:lnTo>
                    <a:lnTo>
                      <a:pt x="144" y="102"/>
                    </a:lnTo>
                    <a:lnTo>
                      <a:pt x="150" y="96"/>
                    </a:lnTo>
                    <a:lnTo>
                      <a:pt x="156" y="96"/>
                    </a:lnTo>
                    <a:lnTo>
                      <a:pt x="162" y="102"/>
                    </a:lnTo>
                    <a:lnTo>
                      <a:pt x="162" y="108"/>
                    </a:lnTo>
                    <a:lnTo>
                      <a:pt x="168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6" y="120"/>
                    </a:lnTo>
                    <a:lnTo>
                      <a:pt x="198" y="132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16" y="138"/>
                    </a:lnTo>
                    <a:lnTo>
                      <a:pt x="204" y="120"/>
                    </a:lnTo>
                    <a:lnTo>
                      <a:pt x="210" y="120"/>
                    </a:lnTo>
                    <a:lnTo>
                      <a:pt x="234" y="132"/>
                    </a:lnTo>
                    <a:lnTo>
                      <a:pt x="222" y="114"/>
                    </a:lnTo>
                    <a:lnTo>
                      <a:pt x="228" y="108"/>
                    </a:lnTo>
                    <a:lnTo>
                      <a:pt x="228" y="84"/>
                    </a:lnTo>
                    <a:lnTo>
                      <a:pt x="240" y="72"/>
                    </a:lnTo>
                    <a:lnTo>
                      <a:pt x="270" y="72"/>
                    </a:lnTo>
                    <a:lnTo>
                      <a:pt x="276" y="78"/>
                    </a:lnTo>
                    <a:lnTo>
                      <a:pt x="276" y="90"/>
                    </a:lnTo>
                    <a:lnTo>
                      <a:pt x="288" y="90"/>
                    </a:lnTo>
                    <a:lnTo>
                      <a:pt x="294" y="84"/>
                    </a:lnTo>
                    <a:lnTo>
                      <a:pt x="300" y="72"/>
                    </a:lnTo>
                    <a:lnTo>
                      <a:pt x="306" y="66"/>
                    </a:lnTo>
                    <a:lnTo>
                      <a:pt x="342" y="66"/>
                    </a:lnTo>
                    <a:lnTo>
                      <a:pt x="360" y="72"/>
                    </a:lnTo>
                    <a:lnTo>
                      <a:pt x="372" y="72"/>
                    </a:lnTo>
                    <a:lnTo>
                      <a:pt x="378" y="78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90" y="60"/>
                    </a:lnTo>
                    <a:lnTo>
                      <a:pt x="390" y="48"/>
                    </a:lnTo>
                    <a:lnTo>
                      <a:pt x="384" y="42"/>
                    </a:lnTo>
                    <a:lnTo>
                      <a:pt x="384" y="36"/>
                    </a:lnTo>
                    <a:lnTo>
                      <a:pt x="390" y="30"/>
                    </a:lnTo>
                    <a:lnTo>
                      <a:pt x="408" y="30"/>
                    </a:lnTo>
                    <a:lnTo>
                      <a:pt x="408" y="18"/>
                    </a:lnTo>
                    <a:lnTo>
                      <a:pt x="402" y="12"/>
                    </a:lnTo>
                    <a:lnTo>
                      <a:pt x="402" y="6"/>
                    </a:lnTo>
                    <a:lnTo>
                      <a:pt x="390" y="6"/>
                    </a:lnTo>
                    <a:lnTo>
                      <a:pt x="384" y="0"/>
                    </a:lnTo>
                    <a:lnTo>
                      <a:pt x="366" y="6"/>
                    </a:lnTo>
                    <a:lnTo>
                      <a:pt x="372" y="12"/>
                    </a:lnTo>
                    <a:lnTo>
                      <a:pt x="372" y="30"/>
                    </a:lnTo>
                    <a:lnTo>
                      <a:pt x="366" y="36"/>
                    </a:lnTo>
                    <a:lnTo>
                      <a:pt x="348" y="36"/>
                    </a:lnTo>
                    <a:lnTo>
                      <a:pt x="336" y="24"/>
                    </a:lnTo>
                    <a:lnTo>
                      <a:pt x="324" y="36"/>
                    </a:lnTo>
                    <a:lnTo>
                      <a:pt x="312" y="36"/>
                    </a:lnTo>
                    <a:lnTo>
                      <a:pt x="300" y="24"/>
                    </a:lnTo>
                    <a:lnTo>
                      <a:pt x="294" y="30"/>
                    </a:lnTo>
                    <a:lnTo>
                      <a:pt x="282" y="30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34" y="12"/>
                    </a:lnTo>
                    <a:lnTo>
                      <a:pt x="228" y="30"/>
                    </a:lnTo>
                    <a:lnTo>
                      <a:pt x="204" y="24"/>
                    </a:lnTo>
                    <a:lnTo>
                      <a:pt x="198" y="30"/>
                    </a:lnTo>
                    <a:lnTo>
                      <a:pt x="186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62" y="30"/>
                    </a:lnTo>
                    <a:lnTo>
                      <a:pt x="150" y="36"/>
                    </a:lnTo>
                    <a:lnTo>
                      <a:pt x="138" y="48"/>
                    </a:lnTo>
                    <a:lnTo>
                      <a:pt x="126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72"/>
                    </a:lnTo>
                    <a:lnTo>
                      <a:pt x="72" y="72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48" y="72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42" y="102"/>
                    </a:lnTo>
                    <a:lnTo>
                      <a:pt x="24" y="102"/>
                    </a:lnTo>
                    <a:lnTo>
                      <a:pt x="24" y="126"/>
                    </a:lnTo>
                    <a:lnTo>
                      <a:pt x="12" y="132"/>
                    </a:lnTo>
                    <a:lnTo>
                      <a:pt x="0" y="132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30" y="228"/>
                    </a:lnTo>
                    <a:lnTo>
                      <a:pt x="36" y="234"/>
                    </a:lnTo>
                    <a:lnTo>
                      <a:pt x="42" y="246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84" y="270"/>
                    </a:lnTo>
                    <a:lnTo>
                      <a:pt x="96" y="264"/>
                    </a:lnTo>
                    <a:lnTo>
                      <a:pt x="108" y="264"/>
                    </a:lnTo>
                    <a:close/>
                    <a:moveTo>
                      <a:pt x="396" y="252"/>
                    </a:moveTo>
                    <a:lnTo>
                      <a:pt x="372" y="252"/>
                    </a:lnTo>
                    <a:lnTo>
                      <a:pt x="372" y="270"/>
                    </a:lnTo>
                    <a:lnTo>
                      <a:pt x="384" y="294"/>
                    </a:lnTo>
                    <a:lnTo>
                      <a:pt x="396" y="252"/>
                    </a:lnTo>
                    <a:close/>
                    <a:moveTo>
                      <a:pt x="24" y="312"/>
                    </a:moveTo>
                    <a:lnTo>
                      <a:pt x="18" y="318"/>
                    </a:lnTo>
                    <a:lnTo>
                      <a:pt x="24" y="324"/>
                    </a:lnTo>
                    <a:lnTo>
                      <a:pt x="30" y="324"/>
                    </a:lnTo>
                    <a:lnTo>
                      <a:pt x="36" y="330"/>
                    </a:lnTo>
                    <a:lnTo>
                      <a:pt x="42" y="324"/>
                    </a:lnTo>
                    <a:lnTo>
                      <a:pt x="42" y="318"/>
                    </a:lnTo>
                    <a:lnTo>
                      <a:pt x="30" y="306"/>
                    </a:lnTo>
                    <a:lnTo>
                      <a:pt x="24" y="312"/>
                    </a:lnTo>
                    <a:close/>
                    <a:moveTo>
                      <a:pt x="378" y="390"/>
                    </a:moveTo>
                    <a:lnTo>
                      <a:pt x="378" y="408"/>
                    </a:lnTo>
                    <a:lnTo>
                      <a:pt x="390" y="390"/>
                    </a:lnTo>
                    <a:lnTo>
                      <a:pt x="378" y="390"/>
                    </a:lnTo>
                    <a:close/>
                    <a:moveTo>
                      <a:pt x="408" y="330"/>
                    </a:moveTo>
                    <a:lnTo>
                      <a:pt x="396" y="330"/>
                    </a:lnTo>
                    <a:lnTo>
                      <a:pt x="384" y="336"/>
                    </a:lnTo>
                    <a:lnTo>
                      <a:pt x="384" y="342"/>
                    </a:lnTo>
                    <a:lnTo>
                      <a:pt x="396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30"/>
                    </a:lnTo>
                    <a:close/>
                    <a:moveTo>
                      <a:pt x="396" y="192"/>
                    </a:moveTo>
                    <a:lnTo>
                      <a:pt x="372" y="198"/>
                    </a:lnTo>
                    <a:lnTo>
                      <a:pt x="372" y="210"/>
                    </a:lnTo>
                    <a:lnTo>
                      <a:pt x="390" y="210"/>
                    </a:lnTo>
                    <a:lnTo>
                      <a:pt x="396" y="216"/>
                    </a:lnTo>
                    <a:lnTo>
                      <a:pt x="396" y="222"/>
                    </a:lnTo>
                    <a:lnTo>
                      <a:pt x="414" y="222"/>
                    </a:lnTo>
                    <a:lnTo>
                      <a:pt x="414" y="210"/>
                    </a:lnTo>
                    <a:lnTo>
                      <a:pt x="396" y="192"/>
                    </a:lnTo>
                    <a:close/>
                    <a:moveTo>
                      <a:pt x="342" y="372"/>
                    </a:moveTo>
                    <a:lnTo>
                      <a:pt x="342" y="378"/>
                    </a:lnTo>
                    <a:lnTo>
                      <a:pt x="348" y="384"/>
                    </a:lnTo>
                    <a:lnTo>
                      <a:pt x="360" y="384"/>
                    </a:lnTo>
                    <a:lnTo>
                      <a:pt x="366" y="378"/>
                    </a:lnTo>
                    <a:lnTo>
                      <a:pt x="366" y="372"/>
                    </a:lnTo>
                    <a:lnTo>
                      <a:pt x="360" y="366"/>
                    </a:lnTo>
                    <a:lnTo>
                      <a:pt x="342" y="366"/>
                    </a:lnTo>
                    <a:lnTo>
                      <a:pt x="342" y="372"/>
                    </a:lnTo>
                    <a:close/>
                    <a:moveTo>
                      <a:pt x="444" y="312"/>
                    </a:moveTo>
                    <a:lnTo>
                      <a:pt x="432" y="312"/>
                    </a:lnTo>
                    <a:lnTo>
                      <a:pt x="432" y="330"/>
                    </a:lnTo>
                    <a:lnTo>
                      <a:pt x="444" y="336"/>
                    </a:lnTo>
                    <a:lnTo>
                      <a:pt x="450" y="330"/>
                    </a:lnTo>
                    <a:lnTo>
                      <a:pt x="450" y="318"/>
                    </a:lnTo>
                    <a:lnTo>
                      <a:pt x="444" y="312"/>
                    </a:lnTo>
                    <a:close/>
                    <a:moveTo>
                      <a:pt x="444" y="372"/>
                    </a:moveTo>
                    <a:lnTo>
                      <a:pt x="456" y="354"/>
                    </a:lnTo>
                    <a:lnTo>
                      <a:pt x="438" y="354"/>
                    </a:lnTo>
                    <a:lnTo>
                      <a:pt x="444" y="372"/>
                    </a:lnTo>
                    <a:close/>
                    <a:moveTo>
                      <a:pt x="276" y="222"/>
                    </a:moveTo>
                    <a:lnTo>
                      <a:pt x="276" y="240"/>
                    </a:lnTo>
                    <a:lnTo>
                      <a:pt x="288" y="240"/>
                    </a:lnTo>
                    <a:lnTo>
                      <a:pt x="276" y="222"/>
                    </a:lnTo>
                    <a:close/>
                    <a:moveTo>
                      <a:pt x="534" y="420"/>
                    </a:moveTo>
                    <a:lnTo>
                      <a:pt x="522" y="420"/>
                    </a:lnTo>
                    <a:lnTo>
                      <a:pt x="516" y="426"/>
                    </a:lnTo>
                    <a:lnTo>
                      <a:pt x="510" y="438"/>
                    </a:lnTo>
                    <a:lnTo>
                      <a:pt x="510" y="468"/>
                    </a:lnTo>
                    <a:lnTo>
                      <a:pt x="516" y="468"/>
                    </a:lnTo>
                    <a:lnTo>
                      <a:pt x="522" y="456"/>
                    </a:lnTo>
                    <a:lnTo>
                      <a:pt x="528" y="450"/>
                    </a:lnTo>
                    <a:lnTo>
                      <a:pt x="534" y="438"/>
                    </a:lnTo>
                    <a:lnTo>
                      <a:pt x="534" y="420"/>
                    </a:lnTo>
                    <a:close/>
                    <a:moveTo>
                      <a:pt x="462" y="384"/>
                    </a:moveTo>
                    <a:lnTo>
                      <a:pt x="456" y="408"/>
                    </a:lnTo>
                    <a:lnTo>
                      <a:pt x="498" y="378"/>
                    </a:lnTo>
                    <a:lnTo>
                      <a:pt x="486" y="372"/>
                    </a:lnTo>
                    <a:lnTo>
                      <a:pt x="462" y="384"/>
                    </a:lnTo>
                    <a:close/>
                    <a:moveTo>
                      <a:pt x="462" y="510"/>
                    </a:moveTo>
                    <a:lnTo>
                      <a:pt x="480" y="510"/>
                    </a:lnTo>
                    <a:lnTo>
                      <a:pt x="468" y="468"/>
                    </a:lnTo>
                    <a:lnTo>
                      <a:pt x="462" y="510"/>
                    </a:lnTo>
                    <a:close/>
                    <a:moveTo>
                      <a:pt x="276" y="330"/>
                    </a:moveTo>
                    <a:lnTo>
                      <a:pt x="270" y="336"/>
                    </a:lnTo>
                    <a:lnTo>
                      <a:pt x="270" y="348"/>
                    </a:lnTo>
                    <a:lnTo>
                      <a:pt x="276" y="348"/>
                    </a:lnTo>
                    <a:lnTo>
                      <a:pt x="288" y="336"/>
                    </a:lnTo>
                    <a:lnTo>
                      <a:pt x="282" y="330"/>
                    </a:lnTo>
                    <a:lnTo>
                      <a:pt x="276" y="330"/>
                    </a:lnTo>
                    <a:close/>
                    <a:moveTo>
                      <a:pt x="186" y="432"/>
                    </a:move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198" y="444"/>
                    </a:lnTo>
                    <a:lnTo>
                      <a:pt x="198" y="438"/>
                    </a:lnTo>
                    <a:lnTo>
                      <a:pt x="192" y="432"/>
                    </a:lnTo>
                    <a:lnTo>
                      <a:pt x="186" y="432"/>
                    </a:lnTo>
                    <a:close/>
                    <a:moveTo>
                      <a:pt x="384" y="528"/>
                    </a:moveTo>
                    <a:lnTo>
                      <a:pt x="378" y="528"/>
                    </a:lnTo>
                    <a:lnTo>
                      <a:pt x="378" y="516"/>
                    </a:lnTo>
                    <a:lnTo>
                      <a:pt x="372" y="510"/>
                    </a:lnTo>
                    <a:lnTo>
                      <a:pt x="342" y="510"/>
                    </a:lnTo>
                    <a:lnTo>
                      <a:pt x="306" y="504"/>
                    </a:lnTo>
                    <a:lnTo>
                      <a:pt x="276" y="504"/>
                    </a:lnTo>
                    <a:lnTo>
                      <a:pt x="246" y="486"/>
                    </a:lnTo>
                    <a:lnTo>
                      <a:pt x="228" y="504"/>
                    </a:lnTo>
                    <a:lnTo>
                      <a:pt x="234" y="510"/>
                    </a:lnTo>
                    <a:lnTo>
                      <a:pt x="246" y="516"/>
                    </a:lnTo>
                    <a:lnTo>
                      <a:pt x="252" y="522"/>
                    </a:lnTo>
                    <a:lnTo>
                      <a:pt x="258" y="516"/>
                    </a:lnTo>
                    <a:lnTo>
                      <a:pt x="264" y="528"/>
                    </a:lnTo>
                    <a:lnTo>
                      <a:pt x="300" y="528"/>
                    </a:lnTo>
                    <a:lnTo>
                      <a:pt x="312" y="552"/>
                    </a:lnTo>
                    <a:lnTo>
                      <a:pt x="354" y="546"/>
                    </a:lnTo>
                    <a:lnTo>
                      <a:pt x="354" y="540"/>
                    </a:lnTo>
                    <a:lnTo>
                      <a:pt x="402" y="540"/>
                    </a:lnTo>
                    <a:lnTo>
                      <a:pt x="414" y="528"/>
                    </a:lnTo>
                    <a:lnTo>
                      <a:pt x="414" y="522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84" y="528"/>
                    </a:lnTo>
                    <a:close/>
                    <a:moveTo>
                      <a:pt x="420" y="408"/>
                    </a:moveTo>
                    <a:lnTo>
                      <a:pt x="408" y="408"/>
                    </a:lnTo>
                    <a:lnTo>
                      <a:pt x="408" y="420"/>
                    </a:lnTo>
                    <a:lnTo>
                      <a:pt x="420" y="420"/>
                    </a:lnTo>
                    <a:lnTo>
                      <a:pt x="426" y="414"/>
                    </a:lnTo>
                    <a:lnTo>
                      <a:pt x="420" y="408"/>
                    </a:lnTo>
                    <a:close/>
                    <a:moveTo>
                      <a:pt x="114" y="276"/>
                    </a:moveTo>
                    <a:lnTo>
                      <a:pt x="90" y="288"/>
                    </a:lnTo>
                    <a:lnTo>
                      <a:pt x="84" y="288"/>
                    </a:lnTo>
                    <a:lnTo>
                      <a:pt x="66" y="312"/>
                    </a:lnTo>
                    <a:lnTo>
                      <a:pt x="96" y="336"/>
                    </a:lnTo>
                    <a:lnTo>
                      <a:pt x="96" y="348"/>
                    </a:lnTo>
                    <a:lnTo>
                      <a:pt x="90" y="366"/>
                    </a:lnTo>
                    <a:lnTo>
                      <a:pt x="90" y="384"/>
                    </a:lnTo>
                    <a:lnTo>
                      <a:pt x="96" y="390"/>
                    </a:lnTo>
                    <a:lnTo>
                      <a:pt x="108" y="396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26" y="378"/>
                    </a:lnTo>
                    <a:lnTo>
                      <a:pt x="132" y="378"/>
                    </a:lnTo>
                    <a:lnTo>
                      <a:pt x="156" y="420"/>
                    </a:lnTo>
                    <a:lnTo>
                      <a:pt x="162" y="390"/>
                    </a:lnTo>
                    <a:lnTo>
                      <a:pt x="180" y="414"/>
                    </a:lnTo>
                    <a:lnTo>
                      <a:pt x="204" y="420"/>
                    </a:lnTo>
                    <a:lnTo>
                      <a:pt x="186" y="402"/>
                    </a:lnTo>
                    <a:lnTo>
                      <a:pt x="192" y="396"/>
                    </a:lnTo>
                    <a:lnTo>
                      <a:pt x="192" y="372"/>
                    </a:lnTo>
                    <a:lnTo>
                      <a:pt x="186" y="366"/>
                    </a:lnTo>
                    <a:lnTo>
                      <a:pt x="180" y="354"/>
                    </a:lnTo>
                    <a:lnTo>
                      <a:pt x="174" y="348"/>
                    </a:lnTo>
                    <a:lnTo>
                      <a:pt x="168" y="336"/>
                    </a:lnTo>
                    <a:lnTo>
                      <a:pt x="168" y="330"/>
                    </a:lnTo>
                    <a:lnTo>
                      <a:pt x="186" y="330"/>
                    </a:lnTo>
                    <a:lnTo>
                      <a:pt x="198" y="336"/>
                    </a:lnTo>
                    <a:lnTo>
                      <a:pt x="210" y="348"/>
                    </a:lnTo>
                    <a:lnTo>
                      <a:pt x="222" y="342"/>
                    </a:lnTo>
                    <a:lnTo>
                      <a:pt x="210" y="336"/>
                    </a:lnTo>
                    <a:lnTo>
                      <a:pt x="204" y="324"/>
                    </a:lnTo>
                    <a:lnTo>
                      <a:pt x="192" y="318"/>
                    </a:lnTo>
                    <a:lnTo>
                      <a:pt x="186" y="312"/>
                    </a:lnTo>
                    <a:lnTo>
                      <a:pt x="174" y="306"/>
                    </a:lnTo>
                    <a:lnTo>
                      <a:pt x="156" y="294"/>
                    </a:lnTo>
                    <a:lnTo>
                      <a:pt x="138" y="288"/>
                    </a:lnTo>
                    <a:lnTo>
                      <a:pt x="126" y="282"/>
                    </a:lnTo>
                    <a:lnTo>
                      <a:pt x="120" y="276"/>
                    </a:lnTo>
                    <a:lnTo>
                      <a:pt x="114" y="27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5" name="Georg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3CABC4B-47D0-12A3-A755-93E1EE081ACE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887072" y="2335976"/>
                <a:ext cx="207523" cy="94019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6" name="Fran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C5B7968-723B-70FE-7A3D-54D0A1CE897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595815" y="2066337"/>
                <a:ext cx="409726" cy="353014"/>
              </a:xfrm>
              <a:custGeom>
                <a:avLst/>
                <a:gdLst>
                  <a:gd name="T0" fmla="*/ 2147483647 w 230"/>
                  <a:gd name="T1" fmla="*/ 2147483647 h 198"/>
                  <a:gd name="T2" fmla="*/ 2147483647 w 230"/>
                  <a:gd name="T3" fmla="*/ 2147483647 h 198"/>
                  <a:gd name="T4" fmla="*/ 2147483647 w 230"/>
                  <a:gd name="T5" fmla="*/ 2147483647 h 198"/>
                  <a:gd name="T6" fmla="*/ 2147483647 w 230"/>
                  <a:gd name="T7" fmla="*/ 2147483647 h 198"/>
                  <a:gd name="T8" fmla="*/ 2147483647 w 230"/>
                  <a:gd name="T9" fmla="*/ 2147483647 h 198"/>
                  <a:gd name="T10" fmla="*/ 2147483647 w 230"/>
                  <a:gd name="T11" fmla="*/ 2147483647 h 198"/>
                  <a:gd name="T12" fmla="*/ 2147483647 w 230"/>
                  <a:gd name="T13" fmla="*/ 2147483647 h 198"/>
                  <a:gd name="T14" fmla="*/ 2147483647 w 230"/>
                  <a:gd name="T15" fmla="*/ 2147483647 h 198"/>
                  <a:gd name="T16" fmla="*/ 2147483647 w 230"/>
                  <a:gd name="T17" fmla="*/ 2147483647 h 198"/>
                  <a:gd name="T18" fmla="*/ 2147483647 w 230"/>
                  <a:gd name="T19" fmla="*/ 2147483647 h 198"/>
                  <a:gd name="T20" fmla="*/ 2147483647 w 230"/>
                  <a:gd name="T21" fmla="*/ 2147483647 h 198"/>
                  <a:gd name="T22" fmla="*/ 2147483647 w 230"/>
                  <a:gd name="T23" fmla="*/ 2147483647 h 198"/>
                  <a:gd name="T24" fmla="*/ 2147483647 w 230"/>
                  <a:gd name="T25" fmla="*/ 2147483647 h 198"/>
                  <a:gd name="T26" fmla="*/ 2147483647 w 230"/>
                  <a:gd name="T27" fmla="*/ 2147483647 h 198"/>
                  <a:gd name="T28" fmla="*/ 2147483647 w 230"/>
                  <a:gd name="T29" fmla="*/ 2147483647 h 198"/>
                  <a:gd name="T30" fmla="*/ 2147483647 w 230"/>
                  <a:gd name="T31" fmla="*/ 2147483647 h 198"/>
                  <a:gd name="T32" fmla="*/ 2147483647 w 230"/>
                  <a:gd name="T33" fmla="*/ 2147483647 h 198"/>
                  <a:gd name="T34" fmla="*/ 2147483647 w 230"/>
                  <a:gd name="T35" fmla="*/ 2147483647 h 198"/>
                  <a:gd name="T36" fmla="*/ 2147483647 w 230"/>
                  <a:gd name="T37" fmla="*/ 2147483647 h 198"/>
                  <a:gd name="T38" fmla="*/ 2147483647 w 230"/>
                  <a:gd name="T39" fmla="*/ 2147483647 h 198"/>
                  <a:gd name="T40" fmla="*/ 2147483647 w 230"/>
                  <a:gd name="T41" fmla="*/ 2147483647 h 198"/>
                  <a:gd name="T42" fmla="*/ 2147483647 w 230"/>
                  <a:gd name="T43" fmla="*/ 2147483647 h 198"/>
                  <a:gd name="T44" fmla="*/ 2147483647 w 230"/>
                  <a:gd name="T45" fmla="*/ 2147483647 h 198"/>
                  <a:gd name="T46" fmla="*/ 2147483647 w 230"/>
                  <a:gd name="T47" fmla="*/ 2147483647 h 198"/>
                  <a:gd name="T48" fmla="*/ 2147483647 w 230"/>
                  <a:gd name="T49" fmla="*/ 2147483647 h 198"/>
                  <a:gd name="T50" fmla="*/ 2147483647 w 230"/>
                  <a:gd name="T51" fmla="*/ 2147483647 h 198"/>
                  <a:gd name="T52" fmla="*/ 2147483647 w 230"/>
                  <a:gd name="T53" fmla="*/ 2147483647 h 198"/>
                  <a:gd name="T54" fmla="*/ 2147483647 w 230"/>
                  <a:gd name="T55" fmla="*/ 2147483647 h 198"/>
                  <a:gd name="T56" fmla="*/ 2147483647 w 230"/>
                  <a:gd name="T57" fmla="*/ 2147483647 h 198"/>
                  <a:gd name="T58" fmla="*/ 2147483647 w 230"/>
                  <a:gd name="T59" fmla="*/ 2147483647 h 198"/>
                  <a:gd name="T60" fmla="*/ 2147483647 w 230"/>
                  <a:gd name="T61" fmla="*/ 2147483647 h 198"/>
                  <a:gd name="T62" fmla="*/ 2147483647 w 230"/>
                  <a:gd name="T63" fmla="*/ 2147483647 h 198"/>
                  <a:gd name="T64" fmla="*/ 2147483647 w 230"/>
                  <a:gd name="T65" fmla="*/ 2147483647 h 198"/>
                  <a:gd name="T66" fmla="*/ 2147483647 w 230"/>
                  <a:gd name="T67" fmla="*/ 2147483647 h 198"/>
                  <a:gd name="T68" fmla="*/ 2147483647 w 230"/>
                  <a:gd name="T69" fmla="*/ 2147483647 h 198"/>
                  <a:gd name="T70" fmla="*/ 2147483647 w 230"/>
                  <a:gd name="T71" fmla="*/ 2147483647 h 198"/>
                  <a:gd name="T72" fmla="*/ 2147483647 w 230"/>
                  <a:gd name="T73" fmla="*/ 2147483647 h 198"/>
                  <a:gd name="T74" fmla="*/ 2147483647 w 230"/>
                  <a:gd name="T75" fmla="*/ 2147483647 h 198"/>
                  <a:gd name="T76" fmla="*/ 2147483647 w 230"/>
                  <a:gd name="T77" fmla="*/ 2147483647 h 198"/>
                  <a:gd name="T78" fmla="*/ 2147483647 w 230"/>
                  <a:gd name="T79" fmla="*/ 2147483647 h 198"/>
                  <a:gd name="T80" fmla="*/ 2147483647 w 230"/>
                  <a:gd name="T81" fmla="*/ 2147483647 h 198"/>
                  <a:gd name="T82" fmla="*/ 2147483647 w 230"/>
                  <a:gd name="T83" fmla="*/ 2147483647 h 198"/>
                  <a:gd name="T84" fmla="*/ 2147483647 w 230"/>
                  <a:gd name="T85" fmla="*/ 2147483647 h 198"/>
                  <a:gd name="T86" fmla="*/ 2147483647 w 230"/>
                  <a:gd name="T87" fmla="*/ 2147483647 h 198"/>
                  <a:gd name="T88" fmla="*/ 2147483647 w 230"/>
                  <a:gd name="T89" fmla="*/ 2147483647 h 198"/>
                  <a:gd name="T90" fmla="*/ 2147483647 w 230"/>
                  <a:gd name="T91" fmla="*/ 2147483647 h 198"/>
                  <a:gd name="T92" fmla="*/ 2147483647 w 230"/>
                  <a:gd name="T93" fmla="*/ 2147483647 h 198"/>
                  <a:gd name="T94" fmla="*/ 2147483647 w 230"/>
                  <a:gd name="T95" fmla="*/ 2147483647 h 198"/>
                  <a:gd name="T96" fmla="*/ 2147483647 w 230"/>
                  <a:gd name="T97" fmla="*/ 2147483647 h 198"/>
                  <a:gd name="T98" fmla="*/ 2147483647 w 230"/>
                  <a:gd name="T99" fmla="*/ 2147483647 h 198"/>
                  <a:gd name="T100" fmla="*/ 2147483647 w 230"/>
                  <a:gd name="T101" fmla="*/ 2147483647 h 198"/>
                  <a:gd name="T102" fmla="*/ 2147483647 w 230"/>
                  <a:gd name="T103" fmla="*/ 2147483647 h 198"/>
                  <a:gd name="T104" fmla="*/ 2147483647 w 230"/>
                  <a:gd name="T105" fmla="*/ 2147483647 h 198"/>
                  <a:gd name="T106" fmla="*/ 2147483647 w 230"/>
                  <a:gd name="T107" fmla="*/ 2147483647 h 198"/>
                  <a:gd name="T108" fmla="*/ 2147483647 w 230"/>
                  <a:gd name="T109" fmla="*/ 2147483647 h 198"/>
                  <a:gd name="T110" fmla="*/ 2147483647 w 230"/>
                  <a:gd name="T111" fmla="*/ 2147483647 h 198"/>
                  <a:gd name="T112" fmla="*/ 2147483647 w 230"/>
                  <a:gd name="T113" fmla="*/ 2147483647 h 198"/>
                  <a:gd name="T114" fmla="*/ 2147483647 w 230"/>
                  <a:gd name="T115" fmla="*/ 2147483647 h 198"/>
                  <a:gd name="T116" fmla="*/ 2147483647 w 230"/>
                  <a:gd name="T117" fmla="*/ 2147483647 h 198"/>
                  <a:gd name="T118" fmla="*/ 2147483647 w 230"/>
                  <a:gd name="T119" fmla="*/ 2147483647 h 198"/>
                  <a:gd name="T120" fmla="*/ 2147483647 w 230"/>
                  <a:gd name="T121" fmla="*/ 2147483647 h 1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0"/>
                  <a:gd name="T184" fmla="*/ 0 h 198"/>
                  <a:gd name="T185" fmla="*/ 230 w 230"/>
                  <a:gd name="T186" fmla="*/ 198 h 1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0" h="198">
                    <a:moveTo>
                      <a:pt x="230" y="172"/>
                    </a:moveTo>
                    <a:lnTo>
                      <a:pt x="230" y="172"/>
                    </a:lnTo>
                    <a:lnTo>
                      <a:pt x="230" y="166"/>
                    </a:lnTo>
                    <a:lnTo>
                      <a:pt x="228" y="166"/>
                    </a:lnTo>
                    <a:lnTo>
                      <a:pt x="224" y="168"/>
                    </a:lnTo>
                    <a:lnTo>
                      <a:pt x="224" y="170"/>
                    </a:lnTo>
                    <a:lnTo>
                      <a:pt x="220" y="172"/>
                    </a:lnTo>
                    <a:lnTo>
                      <a:pt x="218" y="174"/>
                    </a:lnTo>
                    <a:lnTo>
                      <a:pt x="216" y="178"/>
                    </a:lnTo>
                    <a:lnTo>
                      <a:pt x="216" y="182"/>
                    </a:lnTo>
                    <a:lnTo>
                      <a:pt x="218" y="186"/>
                    </a:lnTo>
                    <a:lnTo>
                      <a:pt x="218" y="190"/>
                    </a:lnTo>
                    <a:lnTo>
                      <a:pt x="218" y="192"/>
                    </a:lnTo>
                    <a:lnTo>
                      <a:pt x="218" y="194"/>
                    </a:lnTo>
                    <a:lnTo>
                      <a:pt x="222" y="196"/>
                    </a:lnTo>
                    <a:lnTo>
                      <a:pt x="224" y="198"/>
                    </a:lnTo>
                    <a:lnTo>
                      <a:pt x="230" y="192"/>
                    </a:lnTo>
                    <a:lnTo>
                      <a:pt x="230" y="186"/>
                    </a:lnTo>
                    <a:lnTo>
                      <a:pt x="228" y="186"/>
                    </a:lnTo>
                    <a:lnTo>
                      <a:pt x="230" y="184"/>
                    </a:lnTo>
                    <a:lnTo>
                      <a:pt x="230" y="172"/>
                    </a:lnTo>
                    <a:close/>
                    <a:moveTo>
                      <a:pt x="198" y="40"/>
                    </a:moveTo>
                    <a:lnTo>
                      <a:pt x="198" y="40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90" y="40"/>
                    </a:lnTo>
                    <a:lnTo>
                      <a:pt x="184" y="40"/>
                    </a:lnTo>
                    <a:lnTo>
                      <a:pt x="184" y="34"/>
                    </a:lnTo>
                    <a:lnTo>
                      <a:pt x="182" y="34"/>
                    </a:lnTo>
                    <a:lnTo>
                      <a:pt x="182" y="32"/>
                    </a:lnTo>
                    <a:lnTo>
                      <a:pt x="178" y="30"/>
                    </a:lnTo>
                    <a:lnTo>
                      <a:pt x="174" y="34"/>
                    </a:lnTo>
                    <a:lnTo>
                      <a:pt x="172" y="32"/>
                    </a:lnTo>
                    <a:lnTo>
                      <a:pt x="166" y="32"/>
                    </a:lnTo>
                    <a:lnTo>
                      <a:pt x="164" y="28"/>
                    </a:lnTo>
                    <a:lnTo>
                      <a:pt x="162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2"/>
                    </a:lnTo>
                    <a:lnTo>
                      <a:pt x="152" y="24"/>
                    </a:lnTo>
                    <a:lnTo>
                      <a:pt x="146" y="24"/>
                    </a:lnTo>
                    <a:lnTo>
                      <a:pt x="146" y="18"/>
                    </a:lnTo>
                    <a:lnTo>
                      <a:pt x="144" y="16"/>
                    </a:lnTo>
                    <a:lnTo>
                      <a:pt x="142" y="14"/>
                    </a:lnTo>
                    <a:lnTo>
                      <a:pt x="136" y="14"/>
                    </a:lnTo>
                    <a:lnTo>
                      <a:pt x="132" y="12"/>
                    </a:lnTo>
                    <a:lnTo>
                      <a:pt x="126" y="1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0" y="4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6" y="14"/>
                    </a:lnTo>
                    <a:lnTo>
                      <a:pt x="106" y="20"/>
                    </a:lnTo>
                    <a:lnTo>
                      <a:pt x="104" y="22"/>
                    </a:lnTo>
                    <a:lnTo>
                      <a:pt x="98" y="24"/>
                    </a:lnTo>
                    <a:lnTo>
                      <a:pt x="92" y="24"/>
                    </a:lnTo>
                    <a:lnTo>
                      <a:pt x="82" y="32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2" y="34"/>
                    </a:lnTo>
                    <a:lnTo>
                      <a:pt x="76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58" y="30"/>
                    </a:lnTo>
                    <a:lnTo>
                      <a:pt x="56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4" y="34"/>
                    </a:lnTo>
                    <a:lnTo>
                      <a:pt x="56" y="38"/>
                    </a:lnTo>
                    <a:lnTo>
                      <a:pt x="58" y="40"/>
                    </a:lnTo>
                    <a:lnTo>
                      <a:pt x="58" y="46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38" y="48"/>
                    </a:lnTo>
                    <a:lnTo>
                      <a:pt x="38" y="54"/>
                    </a:lnTo>
                    <a:lnTo>
                      <a:pt x="36" y="52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4"/>
                    </a:lnTo>
                    <a:lnTo>
                      <a:pt x="26" y="72"/>
                    </a:lnTo>
                    <a:lnTo>
                      <a:pt x="32" y="72"/>
                    </a:lnTo>
                    <a:lnTo>
                      <a:pt x="38" y="76"/>
                    </a:lnTo>
                    <a:lnTo>
                      <a:pt x="48" y="76"/>
                    </a:lnTo>
                    <a:lnTo>
                      <a:pt x="40" y="80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6" y="92"/>
                    </a:lnTo>
                    <a:lnTo>
                      <a:pt x="52" y="96"/>
                    </a:lnTo>
                    <a:lnTo>
                      <a:pt x="58" y="96"/>
                    </a:lnTo>
                    <a:lnTo>
                      <a:pt x="58" y="106"/>
                    </a:lnTo>
                    <a:lnTo>
                      <a:pt x="62" y="114"/>
                    </a:lnTo>
                    <a:lnTo>
                      <a:pt x="66" y="124"/>
                    </a:lnTo>
                    <a:lnTo>
                      <a:pt x="58" y="114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32"/>
                    </a:lnTo>
                    <a:lnTo>
                      <a:pt x="54" y="134"/>
                    </a:lnTo>
                    <a:lnTo>
                      <a:pt x="52" y="144"/>
                    </a:lnTo>
                    <a:lnTo>
                      <a:pt x="52" y="146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48" y="152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52" y="160"/>
                    </a:lnTo>
                    <a:lnTo>
                      <a:pt x="52" y="162"/>
                    </a:lnTo>
                    <a:lnTo>
                      <a:pt x="50" y="164"/>
                    </a:lnTo>
                    <a:lnTo>
                      <a:pt x="60" y="164"/>
                    </a:lnTo>
                    <a:lnTo>
                      <a:pt x="64" y="168"/>
                    </a:lnTo>
                    <a:lnTo>
                      <a:pt x="66" y="166"/>
                    </a:lnTo>
                    <a:lnTo>
                      <a:pt x="68" y="166"/>
                    </a:lnTo>
                    <a:lnTo>
                      <a:pt x="72" y="170"/>
                    </a:lnTo>
                    <a:lnTo>
                      <a:pt x="78" y="170"/>
                    </a:lnTo>
                    <a:lnTo>
                      <a:pt x="78" y="172"/>
                    </a:lnTo>
                    <a:lnTo>
                      <a:pt x="84" y="172"/>
                    </a:lnTo>
                    <a:lnTo>
                      <a:pt x="84" y="168"/>
                    </a:lnTo>
                    <a:lnTo>
                      <a:pt x="86" y="166"/>
                    </a:lnTo>
                    <a:lnTo>
                      <a:pt x="90" y="166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6" y="170"/>
                    </a:lnTo>
                    <a:lnTo>
                      <a:pt x="96" y="172"/>
                    </a:lnTo>
                    <a:lnTo>
                      <a:pt x="104" y="172"/>
                    </a:lnTo>
                    <a:lnTo>
                      <a:pt x="104" y="174"/>
                    </a:lnTo>
                    <a:lnTo>
                      <a:pt x="104" y="176"/>
                    </a:lnTo>
                    <a:lnTo>
                      <a:pt x="112" y="176"/>
                    </a:lnTo>
                    <a:lnTo>
                      <a:pt x="112" y="178"/>
                    </a:lnTo>
                    <a:lnTo>
                      <a:pt x="118" y="178"/>
                    </a:lnTo>
                    <a:lnTo>
                      <a:pt x="118" y="176"/>
                    </a:lnTo>
                    <a:lnTo>
                      <a:pt x="118" y="174"/>
                    </a:lnTo>
                    <a:lnTo>
                      <a:pt x="122" y="174"/>
                    </a:lnTo>
                    <a:lnTo>
                      <a:pt x="122" y="170"/>
                    </a:lnTo>
                    <a:lnTo>
                      <a:pt x="126" y="164"/>
                    </a:lnTo>
                    <a:lnTo>
                      <a:pt x="130" y="160"/>
                    </a:lnTo>
                    <a:lnTo>
                      <a:pt x="132" y="158"/>
                    </a:lnTo>
                    <a:lnTo>
                      <a:pt x="134" y="156"/>
                    </a:lnTo>
                    <a:lnTo>
                      <a:pt x="138" y="154"/>
                    </a:lnTo>
                    <a:lnTo>
                      <a:pt x="140" y="152"/>
                    </a:lnTo>
                    <a:lnTo>
                      <a:pt x="144" y="152"/>
                    </a:lnTo>
                    <a:lnTo>
                      <a:pt x="146" y="154"/>
                    </a:lnTo>
                    <a:lnTo>
                      <a:pt x="150" y="154"/>
                    </a:lnTo>
                    <a:lnTo>
                      <a:pt x="152" y="156"/>
                    </a:lnTo>
                    <a:lnTo>
                      <a:pt x="162" y="156"/>
                    </a:lnTo>
                    <a:lnTo>
                      <a:pt x="166" y="160"/>
                    </a:lnTo>
                    <a:lnTo>
                      <a:pt x="166" y="162"/>
                    </a:lnTo>
                    <a:lnTo>
                      <a:pt x="170" y="162"/>
                    </a:lnTo>
                    <a:lnTo>
                      <a:pt x="172" y="164"/>
                    </a:lnTo>
                    <a:lnTo>
                      <a:pt x="178" y="164"/>
                    </a:lnTo>
                    <a:lnTo>
                      <a:pt x="182" y="162"/>
                    </a:lnTo>
                    <a:lnTo>
                      <a:pt x="184" y="160"/>
                    </a:lnTo>
                    <a:lnTo>
                      <a:pt x="186" y="154"/>
                    </a:lnTo>
                    <a:lnTo>
                      <a:pt x="192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200" y="144"/>
                    </a:lnTo>
                    <a:lnTo>
                      <a:pt x="200" y="142"/>
                    </a:lnTo>
                    <a:lnTo>
                      <a:pt x="198" y="140"/>
                    </a:lnTo>
                    <a:lnTo>
                      <a:pt x="192" y="140"/>
                    </a:lnTo>
                    <a:lnTo>
                      <a:pt x="188" y="138"/>
                    </a:lnTo>
                    <a:lnTo>
                      <a:pt x="186" y="136"/>
                    </a:lnTo>
                    <a:lnTo>
                      <a:pt x="186" y="134"/>
                    </a:lnTo>
                    <a:lnTo>
                      <a:pt x="188" y="132"/>
                    </a:lnTo>
                    <a:lnTo>
                      <a:pt x="190" y="130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0"/>
                    </a:lnTo>
                    <a:lnTo>
                      <a:pt x="188" y="120"/>
                    </a:lnTo>
                    <a:lnTo>
                      <a:pt x="192" y="116"/>
                    </a:lnTo>
                    <a:lnTo>
                      <a:pt x="192" y="114"/>
                    </a:lnTo>
                    <a:lnTo>
                      <a:pt x="186" y="108"/>
                    </a:lnTo>
                    <a:lnTo>
                      <a:pt x="188" y="106"/>
                    </a:lnTo>
                    <a:lnTo>
                      <a:pt x="190" y="106"/>
                    </a:lnTo>
                    <a:lnTo>
                      <a:pt x="190" y="104"/>
                    </a:lnTo>
                    <a:lnTo>
                      <a:pt x="186" y="100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2" y="94"/>
                    </a:lnTo>
                    <a:lnTo>
                      <a:pt x="176" y="100"/>
                    </a:lnTo>
                    <a:lnTo>
                      <a:pt x="174" y="100"/>
                    </a:lnTo>
                    <a:lnTo>
                      <a:pt x="174" y="98"/>
                    </a:lnTo>
                    <a:lnTo>
                      <a:pt x="176" y="96"/>
                    </a:lnTo>
                    <a:lnTo>
                      <a:pt x="174" y="94"/>
                    </a:lnTo>
                    <a:lnTo>
                      <a:pt x="178" y="92"/>
                    </a:lnTo>
                    <a:lnTo>
                      <a:pt x="178" y="88"/>
                    </a:lnTo>
                    <a:lnTo>
                      <a:pt x="182" y="86"/>
                    </a:lnTo>
                    <a:lnTo>
                      <a:pt x="182" y="82"/>
                    </a:lnTo>
                    <a:lnTo>
                      <a:pt x="186" y="82"/>
                    </a:lnTo>
                    <a:lnTo>
                      <a:pt x="188" y="80"/>
                    </a:lnTo>
                    <a:lnTo>
                      <a:pt x="190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8" y="76"/>
                    </a:lnTo>
                    <a:lnTo>
                      <a:pt x="198" y="72"/>
                    </a:lnTo>
                    <a:lnTo>
                      <a:pt x="198" y="60"/>
                    </a:lnTo>
                    <a:lnTo>
                      <a:pt x="200" y="58"/>
                    </a:lnTo>
                    <a:lnTo>
                      <a:pt x="202" y="56"/>
                    </a:lnTo>
                    <a:lnTo>
                      <a:pt x="204" y="54"/>
                    </a:lnTo>
                    <a:lnTo>
                      <a:pt x="204" y="50"/>
                    </a:lnTo>
                    <a:lnTo>
                      <a:pt x="208" y="46"/>
                    </a:lnTo>
                    <a:lnTo>
                      <a:pt x="210" y="42"/>
                    </a:lnTo>
                    <a:lnTo>
                      <a:pt x="204" y="40"/>
                    </a:lnTo>
                    <a:lnTo>
                      <a:pt x="198" y="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7" name="Fi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B035FA8-F7F0-CE7C-2995-405829EA5BB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68048" y="1447232"/>
                <a:ext cx="283793" cy="322858"/>
              </a:xfrm>
              <a:custGeom>
                <a:avLst/>
                <a:gdLst>
                  <a:gd name="T0" fmla="*/ 2147483647 w 630"/>
                  <a:gd name="T1" fmla="*/ 2147483647 h 714"/>
                  <a:gd name="T2" fmla="*/ 2147483647 w 630"/>
                  <a:gd name="T3" fmla="*/ 2147483647 h 714"/>
                  <a:gd name="T4" fmla="*/ 2147483647 w 630"/>
                  <a:gd name="T5" fmla="*/ 2147483647 h 714"/>
                  <a:gd name="T6" fmla="*/ 2147483647 w 630"/>
                  <a:gd name="T7" fmla="*/ 2147483647 h 714"/>
                  <a:gd name="T8" fmla="*/ 2147483647 w 630"/>
                  <a:gd name="T9" fmla="*/ 2147483647 h 714"/>
                  <a:gd name="T10" fmla="*/ 2147483647 w 630"/>
                  <a:gd name="T11" fmla="*/ 2147483647 h 714"/>
                  <a:gd name="T12" fmla="*/ 2147483647 w 630"/>
                  <a:gd name="T13" fmla="*/ 2147483647 h 714"/>
                  <a:gd name="T14" fmla="*/ 2147483647 w 630"/>
                  <a:gd name="T15" fmla="*/ 2147483647 h 714"/>
                  <a:gd name="T16" fmla="*/ 2147483647 w 630"/>
                  <a:gd name="T17" fmla="*/ 2147483647 h 714"/>
                  <a:gd name="T18" fmla="*/ 2147483647 w 630"/>
                  <a:gd name="T19" fmla="*/ 2147483647 h 714"/>
                  <a:gd name="T20" fmla="*/ 2147483647 w 630"/>
                  <a:gd name="T21" fmla="*/ 2147483647 h 714"/>
                  <a:gd name="T22" fmla="*/ 2147483647 w 630"/>
                  <a:gd name="T23" fmla="*/ 2147483647 h 714"/>
                  <a:gd name="T24" fmla="*/ 2147483647 w 630"/>
                  <a:gd name="T25" fmla="*/ 2147483647 h 714"/>
                  <a:gd name="T26" fmla="*/ 2147483647 w 630"/>
                  <a:gd name="T27" fmla="*/ 2147483647 h 714"/>
                  <a:gd name="T28" fmla="*/ 2147483647 w 630"/>
                  <a:gd name="T29" fmla="*/ 2147483647 h 714"/>
                  <a:gd name="T30" fmla="*/ 2147483647 w 630"/>
                  <a:gd name="T31" fmla="*/ 2147483647 h 714"/>
                  <a:gd name="T32" fmla="*/ 2147483647 w 630"/>
                  <a:gd name="T33" fmla="*/ 2147483647 h 714"/>
                  <a:gd name="T34" fmla="*/ 2147483647 w 630"/>
                  <a:gd name="T35" fmla="*/ 2147483647 h 714"/>
                  <a:gd name="T36" fmla="*/ 2147483647 w 630"/>
                  <a:gd name="T37" fmla="*/ 2147483647 h 714"/>
                  <a:gd name="T38" fmla="*/ 2147483647 w 630"/>
                  <a:gd name="T39" fmla="*/ 2147483647 h 714"/>
                  <a:gd name="T40" fmla="*/ 2147483647 w 630"/>
                  <a:gd name="T41" fmla="*/ 2147483647 h 714"/>
                  <a:gd name="T42" fmla="*/ 2147483647 w 630"/>
                  <a:gd name="T43" fmla="*/ 2147483647 h 714"/>
                  <a:gd name="T44" fmla="*/ 2147483647 w 630"/>
                  <a:gd name="T45" fmla="*/ 2147483647 h 714"/>
                  <a:gd name="T46" fmla="*/ 2147483647 w 630"/>
                  <a:gd name="T47" fmla="*/ 2147483647 h 714"/>
                  <a:gd name="T48" fmla="*/ 2147483647 w 630"/>
                  <a:gd name="T49" fmla="*/ 2147483647 h 714"/>
                  <a:gd name="T50" fmla="*/ 2147483647 w 630"/>
                  <a:gd name="T51" fmla="*/ 2147483647 h 714"/>
                  <a:gd name="T52" fmla="*/ 2147483647 w 630"/>
                  <a:gd name="T53" fmla="*/ 2147483647 h 714"/>
                  <a:gd name="T54" fmla="*/ 2147483647 w 630"/>
                  <a:gd name="T55" fmla="*/ 2147483647 h 714"/>
                  <a:gd name="T56" fmla="*/ 2147483647 w 630"/>
                  <a:gd name="T57" fmla="*/ 2147483647 h 714"/>
                  <a:gd name="T58" fmla="*/ 2147483647 w 630"/>
                  <a:gd name="T59" fmla="*/ 2147483647 h 714"/>
                  <a:gd name="T60" fmla="*/ 2147483647 w 630"/>
                  <a:gd name="T61" fmla="*/ 2147483647 h 714"/>
                  <a:gd name="T62" fmla="*/ 2147483647 w 630"/>
                  <a:gd name="T63" fmla="*/ 2147483647 h 714"/>
                  <a:gd name="T64" fmla="*/ 2147483647 w 630"/>
                  <a:gd name="T65" fmla="*/ 2147483647 h 714"/>
                  <a:gd name="T66" fmla="*/ 2147483647 w 630"/>
                  <a:gd name="T67" fmla="*/ 2147483647 h 714"/>
                  <a:gd name="T68" fmla="*/ 2147483647 w 630"/>
                  <a:gd name="T69" fmla="*/ 2147483647 h 714"/>
                  <a:gd name="T70" fmla="*/ 2147483647 w 630"/>
                  <a:gd name="T71" fmla="*/ 2147483647 h 714"/>
                  <a:gd name="T72" fmla="*/ 2147483647 w 630"/>
                  <a:gd name="T73" fmla="*/ 2147483647 h 714"/>
                  <a:gd name="T74" fmla="*/ 2147483647 w 630"/>
                  <a:gd name="T75" fmla="*/ 2147483647 h 714"/>
                  <a:gd name="T76" fmla="*/ 2147483647 w 630"/>
                  <a:gd name="T77" fmla="*/ 2147483647 h 714"/>
                  <a:gd name="T78" fmla="*/ 2147483647 w 630"/>
                  <a:gd name="T79" fmla="*/ 2147483647 h 714"/>
                  <a:gd name="T80" fmla="*/ 2147483647 w 630"/>
                  <a:gd name="T81" fmla="*/ 2147483647 h 714"/>
                  <a:gd name="T82" fmla="*/ 2147483647 w 630"/>
                  <a:gd name="T83" fmla="*/ 2147483647 h 714"/>
                  <a:gd name="T84" fmla="*/ 2147483647 w 630"/>
                  <a:gd name="T85" fmla="*/ 2147483647 h 714"/>
                  <a:gd name="T86" fmla="*/ 2147483647 w 630"/>
                  <a:gd name="T87" fmla="*/ 2147483647 h 714"/>
                  <a:gd name="T88" fmla="*/ 2147483647 w 630"/>
                  <a:gd name="T89" fmla="*/ 2147483647 h 714"/>
                  <a:gd name="T90" fmla="*/ 2147483647 w 630"/>
                  <a:gd name="T91" fmla="*/ 2147483647 h 714"/>
                  <a:gd name="T92" fmla="*/ 2147483647 w 630"/>
                  <a:gd name="T93" fmla="*/ 2147483647 h 714"/>
                  <a:gd name="T94" fmla="*/ 2147483647 w 630"/>
                  <a:gd name="T95" fmla="*/ 2147483647 h 714"/>
                  <a:gd name="T96" fmla="*/ 2147483647 w 630"/>
                  <a:gd name="T97" fmla="*/ 2147483647 h 714"/>
                  <a:gd name="T98" fmla="*/ 2147483647 w 630"/>
                  <a:gd name="T99" fmla="*/ 2147483647 h 714"/>
                  <a:gd name="T100" fmla="*/ 2147483647 w 630"/>
                  <a:gd name="T101" fmla="*/ 2147483647 h 714"/>
                  <a:gd name="T102" fmla="*/ 2147483647 w 630"/>
                  <a:gd name="T103" fmla="*/ 2147483647 h 714"/>
                  <a:gd name="T104" fmla="*/ 2147483647 w 630"/>
                  <a:gd name="T105" fmla="*/ 2147483647 h 714"/>
                  <a:gd name="T106" fmla="*/ 2147483647 w 630"/>
                  <a:gd name="T107" fmla="*/ 0 h 714"/>
                  <a:gd name="T108" fmla="*/ 2147483647 w 630"/>
                  <a:gd name="T109" fmla="*/ 2147483647 h 714"/>
                  <a:gd name="T110" fmla="*/ 2147483647 w 630"/>
                  <a:gd name="T111" fmla="*/ 2147483647 h 714"/>
                  <a:gd name="T112" fmla="*/ 2147483647 w 630"/>
                  <a:gd name="T113" fmla="*/ 2147483647 h 714"/>
                  <a:gd name="T114" fmla="*/ 2147483647 w 630"/>
                  <a:gd name="T115" fmla="*/ 2147483647 h 714"/>
                  <a:gd name="T116" fmla="*/ 2147483647 w 630"/>
                  <a:gd name="T117" fmla="*/ 2147483647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714"/>
                  <a:gd name="T179" fmla="*/ 630 w 630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714">
                    <a:moveTo>
                      <a:pt x="162" y="84"/>
                    </a:moveTo>
                    <a:lnTo>
                      <a:pt x="156" y="90"/>
                    </a:lnTo>
                    <a:lnTo>
                      <a:pt x="144" y="96"/>
                    </a:lnTo>
                    <a:lnTo>
                      <a:pt x="132" y="96"/>
                    </a:lnTo>
                    <a:lnTo>
                      <a:pt x="126" y="90"/>
                    </a:lnTo>
                    <a:lnTo>
                      <a:pt x="108" y="90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2" y="72"/>
                    </a:lnTo>
                    <a:lnTo>
                      <a:pt x="60" y="66"/>
                    </a:lnTo>
                    <a:lnTo>
                      <a:pt x="54" y="54"/>
                    </a:lnTo>
                    <a:lnTo>
                      <a:pt x="48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6"/>
                    </a:lnTo>
                    <a:lnTo>
                      <a:pt x="60" y="96"/>
                    </a:lnTo>
                    <a:lnTo>
                      <a:pt x="72" y="108"/>
                    </a:lnTo>
                    <a:lnTo>
                      <a:pt x="108" y="108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56" y="132"/>
                    </a:lnTo>
                    <a:lnTo>
                      <a:pt x="162" y="132"/>
                    </a:lnTo>
                    <a:lnTo>
                      <a:pt x="162" y="156"/>
                    </a:lnTo>
                    <a:lnTo>
                      <a:pt x="156" y="162"/>
                    </a:lnTo>
                    <a:lnTo>
                      <a:pt x="156" y="168"/>
                    </a:lnTo>
                    <a:lnTo>
                      <a:pt x="168" y="174"/>
                    </a:lnTo>
                    <a:lnTo>
                      <a:pt x="162" y="198"/>
                    </a:lnTo>
                    <a:lnTo>
                      <a:pt x="186" y="210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68" y="240"/>
                    </a:lnTo>
                    <a:lnTo>
                      <a:pt x="168" y="246"/>
                    </a:lnTo>
                    <a:lnTo>
                      <a:pt x="180" y="258"/>
                    </a:lnTo>
                    <a:lnTo>
                      <a:pt x="192" y="264"/>
                    </a:lnTo>
                    <a:lnTo>
                      <a:pt x="198" y="270"/>
                    </a:lnTo>
                    <a:lnTo>
                      <a:pt x="210" y="306"/>
                    </a:lnTo>
                    <a:lnTo>
                      <a:pt x="222" y="294"/>
                    </a:lnTo>
                    <a:lnTo>
                      <a:pt x="228" y="294"/>
                    </a:lnTo>
                    <a:lnTo>
                      <a:pt x="234" y="300"/>
                    </a:lnTo>
                    <a:lnTo>
                      <a:pt x="246" y="300"/>
                    </a:lnTo>
                    <a:lnTo>
                      <a:pt x="270" y="324"/>
                    </a:lnTo>
                    <a:lnTo>
                      <a:pt x="270" y="336"/>
                    </a:lnTo>
                    <a:lnTo>
                      <a:pt x="276" y="348"/>
                    </a:lnTo>
                    <a:lnTo>
                      <a:pt x="276" y="354"/>
                    </a:lnTo>
                    <a:lnTo>
                      <a:pt x="264" y="348"/>
                    </a:lnTo>
                    <a:lnTo>
                      <a:pt x="246" y="348"/>
                    </a:lnTo>
                    <a:lnTo>
                      <a:pt x="240" y="354"/>
                    </a:lnTo>
                    <a:lnTo>
                      <a:pt x="234" y="366"/>
                    </a:lnTo>
                    <a:lnTo>
                      <a:pt x="228" y="372"/>
                    </a:lnTo>
                    <a:lnTo>
                      <a:pt x="222" y="384"/>
                    </a:lnTo>
                    <a:lnTo>
                      <a:pt x="216" y="390"/>
                    </a:lnTo>
                    <a:lnTo>
                      <a:pt x="180" y="420"/>
                    </a:lnTo>
                    <a:lnTo>
                      <a:pt x="144" y="432"/>
                    </a:lnTo>
                    <a:lnTo>
                      <a:pt x="138" y="438"/>
                    </a:lnTo>
                    <a:lnTo>
                      <a:pt x="126" y="444"/>
                    </a:lnTo>
                    <a:lnTo>
                      <a:pt x="120" y="456"/>
                    </a:lnTo>
                    <a:lnTo>
                      <a:pt x="120" y="462"/>
                    </a:lnTo>
                    <a:lnTo>
                      <a:pt x="108" y="474"/>
                    </a:lnTo>
                    <a:lnTo>
                      <a:pt x="90" y="474"/>
                    </a:lnTo>
                    <a:lnTo>
                      <a:pt x="66" y="504"/>
                    </a:lnTo>
                    <a:lnTo>
                      <a:pt x="66" y="534"/>
                    </a:lnTo>
                    <a:lnTo>
                      <a:pt x="72" y="540"/>
                    </a:lnTo>
                    <a:lnTo>
                      <a:pt x="72" y="570"/>
                    </a:lnTo>
                    <a:lnTo>
                      <a:pt x="96" y="588"/>
                    </a:lnTo>
                    <a:lnTo>
                      <a:pt x="96" y="594"/>
                    </a:lnTo>
                    <a:lnTo>
                      <a:pt x="90" y="600"/>
                    </a:lnTo>
                    <a:lnTo>
                      <a:pt x="90" y="612"/>
                    </a:lnTo>
                    <a:lnTo>
                      <a:pt x="84" y="630"/>
                    </a:lnTo>
                    <a:lnTo>
                      <a:pt x="84" y="648"/>
                    </a:lnTo>
                    <a:lnTo>
                      <a:pt x="90" y="654"/>
                    </a:lnTo>
                    <a:lnTo>
                      <a:pt x="96" y="666"/>
                    </a:lnTo>
                    <a:lnTo>
                      <a:pt x="108" y="678"/>
                    </a:lnTo>
                    <a:lnTo>
                      <a:pt x="132" y="690"/>
                    </a:lnTo>
                    <a:lnTo>
                      <a:pt x="174" y="690"/>
                    </a:lnTo>
                    <a:lnTo>
                      <a:pt x="174" y="696"/>
                    </a:lnTo>
                    <a:lnTo>
                      <a:pt x="168" y="702"/>
                    </a:lnTo>
                    <a:lnTo>
                      <a:pt x="168" y="708"/>
                    </a:lnTo>
                    <a:lnTo>
                      <a:pt x="174" y="714"/>
                    </a:lnTo>
                    <a:lnTo>
                      <a:pt x="240" y="714"/>
                    </a:lnTo>
                    <a:lnTo>
                      <a:pt x="252" y="708"/>
                    </a:lnTo>
                    <a:lnTo>
                      <a:pt x="270" y="708"/>
                    </a:lnTo>
                    <a:lnTo>
                      <a:pt x="300" y="696"/>
                    </a:lnTo>
                    <a:lnTo>
                      <a:pt x="336" y="696"/>
                    </a:lnTo>
                    <a:lnTo>
                      <a:pt x="384" y="672"/>
                    </a:lnTo>
                    <a:lnTo>
                      <a:pt x="462" y="672"/>
                    </a:lnTo>
                    <a:lnTo>
                      <a:pt x="456" y="660"/>
                    </a:lnTo>
                    <a:lnTo>
                      <a:pt x="516" y="630"/>
                    </a:lnTo>
                    <a:lnTo>
                      <a:pt x="576" y="570"/>
                    </a:lnTo>
                    <a:lnTo>
                      <a:pt x="582" y="570"/>
                    </a:lnTo>
                    <a:lnTo>
                      <a:pt x="618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30" y="504"/>
                    </a:lnTo>
                    <a:lnTo>
                      <a:pt x="624" y="492"/>
                    </a:lnTo>
                    <a:lnTo>
                      <a:pt x="618" y="486"/>
                    </a:lnTo>
                    <a:lnTo>
                      <a:pt x="612" y="474"/>
                    </a:lnTo>
                    <a:lnTo>
                      <a:pt x="540" y="438"/>
                    </a:lnTo>
                    <a:lnTo>
                      <a:pt x="546" y="438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52" y="396"/>
                    </a:lnTo>
                    <a:lnTo>
                      <a:pt x="528" y="390"/>
                    </a:lnTo>
                    <a:lnTo>
                      <a:pt x="534" y="378"/>
                    </a:lnTo>
                    <a:lnTo>
                      <a:pt x="540" y="372"/>
                    </a:lnTo>
                    <a:lnTo>
                      <a:pt x="540" y="366"/>
                    </a:lnTo>
                    <a:lnTo>
                      <a:pt x="534" y="360"/>
                    </a:lnTo>
                    <a:lnTo>
                      <a:pt x="528" y="360"/>
                    </a:lnTo>
                    <a:lnTo>
                      <a:pt x="522" y="354"/>
                    </a:lnTo>
                    <a:lnTo>
                      <a:pt x="510" y="354"/>
                    </a:lnTo>
                    <a:lnTo>
                      <a:pt x="510" y="342"/>
                    </a:lnTo>
                    <a:lnTo>
                      <a:pt x="498" y="330"/>
                    </a:lnTo>
                    <a:lnTo>
                      <a:pt x="504" y="300"/>
                    </a:lnTo>
                    <a:lnTo>
                      <a:pt x="510" y="300"/>
                    </a:lnTo>
                    <a:lnTo>
                      <a:pt x="522" y="306"/>
                    </a:lnTo>
                    <a:lnTo>
                      <a:pt x="534" y="306"/>
                    </a:lnTo>
                    <a:lnTo>
                      <a:pt x="540" y="300"/>
                    </a:lnTo>
                    <a:lnTo>
                      <a:pt x="540" y="294"/>
                    </a:lnTo>
                    <a:lnTo>
                      <a:pt x="534" y="288"/>
                    </a:lnTo>
                    <a:lnTo>
                      <a:pt x="522" y="282"/>
                    </a:lnTo>
                    <a:lnTo>
                      <a:pt x="498" y="258"/>
                    </a:lnTo>
                    <a:lnTo>
                      <a:pt x="486" y="252"/>
                    </a:lnTo>
                    <a:lnTo>
                      <a:pt x="480" y="240"/>
                    </a:lnTo>
                    <a:lnTo>
                      <a:pt x="468" y="234"/>
                    </a:lnTo>
                    <a:lnTo>
                      <a:pt x="450" y="216"/>
                    </a:lnTo>
                    <a:lnTo>
                      <a:pt x="456" y="210"/>
                    </a:lnTo>
                    <a:lnTo>
                      <a:pt x="468" y="204"/>
                    </a:lnTo>
                    <a:lnTo>
                      <a:pt x="474" y="204"/>
                    </a:lnTo>
                    <a:lnTo>
                      <a:pt x="474" y="192"/>
                    </a:lnTo>
                    <a:lnTo>
                      <a:pt x="480" y="192"/>
                    </a:lnTo>
                    <a:lnTo>
                      <a:pt x="492" y="186"/>
                    </a:lnTo>
                    <a:lnTo>
                      <a:pt x="498" y="186"/>
                    </a:lnTo>
                    <a:lnTo>
                      <a:pt x="498" y="174"/>
                    </a:lnTo>
                    <a:lnTo>
                      <a:pt x="450" y="126"/>
                    </a:lnTo>
                    <a:lnTo>
                      <a:pt x="432" y="126"/>
                    </a:lnTo>
                    <a:lnTo>
                      <a:pt x="426" y="132"/>
                    </a:lnTo>
                    <a:lnTo>
                      <a:pt x="420" y="132"/>
                    </a:lnTo>
                    <a:lnTo>
                      <a:pt x="414" y="126"/>
                    </a:lnTo>
                    <a:lnTo>
                      <a:pt x="414" y="120"/>
                    </a:lnTo>
                    <a:lnTo>
                      <a:pt x="408" y="108"/>
                    </a:lnTo>
                    <a:lnTo>
                      <a:pt x="408" y="96"/>
                    </a:lnTo>
                    <a:lnTo>
                      <a:pt x="426" y="96"/>
                    </a:lnTo>
                    <a:lnTo>
                      <a:pt x="426" y="90"/>
                    </a:lnTo>
                    <a:lnTo>
                      <a:pt x="414" y="78"/>
                    </a:lnTo>
                    <a:lnTo>
                      <a:pt x="420" y="54"/>
                    </a:lnTo>
                    <a:lnTo>
                      <a:pt x="426" y="54"/>
                    </a:lnTo>
                    <a:lnTo>
                      <a:pt x="426" y="60"/>
                    </a:lnTo>
                    <a:lnTo>
                      <a:pt x="432" y="60"/>
                    </a:lnTo>
                    <a:lnTo>
                      <a:pt x="432" y="42"/>
                    </a:lnTo>
                    <a:lnTo>
                      <a:pt x="426" y="30"/>
                    </a:lnTo>
                    <a:lnTo>
                      <a:pt x="414" y="18"/>
                    </a:lnTo>
                    <a:lnTo>
                      <a:pt x="408" y="18"/>
                    </a:lnTo>
                    <a:lnTo>
                      <a:pt x="372" y="12"/>
                    </a:lnTo>
                    <a:lnTo>
                      <a:pt x="372" y="0"/>
                    </a:lnTo>
                    <a:lnTo>
                      <a:pt x="336" y="0"/>
                    </a:lnTo>
                    <a:lnTo>
                      <a:pt x="324" y="6"/>
                    </a:lnTo>
                    <a:lnTo>
                      <a:pt x="294" y="6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64" y="18"/>
                    </a:lnTo>
                    <a:lnTo>
                      <a:pt x="264" y="30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28" y="8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204" y="90"/>
                    </a:lnTo>
                    <a:lnTo>
                      <a:pt x="192" y="84"/>
                    </a:lnTo>
                    <a:lnTo>
                      <a:pt x="162" y="8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8" name="Est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694E1D5-FCFB-F79C-0A3B-04B610497CD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24807" y="1780733"/>
                <a:ext cx="156086" cy="69184"/>
              </a:xfrm>
              <a:custGeom>
                <a:avLst/>
                <a:gdLst>
                  <a:gd name="T0" fmla="*/ 2147483647 w 348"/>
                  <a:gd name="T1" fmla="*/ 2147483647 h 156"/>
                  <a:gd name="T2" fmla="*/ 2147483647 w 348"/>
                  <a:gd name="T3" fmla="*/ 2147483647 h 156"/>
                  <a:gd name="T4" fmla="*/ 2147483647 w 348"/>
                  <a:gd name="T5" fmla="*/ 2147483647 h 156"/>
                  <a:gd name="T6" fmla="*/ 2147483647 w 348"/>
                  <a:gd name="T7" fmla="*/ 2147483647 h 156"/>
                  <a:gd name="T8" fmla="*/ 2147483647 w 348"/>
                  <a:gd name="T9" fmla="*/ 2147483647 h 156"/>
                  <a:gd name="T10" fmla="*/ 2147483647 w 348"/>
                  <a:gd name="T11" fmla="*/ 2147483647 h 156"/>
                  <a:gd name="T12" fmla="*/ 2147483647 w 348"/>
                  <a:gd name="T13" fmla="*/ 2147483647 h 156"/>
                  <a:gd name="T14" fmla="*/ 2147483647 w 348"/>
                  <a:gd name="T15" fmla="*/ 0 h 156"/>
                  <a:gd name="T16" fmla="*/ 2147483647 w 348"/>
                  <a:gd name="T17" fmla="*/ 2147483647 h 156"/>
                  <a:gd name="T18" fmla="*/ 2147483647 w 348"/>
                  <a:gd name="T19" fmla="*/ 2147483647 h 156"/>
                  <a:gd name="T20" fmla="*/ 2147483647 w 348"/>
                  <a:gd name="T21" fmla="*/ 2147483647 h 156"/>
                  <a:gd name="T22" fmla="*/ 2147483647 w 348"/>
                  <a:gd name="T23" fmla="*/ 2147483647 h 156"/>
                  <a:gd name="T24" fmla="*/ 2147483647 w 348"/>
                  <a:gd name="T25" fmla="*/ 2147483647 h 156"/>
                  <a:gd name="T26" fmla="*/ 2147483647 w 348"/>
                  <a:gd name="T27" fmla="*/ 2147483647 h 156"/>
                  <a:gd name="T28" fmla="*/ 2147483647 w 348"/>
                  <a:gd name="T29" fmla="*/ 2147483647 h 156"/>
                  <a:gd name="T30" fmla="*/ 2147483647 w 348"/>
                  <a:gd name="T31" fmla="*/ 2147483647 h 156"/>
                  <a:gd name="T32" fmla="*/ 2147483647 w 348"/>
                  <a:gd name="T33" fmla="*/ 2147483647 h 156"/>
                  <a:gd name="T34" fmla="*/ 2147483647 w 348"/>
                  <a:gd name="T35" fmla="*/ 2147483647 h 156"/>
                  <a:gd name="T36" fmla="*/ 2147483647 w 348"/>
                  <a:gd name="T37" fmla="*/ 2147483647 h 156"/>
                  <a:gd name="T38" fmla="*/ 2147483647 w 348"/>
                  <a:gd name="T39" fmla="*/ 2147483647 h 156"/>
                  <a:gd name="T40" fmla="*/ 2147483647 w 348"/>
                  <a:gd name="T41" fmla="*/ 2147483647 h 156"/>
                  <a:gd name="T42" fmla="*/ 2147483647 w 348"/>
                  <a:gd name="T43" fmla="*/ 2147483647 h 156"/>
                  <a:gd name="T44" fmla="*/ 2147483647 w 348"/>
                  <a:gd name="T45" fmla="*/ 2147483647 h 156"/>
                  <a:gd name="T46" fmla="*/ 2147483647 w 348"/>
                  <a:gd name="T47" fmla="*/ 2147483647 h 156"/>
                  <a:gd name="T48" fmla="*/ 0 w 348"/>
                  <a:gd name="T49" fmla="*/ 2147483647 h 156"/>
                  <a:gd name="T50" fmla="*/ 2147483647 w 348"/>
                  <a:gd name="T51" fmla="*/ 2147483647 h 156"/>
                  <a:gd name="T52" fmla="*/ 2147483647 w 348"/>
                  <a:gd name="T53" fmla="*/ 2147483647 h 156"/>
                  <a:gd name="T54" fmla="*/ 2147483647 w 348"/>
                  <a:gd name="T55" fmla="*/ 2147483647 h 156"/>
                  <a:gd name="T56" fmla="*/ 2147483647 w 348"/>
                  <a:gd name="T57" fmla="*/ 2147483647 h 156"/>
                  <a:gd name="T58" fmla="*/ 2147483647 w 348"/>
                  <a:gd name="T59" fmla="*/ 2147483647 h 156"/>
                  <a:gd name="T60" fmla="*/ 2147483647 w 348"/>
                  <a:gd name="T61" fmla="*/ 2147483647 h 156"/>
                  <a:gd name="T62" fmla="*/ 2147483647 w 348"/>
                  <a:gd name="T63" fmla="*/ 2147483647 h 156"/>
                  <a:gd name="T64" fmla="*/ 2147483647 w 348"/>
                  <a:gd name="T65" fmla="*/ 2147483647 h 156"/>
                  <a:gd name="T66" fmla="*/ 2147483647 w 348"/>
                  <a:gd name="T67" fmla="*/ 2147483647 h 156"/>
                  <a:gd name="T68" fmla="*/ 2147483647 w 348"/>
                  <a:gd name="T69" fmla="*/ 2147483647 h 156"/>
                  <a:gd name="T70" fmla="*/ 2147483647 w 348"/>
                  <a:gd name="T71" fmla="*/ 2147483647 h 15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8"/>
                  <a:gd name="T109" fmla="*/ 0 h 156"/>
                  <a:gd name="T110" fmla="*/ 348 w 348"/>
                  <a:gd name="T111" fmla="*/ 156 h 15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8" h="156">
                    <a:moveTo>
                      <a:pt x="336" y="114"/>
                    </a:moveTo>
                    <a:lnTo>
                      <a:pt x="324" y="108"/>
                    </a:lnTo>
                    <a:lnTo>
                      <a:pt x="336" y="84"/>
                    </a:lnTo>
                    <a:lnTo>
                      <a:pt x="318" y="78"/>
                    </a:lnTo>
                    <a:lnTo>
                      <a:pt x="318" y="60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2" y="42"/>
                    </a:lnTo>
                    <a:lnTo>
                      <a:pt x="336" y="30"/>
                    </a:lnTo>
                    <a:lnTo>
                      <a:pt x="342" y="18"/>
                    </a:lnTo>
                    <a:lnTo>
                      <a:pt x="330" y="12"/>
                    </a:lnTo>
                    <a:lnTo>
                      <a:pt x="312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04" y="0"/>
                    </a:lnTo>
                    <a:lnTo>
                      <a:pt x="192" y="6"/>
                    </a:lnTo>
                    <a:lnTo>
                      <a:pt x="156" y="6"/>
                    </a:lnTo>
                    <a:lnTo>
                      <a:pt x="150" y="12"/>
                    </a:lnTo>
                    <a:lnTo>
                      <a:pt x="126" y="24"/>
                    </a:lnTo>
                    <a:lnTo>
                      <a:pt x="108" y="30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90" y="60"/>
                    </a:lnTo>
                    <a:lnTo>
                      <a:pt x="90" y="72"/>
                    </a:lnTo>
                    <a:lnTo>
                      <a:pt x="96" y="78"/>
                    </a:lnTo>
                    <a:lnTo>
                      <a:pt x="96" y="84"/>
                    </a:lnTo>
                    <a:lnTo>
                      <a:pt x="150" y="90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80" y="114"/>
                    </a:lnTo>
                    <a:lnTo>
                      <a:pt x="210" y="114"/>
                    </a:lnTo>
                    <a:lnTo>
                      <a:pt x="234" y="126"/>
                    </a:lnTo>
                    <a:lnTo>
                      <a:pt x="240" y="132"/>
                    </a:lnTo>
                    <a:lnTo>
                      <a:pt x="252" y="138"/>
                    </a:lnTo>
                    <a:lnTo>
                      <a:pt x="270" y="156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50"/>
                    </a:lnTo>
                    <a:lnTo>
                      <a:pt x="318" y="156"/>
                    </a:lnTo>
                    <a:lnTo>
                      <a:pt x="330" y="156"/>
                    </a:lnTo>
                    <a:lnTo>
                      <a:pt x="330" y="144"/>
                    </a:lnTo>
                    <a:lnTo>
                      <a:pt x="348" y="132"/>
                    </a:lnTo>
                    <a:lnTo>
                      <a:pt x="336" y="114"/>
                    </a:lnTo>
                    <a:close/>
                    <a:moveTo>
                      <a:pt x="36" y="78"/>
                    </a:moveTo>
                    <a:lnTo>
                      <a:pt x="6" y="78"/>
                    </a:lnTo>
                    <a:lnTo>
                      <a:pt x="0" y="84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18" y="132"/>
                    </a:lnTo>
                    <a:lnTo>
                      <a:pt x="24" y="126"/>
                    </a:lnTo>
                    <a:lnTo>
                      <a:pt x="30" y="114"/>
                    </a:lnTo>
                    <a:lnTo>
                      <a:pt x="42" y="108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72" y="96"/>
                    </a:lnTo>
                    <a:lnTo>
                      <a:pt x="78" y="90"/>
                    </a:lnTo>
                    <a:lnTo>
                      <a:pt x="72" y="72"/>
                    </a:lnTo>
                    <a:lnTo>
                      <a:pt x="36" y="78"/>
                    </a:lnTo>
                    <a:close/>
                    <a:moveTo>
                      <a:pt x="36" y="66"/>
                    </a:moveTo>
                    <a:lnTo>
                      <a:pt x="48" y="66"/>
                    </a:lnTo>
                    <a:lnTo>
                      <a:pt x="54" y="54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36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24" y="60"/>
                    </a:lnTo>
                    <a:lnTo>
                      <a:pt x="30" y="66"/>
                    </a:lnTo>
                    <a:lnTo>
                      <a:pt x="36" y="6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59" name="Denmark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FCCB75B-BA1C-2282-2B16-B2F76948EB1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966519" y="1846368"/>
                <a:ext cx="124159" cy="106437"/>
              </a:xfrm>
              <a:custGeom>
                <a:avLst/>
                <a:gdLst>
                  <a:gd name="T0" fmla="*/ 2147483647 w 71"/>
                  <a:gd name="T1" fmla="*/ 2147483647 h 60"/>
                  <a:gd name="T2" fmla="*/ 2147483647 w 71"/>
                  <a:gd name="T3" fmla="*/ 2147483647 h 60"/>
                  <a:gd name="T4" fmla="*/ 2147483647 w 71"/>
                  <a:gd name="T5" fmla="*/ 2147483647 h 60"/>
                  <a:gd name="T6" fmla="*/ 2147483647 w 71"/>
                  <a:gd name="T7" fmla="*/ 2147483647 h 60"/>
                  <a:gd name="T8" fmla="*/ 2147483647 w 71"/>
                  <a:gd name="T9" fmla="*/ 2147483647 h 60"/>
                  <a:gd name="T10" fmla="*/ 2147483647 w 71"/>
                  <a:gd name="T11" fmla="*/ 2147483647 h 60"/>
                  <a:gd name="T12" fmla="*/ 2147483647 w 71"/>
                  <a:gd name="T13" fmla="*/ 2147483647 h 60"/>
                  <a:gd name="T14" fmla="*/ 2147483647 w 71"/>
                  <a:gd name="T15" fmla="*/ 2147483647 h 60"/>
                  <a:gd name="T16" fmla="*/ 2147483647 w 71"/>
                  <a:gd name="T17" fmla="*/ 2147483647 h 60"/>
                  <a:gd name="T18" fmla="*/ 2147483647 w 71"/>
                  <a:gd name="T19" fmla="*/ 2147483647 h 60"/>
                  <a:gd name="T20" fmla="*/ 2147483647 w 71"/>
                  <a:gd name="T21" fmla="*/ 2147483647 h 60"/>
                  <a:gd name="T22" fmla="*/ 2147483647 w 71"/>
                  <a:gd name="T23" fmla="*/ 2147483647 h 60"/>
                  <a:gd name="T24" fmla="*/ 2147483647 w 71"/>
                  <a:gd name="T25" fmla="*/ 2147483647 h 60"/>
                  <a:gd name="T26" fmla="*/ 2147483647 w 71"/>
                  <a:gd name="T27" fmla="*/ 2147483647 h 60"/>
                  <a:gd name="T28" fmla="*/ 2147483647 w 71"/>
                  <a:gd name="T29" fmla="*/ 2147483647 h 60"/>
                  <a:gd name="T30" fmla="*/ 2147483647 w 71"/>
                  <a:gd name="T31" fmla="*/ 2147483647 h 60"/>
                  <a:gd name="T32" fmla="*/ 2147483647 w 71"/>
                  <a:gd name="T33" fmla="*/ 2147483647 h 60"/>
                  <a:gd name="T34" fmla="*/ 2147483647 w 71"/>
                  <a:gd name="T35" fmla="*/ 2147483647 h 60"/>
                  <a:gd name="T36" fmla="*/ 2147483647 w 71"/>
                  <a:gd name="T37" fmla="*/ 2147483647 h 60"/>
                  <a:gd name="T38" fmla="*/ 2147483647 w 71"/>
                  <a:gd name="T39" fmla="*/ 2147483647 h 60"/>
                  <a:gd name="T40" fmla="*/ 2147483647 w 71"/>
                  <a:gd name="T41" fmla="*/ 2147483647 h 60"/>
                  <a:gd name="T42" fmla="*/ 2147483647 w 71"/>
                  <a:gd name="T43" fmla="*/ 2147483647 h 60"/>
                  <a:gd name="T44" fmla="*/ 2147483647 w 71"/>
                  <a:gd name="T45" fmla="*/ 2147483647 h 60"/>
                  <a:gd name="T46" fmla="*/ 2147483647 w 71"/>
                  <a:gd name="T47" fmla="*/ 2147483647 h 60"/>
                  <a:gd name="T48" fmla="*/ 2147483647 w 71"/>
                  <a:gd name="T49" fmla="*/ 2147483647 h 60"/>
                  <a:gd name="T50" fmla="*/ 2147483647 w 71"/>
                  <a:gd name="T51" fmla="*/ 2147483647 h 60"/>
                  <a:gd name="T52" fmla="*/ 2147483647 w 71"/>
                  <a:gd name="T53" fmla="*/ 2147483647 h 60"/>
                  <a:gd name="T54" fmla="*/ 2147483647 w 71"/>
                  <a:gd name="T55" fmla="*/ 2147483647 h 60"/>
                  <a:gd name="T56" fmla="*/ 2147483647 w 71"/>
                  <a:gd name="T57" fmla="*/ 2147483647 h 60"/>
                  <a:gd name="T58" fmla="*/ 2147483647 w 71"/>
                  <a:gd name="T59" fmla="*/ 2147483647 h 60"/>
                  <a:gd name="T60" fmla="*/ 2147483647 w 71"/>
                  <a:gd name="T61" fmla="*/ 2147483647 h 60"/>
                  <a:gd name="T62" fmla="*/ 2147483647 w 71"/>
                  <a:gd name="T63" fmla="*/ 0 h 60"/>
                  <a:gd name="T64" fmla="*/ 2147483647 w 71"/>
                  <a:gd name="T65" fmla="*/ 2147483647 h 60"/>
                  <a:gd name="T66" fmla="*/ 2147483647 w 71"/>
                  <a:gd name="T67" fmla="*/ 2147483647 h 60"/>
                  <a:gd name="T68" fmla="*/ 2147483647 w 71"/>
                  <a:gd name="T69" fmla="*/ 2147483647 h 60"/>
                  <a:gd name="T70" fmla="*/ 2147483647 w 71"/>
                  <a:gd name="T71" fmla="*/ 2147483647 h 60"/>
                  <a:gd name="T72" fmla="*/ 2147483647 w 71"/>
                  <a:gd name="T73" fmla="*/ 2147483647 h 60"/>
                  <a:gd name="T74" fmla="*/ 2147483647 w 71"/>
                  <a:gd name="T75" fmla="*/ 2147483647 h 60"/>
                  <a:gd name="T76" fmla="*/ 2147483647 w 71"/>
                  <a:gd name="T77" fmla="*/ 2147483647 h 60"/>
                  <a:gd name="T78" fmla="*/ 2147483647 w 71"/>
                  <a:gd name="T79" fmla="*/ 2147483647 h 60"/>
                  <a:gd name="T80" fmla="*/ 2147483647 w 71"/>
                  <a:gd name="T81" fmla="*/ 2147483647 h 60"/>
                  <a:gd name="T82" fmla="*/ 0 w 71"/>
                  <a:gd name="T83" fmla="*/ 2147483647 h 60"/>
                  <a:gd name="T84" fmla="*/ 0 w 71"/>
                  <a:gd name="T85" fmla="*/ 2147483647 h 60"/>
                  <a:gd name="T86" fmla="*/ 2147483647 w 71"/>
                  <a:gd name="T87" fmla="*/ 2147483647 h 60"/>
                  <a:gd name="T88" fmla="*/ 2147483647 w 71"/>
                  <a:gd name="T89" fmla="*/ 2147483647 h 60"/>
                  <a:gd name="T90" fmla="*/ 2147483647 w 71"/>
                  <a:gd name="T91" fmla="*/ 2147483647 h 60"/>
                  <a:gd name="T92" fmla="*/ 2147483647 w 71"/>
                  <a:gd name="T93" fmla="*/ 2147483647 h 60"/>
                  <a:gd name="T94" fmla="*/ 2147483647 w 71"/>
                  <a:gd name="T95" fmla="*/ 2147483647 h 60"/>
                  <a:gd name="T96" fmla="*/ 2147483647 w 71"/>
                  <a:gd name="T97" fmla="*/ 2147483647 h 60"/>
                  <a:gd name="T98" fmla="*/ 2147483647 w 71"/>
                  <a:gd name="T99" fmla="*/ 2147483647 h 60"/>
                  <a:gd name="T100" fmla="*/ 2147483647 w 71"/>
                  <a:gd name="T101" fmla="*/ 2147483647 h 60"/>
                  <a:gd name="T102" fmla="*/ 2147483647 w 71"/>
                  <a:gd name="T103" fmla="*/ 2147483647 h 60"/>
                  <a:gd name="T104" fmla="*/ 2147483647 w 71"/>
                  <a:gd name="T105" fmla="*/ 2147483647 h 60"/>
                  <a:gd name="T106" fmla="*/ 2147483647 w 71"/>
                  <a:gd name="T107" fmla="*/ 2147483647 h 60"/>
                  <a:gd name="T108" fmla="*/ 2147483647 w 71"/>
                  <a:gd name="T109" fmla="*/ 2147483647 h 60"/>
                  <a:gd name="T110" fmla="*/ 2147483647 w 71"/>
                  <a:gd name="T111" fmla="*/ 2147483647 h 60"/>
                  <a:gd name="T112" fmla="*/ 2147483647 w 71"/>
                  <a:gd name="T113" fmla="*/ 2147483647 h 60"/>
                  <a:gd name="T114" fmla="*/ 2147483647 w 71"/>
                  <a:gd name="T115" fmla="*/ 2147483647 h 60"/>
                  <a:gd name="T116" fmla="*/ 2147483647 w 71"/>
                  <a:gd name="T117" fmla="*/ 2147483647 h 60"/>
                  <a:gd name="T118" fmla="*/ 2147483647 w 71"/>
                  <a:gd name="T119" fmla="*/ 2147483647 h 60"/>
                  <a:gd name="T120" fmla="*/ 2147483647 w 71"/>
                  <a:gd name="T121" fmla="*/ 2147483647 h 6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1"/>
                  <a:gd name="T184" fmla="*/ 0 h 60"/>
                  <a:gd name="T185" fmla="*/ 71 w 71"/>
                  <a:gd name="T186" fmla="*/ 60 h 6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1" h="60">
                    <a:moveTo>
                      <a:pt x="62" y="48"/>
                    </a:moveTo>
                    <a:lnTo>
                      <a:pt x="67" y="46"/>
                    </a:lnTo>
                    <a:lnTo>
                      <a:pt x="69" y="46"/>
                    </a:lnTo>
                    <a:lnTo>
                      <a:pt x="69" y="43"/>
                    </a:lnTo>
                    <a:lnTo>
                      <a:pt x="67" y="43"/>
                    </a:lnTo>
                    <a:lnTo>
                      <a:pt x="62" y="41"/>
                    </a:lnTo>
                    <a:lnTo>
                      <a:pt x="62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7" y="34"/>
                    </a:lnTo>
                    <a:lnTo>
                      <a:pt x="67" y="29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60" y="31"/>
                    </a:lnTo>
                    <a:lnTo>
                      <a:pt x="60" y="34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45" y="38"/>
                    </a:lnTo>
                    <a:lnTo>
                      <a:pt x="48" y="38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60" y="53"/>
                    </a:lnTo>
                    <a:lnTo>
                      <a:pt x="60" y="55"/>
                    </a:lnTo>
                    <a:lnTo>
                      <a:pt x="62" y="55"/>
                    </a:lnTo>
                    <a:lnTo>
                      <a:pt x="62" y="53"/>
                    </a:lnTo>
                    <a:lnTo>
                      <a:pt x="62" y="48"/>
                    </a:lnTo>
                    <a:close/>
                    <a:moveTo>
                      <a:pt x="71" y="53"/>
                    </a:moveTo>
                    <a:lnTo>
                      <a:pt x="62" y="55"/>
                    </a:lnTo>
                    <a:lnTo>
                      <a:pt x="60" y="58"/>
                    </a:lnTo>
                    <a:lnTo>
                      <a:pt x="57" y="58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0" y="53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2" y="58"/>
                    </a:lnTo>
                    <a:lnTo>
                      <a:pt x="55" y="60"/>
                    </a:lnTo>
                    <a:lnTo>
                      <a:pt x="57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9" y="58"/>
                    </a:lnTo>
                    <a:lnTo>
                      <a:pt x="71" y="58"/>
                    </a:lnTo>
                    <a:lnTo>
                      <a:pt x="71" y="53"/>
                    </a:lnTo>
                    <a:close/>
                    <a:moveTo>
                      <a:pt x="31" y="12"/>
                    </a:moveTo>
                    <a:lnTo>
                      <a:pt x="36" y="7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26" y="0"/>
                    </a:lnTo>
                    <a:lnTo>
                      <a:pt x="26" y="3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9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2" y="22"/>
                    </a:lnTo>
                    <a:lnTo>
                      <a:pt x="5" y="19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5" y="43"/>
                    </a:lnTo>
                    <a:lnTo>
                      <a:pt x="7" y="43"/>
                    </a:lnTo>
                    <a:lnTo>
                      <a:pt x="7" y="48"/>
                    </a:lnTo>
                    <a:lnTo>
                      <a:pt x="5" y="53"/>
                    </a:lnTo>
                    <a:lnTo>
                      <a:pt x="7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4" y="55"/>
                    </a:lnTo>
                    <a:lnTo>
                      <a:pt x="26" y="58"/>
                    </a:lnTo>
                    <a:lnTo>
                      <a:pt x="26" y="55"/>
                    </a:lnTo>
                    <a:lnTo>
                      <a:pt x="24" y="53"/>
                    </a:lnTo>
                    <a:lnTo>
                      <a:pt x="24" y="48"/>
                    </a:lnTo>
                    <a:lnTo>
                      <a:pt x="26" y="43"/>
                    </a:lnTo>
                    <a:lnTo>
                      <a:pt x="24" y="41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31" y="34"/>
                    </a:lnTo>
                    <a:lnTo>
                      <a:pt x="33" y="26"/>
                    </a:lnTo>
                    <a:lnTo>
                      <a:pt x="38" y="26"/>
                    </a:lnTo>
                    <a:lnTo>
                      <a:pt x="41" y="19"/>
                    </a:lnTo>
                    <a:lnTo>
                      <a:pt x="31" y="19"/>
                    </a:lnTo>
                    <a:lnTo>
                      <a:pt x="31" y="12"/>
                    </a:lnTo>
                    <a:close/>
                    <a:moveTo>
                      <a:pt x="29" y="38"/>
                    </a:moveTo>
                    <a:lnTo>
                      <a:pt x="31" y="48"/>
                    </a:lnTo>
                    <a:lnTo>
                      <a:pt x="36" y="53"/>
                    </a:lnTo>
                    <a:lnTo>
                      <a:pt x="38" y="46"/>
                    </a:lnTo>
                    <a:lnTo>
                      <a:pt x="33" y="41"/>
                    </a:lnTo>
                    <a:lnTo>
                      <a:pt x="29" y="3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0" name="Czech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9F2D7F9-81BD-2578-C97F-8C044F27D35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76489" y="2073433"/>
                <a:ext cx="189786" cy="86923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1" name="Cyp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AEC849D-D914-0ECB-D72A-0B514FD6E66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686643" y="2623355"/>
                <a:ext cx="67401" cy="39028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2" name="Croat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0D0E13A-5BAE-8D64-7203-905CB691CCB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22606" y="2233088"/>
                <a:ext cx="164954" cy="124176"/>
              </a:xfrm>
              <a:custGeom>
                <a:avLst/>
                <a:gdLst>
                  <a:gd name="T0" fmla="*/ 2147483647 w 366"/>
                  <a:gd name="T1" fmla="*/ 2147483647 h 276"/>
                  <a:gd name="T2" fmla="*/ 2147483647 w 366"/>
                  <a:gd name="T3" fmla="*/ 2147483647 h 276"/>
                  <a:gd name="T4" fmla="*/ 2147483647 w 366"/>
                  <a:gd name="T5" fmla="*/ 2147483647 h 276"/>
                  <a:gd name="T6" fmla="*/ 2147483647 w 366"/>
                  <a:gd name="T7" fmla="*/ 2147483647 h 276"/>
                  <a:gd name="T8" fmla="*/ 2147483647 w 366"/>
                  <a:gd name="T9" fmla="*/ 2147483647 h 276"/>
                  <a:gd name="T10" fmla="*/ 2147483647 w 366"/>
                  <a:gd name="T11" fmla="*/ 2147483647 h 276"/>
                  <a:gd name="T12" fmla="*/ 2147483647 w 366"/>
                  <a:gd name="T13" fmla="*/ 2147483647 h 276"/>
                  <a:gd name="T14" fmla="*/ 2147483647 w 366"/>
                  <a:gd name="T15" fmla="*/ 2147483647 h 276"/>
                  <a:gd name="T16" fmla="*/ 2147483647 w 366"/>
                  <a:gd name="T17" fmla="*/ 2147483647 h 276"/>
                  <a:gd name="T18" fmla="*/ 2147483647 w 366"/>
                  <a:gd name="T19" fmla="*/ 2147483647 h 276"/>
                  <a:gd name="T20" fmla="*/ 2147483647 w 366"/>
                  <a:gd name="T21" fmla="*/ 2147483647 h 276"/>
                  <a:gd name="T22" fmla="*/ 2147483647 w 366"/>
                  <a:gd name="T23" fmla="*/ 0 h 276"/>
                  <a:gd name="T24" fmla="*/ 2147483647 w 366"/>
                  <a:gd name="T25" fmla="*/ 2147483647 h 276"/>
                  <a:gd name="T26" fmla="*/ 2147483647 w 366"/>
                  <a:gd name="T27" fmla="*/ 2147483647 h 276"/>
                  <a:gd name="T28" fmla="*/ 2147483647 w 366"/>
                  <a:gd name="T29" fmla="*/ 2147483647 h 276"/>
                  <a:gd name="T30" fmla="*/ 2147483647 w 366"/>
                  <a:gd name="T31" fmla="*/ 2147483647 h 276"/>
                  <a:gd name="T32" fmla="*/ 2147483647 w 366"/>
                  <a:gd name="T33" fmla="*/ 2147483647 h 276"/>
                  <a:gd name="T34" fmla="*/ 2147483647 w 366"/>
                  <a:gd name="T35" fmla="*/ 2147483647 h 276"/>
                  <a:gd name="T36" fmla="*/ 2147483647 w 366"/>
                  <a:gd name="T37" fmla="*/ 2147483647 h 276"/>
                  <a:gd name="T38" fmla="*/ 2147483647 w 366"/>
                  <a:gd name="T39" fmla="*/ 2147483647 h 276"/>
                  <a:gd name="T40" fmla="*/ 0 w 366"/>
                  <a:gd name="T41" fmla="*/ 2147483647 h 276"/>
                  <a:gd name="T42" fmla="*/ 2147483647 w 366"/>
                  <a:gd name="T43" fmla="*/ 2147483647 h 276"/>
                  <a:gd name="T44" fmla="*/ 2147483647 w 366"/>
                  <a:gd name="T45" fmla="*/ 2147483647 h 276"/>
                  <a:gd name="T46" fmla="*/ 2147483647 w 366"/>
                  <a:gd name="T47" fmla="*/ 2147483647 h 276"/>
                  <a:gd name="T48" fmla="*/ 2147483647 w 366"/>
                  <a:gd name="T49" fmla="*/ 2147483647 h 276"/>
                  <a:gd name="T50" fmla="*/ 2147483647 w 366"/>
                  <a:gd name="T51" fmla="*/ 2147483647 h 276"/>
                  <a:gd name="T52" fmla="*/ 2147483647 w 366"/>
                  <a:gd name="T53" fmla="*/ 2147483647 h 276"/>
                  <a:gd name="T54" fmla="*/ 2147483647 w 366"/>
                  <a:gd name="T55" fmla="*/ 2147483647 h 276"/>
                  <a:gd name="T56" fmla="*/ 2147483647 w 366"/>
                  <a:gd name="T57" fmla="*/ 2147483647 h 276"/>
                  <a:gd name="T58" fmla="*/ 2147483647 w 366"/>
                  <a:gd name="T59" fmla="*/ 2147483647 h 276"/>
                  <a:gd name="T60" fmla="*/ 2147483647 w 366"/>
                  <a:gd name="T61" fmla="*/ 2147483647 h 276"/>
                  <a:gd name="T62" fmla="*/ 2147483647 w 366"/>
                  <a:gd name="T63" fmla="*/ 2147483647 h 276"/>
                  <a:gd name="T64" fmla="*/ 2147483647 w 366"/>
                  <a:gd name="T65" fmla="*/ 2147483647 h 276"/>
                  <a:gd name="T66" fmla="*/ 2147483647 w 366"/>
                  <a:gd name="T67" fmla="*/ 2147483647 h 276"/>
                  <a:gd name="T68" fmla="*/ 2147483647 w 366"/>
                  <a:gd name="T69" fmla="*/ 2147483647 h 276"/>
                  <a:gd name="T70" fmla="*/ 2147483647 w 366"/>
                  <a:gd name="T71" fmla="*/ 2147483647 h 276"/>
                  <a:gd name="T72" fmla="*/ 2147483647 w 366"/>
                  <a:gd name="T73" fmla="*/ 2147483647 h 276"/>
                  <a:gd name="T74" fmla="*/ 2147483647 w 366"/>
                  <a:gd name="T75" fmla="*/ 2147483647 h 276"/>
                  <a:gd name="T76" fmla="*/ 2147483647 w 366"/>
                  <a:gd name="T77" fmla="*/ 2147483647 h 276"/>
                  <a:gd name="T78" fmla="*/ 2147483647 w 366"/>
                  <a:gd name="T79" fmla="*/ 2147483647 h 276"/>
                  <a:gd name="T80" fmla="*/ 2147483647 w 366"/>
                  <a:gd name="T81" fmla="*/ 2147483647 h 276"/>
                  <a:gd name="T82" fmla="*/ 2147483647 w 366"/>
                  <a:gd name="T83" fmla="*/ 2147483647 h 276"/>
                  <a:gd name="T84" fmla="*/ 2147483647 w 366"/>
                  <a:gd name="T85" fmla="*/ 2147483647 h 276"/>
                  <a:gd name="T86" fmla="*/ 2147483647 w 366"/>
                  <a:gd name="T87" fmla="*/ 2147483647 h 276"/>
                  <a:gd name="T88" fmla="*/ 2147483647 w 366"/>
                  <a:gd name="T89" fmla="*/ 2147483647 h 276"/>
                  <a:gd name="T90" fmla="*/ 2147483647 w 366"/>
                  <a:gd name="T91" fmla="*/ 2147483647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6"/>
                  <a:gd name="T139" fmla="*/ 0 h 276"/>
                  <a:gd name="T140" fmla="*/ 366 w 366"/>
                  <a:gd name="T141" fmla="*/ 276 h 27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6" h="276">
                    <a:moveTo>
                      <a:pt x="342" y="126"/>
                    </a:moveTo>
                    <a:lnTo>
                      <a:pt x="342" y="114"/>
                    </a:lnTo>
                    <a:lnTo>
                      <a:pt x="348" y="114"/>
                    </a:lnTo>
                    <a:lnTo>
                      <a:pt x="354" y="108"/>
                    </a:lnTo>
                    <a:lnTo>
                      <a:pt x="360" y="108"/>
                    </a:lnTo>
                    <a:lnTo>
                      <a:pt x="366" y="102"/>
                    </a:lnTo>
                    <a:lnTo>
                      <a:pt x="360" y="102"/>
                    </a:lnTo>
                    <a:lnTo>
                      <a:pt x="348" y="96"/>
                    </a:lnTo>
                    <a:lnTo>
                      <a:pt x="336" y="96"/>
                    </a:lnTo>
                    <a:lnTo>
                      <a:pt x="342" y="78"/>
                    </a:lnTo>
                    <a:lnTo>
                      <a:pt x="336" y="78"/>
                    </a:lnTo>
                    <a:lnTo>
                      <a:pt x="330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70" y="60"/>
                    </a:lnTo>
                    <a:lnTo>
                      <a:pt x="264" y="48"/>
                    </a:lnTo>
                    <a:lnTo>
                      <a:pt x="246" y="48"/>
                    </a:lnTo>
                    <a:lnTo>
                      <a:pt x="234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04" y="18"/>
                    </a:lnTo>
                    <a:lnTo>
                      <a:pt x="204" y="12"/>
                    </a:lnTo>
                    <a:lnTo>
                      <a:pt x="198" y="6"/>
                    </a:lnTo>
                    <a:lnTo>
                      <a:pt x="186" y="0"/>
                    </a:lnTo>
                    <a:lnTo>
                      <a:pt x="162" y="0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20" y="18"/>
                    </a:lnTo>
                    <a:lnTo>
                      <a:pt x="120" y="30"/>
                    </a:lnTo>
                    <a:lnTo>
                      <a:pt x="126" y="36"/>
                    </a:lnTo>
                    <a:lnTo>
                      <a:pt x="126" y="42"/>
                    </a:lnTo>
                    <a:lnTo>
                      <a:pt x="114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60" y="78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48" y="78"/>
                    </a:lnTo>
                    <a:lnTo>
                      <a:pt x="30" y="78"/>
                    </a:lnTo>
                    <a:lnTo>
                      <a:pt x="18" y="72"/>
                    </a:lnTo>
                    <a:lnTo>
                      <a:pt x="18" y="84"/>
                    </a:lnTo>
                    <a:lnTo>
                      <a:pt x="0" y="84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12" y="120"/>
                    </a:lnTo>
                    <a:lnTo>
                      <a:pt x="24" y="114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14"/>
                    </a:lnTo>
                    <a:lnTo>
                      <a:pt x="48" y="132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44"/>
                    </a:lnTo>
                    <a:lnTo>
                      <a:pt x="72" y="150"/>
                    </a:lnTo>
                    <a:lnTo>
                      <a:pt x="84" y="162"/>
                    </a:lnTo>
                    <a:lnTo>
                      <a:pt x="96" y="168"/>
                    </a:lnTo>
                    <a:lnTo>
                      <a:pt x="96" y="180"/>
                    </a:lnTo>
                    <a:lnTo>
                      <a:pt x="144" y="216"/>
                    </a:lnTo>
                    <a:lnTo>
                      <a:pt x="144" y="240"/>
                    </a:lnTo>
                    <a:lnTo>
                      <a:pt x="198" y="240"/>
                    </a:lnTo>
                    <a:lnTo>
                      <a:pt x="210" y="246"/>
                    </a:lnTo>
                    <a:lnTo>
                      <a:pt x="216" y="252"/>
                    </a:lnTo>
                    <a:lnTo>
                      <a:pt x="216" y="276"/>
                    </a:lnTo>
                    <a:lnTo>
                      <a:pt x="246" y="276"/>
                    </a:lnTo>
                    <a:lnTo>
                      <a:pt x="252" y="270"/>
                    </a:lnTo>
                    <a:lnTo>
                      <a:pt x="252" y="264"/>
                    </a:lnTo>
                    <a:lnTo>
                      <a:pt x="246" y="252"/>
                    </a:lnTo>
                    <a:lnTo>
                      <a:pt x="234" y="246"/>
                    </a:lnTo>
                    <a:lnTo>
                      <a:pt x="216" y="234"/>
                    </a:lnTo>
                    <a:lnTo>
                      <a:pt x="204" y="228"/>
                    </a:lnTo>
                    <a:lnTo>
                      <a:pt x="192" y="216"/>
                    </a:lnTo>
                    <a:lnTo>
                      <a:pt x="180" y="186"/>
                    </a:lnTo>
                    <a:lnTo>
                      <a:pt x="162" y="180"/>
                    </a:lnTo>
                    <a:lnTo>
                      <a:pt x="162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50" y="144"/>
                    </a:lnTo>
                    <a:lnTo>
                      <a:pt x="132" y="138"/>
                    </a:lnTo>
                    <a:lnTo>
                      <a:pt x="120" y="126"/>
                    </a:lnTo>
                    <a:lnTo>
                      <a:pt x="138" y="120"/>
                    </a:lnTo>
                    <a:lnTo>
                      <a:pt x="138" y="96"/>
                    </a:lnTo>
                    <a:lnTo>
                      <a:pt x="144" y="96"/>
                    </a:lnTo>
                    <a:lnTo>
                      <a:pt x="150" y="102"/>
                    </a:lnTo>
                    <a:lnTo>
                      <a:pt x="162" y="108"/>
                    </a:lnTo>
                    <a:lnTo>
                      <a:pt x="186" y="102"/>
                    </a:lnTo>
                    <a:lnTo>
                      <a:pt x="210" y="102"/>
                    </a:lnTo>
                    <a:lnTo>
                      <a:pt x="228" y="108"/>
                    </a:lnTo>
                    <a:lnTo>
                      <a:pt x="240" y="102"/>
                    </a:lnTo>
                    <a:lnTo>
                      <a:pt x="252" y="102"/>
                    </a:lnTo>
                    <a:lnTo>
                      <a:pt x="258" y="108"/>
                    </a:lnTo>
                    <a:lnTo>
                      <a:pt x="312" y="108"/>
                    </a:lnTo>
                    <a:lnTo>
                      <a:pt x="324" y="126"/>
                    </a:lnTo>
                    <a:lnTo>
                      <a:pt x="342" y="126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3" name="Bulga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8BD8721-09F7-88DA-9C54-D441EC9D95A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8019" y="2316463"/>
                <a:ext cx="177370" cy="101116"/>
              </a:xfrm>
              <a:custGeom>
                <a:avLst/>
                <a:gdLst>
                  <a:gd name="T0" fmla="*/ 2147483647 w 396"/>
                  <a:gd name="T1" fmla="*/ 2147483647 h 228"/>
                  <a:gd name="T2" fmla="*/ 2147483647 w 396"/>
                  <a:gd name="T3" fmla="*/ 2147483647 h 228"/>
                  <a:gd name="T4" fmla="*/ 2147483647 w 396"/>
                  <a:gd name="T5" fmla="*/ 2147483647 h 228"/>
                  <a:gd name="T6" fmla="*/ 2147483647 w 396"/>
                  <a:gd name="T7" fmla="*/ 2147483647 h 228"/>
                  <a:gd name="T8" fmla="*/ 2147483647 w 396"/>
                  <a:gd name="T9" fmla="*/ 2147483647 h 228"/>
                  <a:gd name="T10" fmla="*/ 2147483647 w 396"/>
                  <a:gd name="T11" fmla="*/ 2147483647 h 228"/>
                  <a:gd name="T12" fmla="*/ 2147483647 w 396"/>
                  <a:gd name="T13" fmla="*/ 2147483647 h 228"/>
                  <a:gd name="T14" fmla="*/ 2147483647 w 396"/>
                  <a:gd name="T15" fmla="*/ 0 h 228"/>
                  <a:gd name="T16" fmla="*/ 2147483647 w 396"/>
                  <a:gd name="T17" fmla="*/ 2147483647 h 228"/>
                  <a:gd name="T18" fmla="*/ 2147483647 w 396"/>
                  <a:gd name="T19" fmla="*/ 2147483647 h 228"/>
                  <a:gd name="T20" fmla="*/ 2147483647 w 396"/>
                  <a:gd name="T21" fmla="*/ 2147483647 h 228"/>
                  <a:gd name="T22" fmla="*/ 2147483647 w 396"/>
                  <a:gd name="T23" fmla="*/ 2147483647 h 228"/>
                  <a:gd name="T24" fmla="*/ 2147483647 w 396"/>
                  <a:gd name="T25" fmla="*/ 2147483647 h 228"/>
                  <a:gd name="T26" fmla="*/ 2147483647 w 396"/>
                  <a:gd name="T27" fmla="*/ 2147483647 h 228"/>
                  <a:gd name="T28" fmla="*/ 2147483647 w 396"/>
                  <a:gd name="T29" fmla="*/ 2147483647 h 228"/>
                  <a:gd name="T30" fmla="*/ 2147483647 w 396"/>
                  <a:gd name="T31" fmla="*/ 2147483647 h 228"/>
                  <a:gd name="T32" fmla="*/ 2147483647 w 396"/>
                  <a:gd name="T33" fmla="*/ 2147483647 h 228"/>
                  <a:gd name="T34" fmla="*/ 2147483647 w 396"/>
                  <a:gd name="T35" fmla="*/ 2147483647 h 228"/>
                  <a:gd name="T36" fmla="*/ 2147483647 w 396"/>
                  <a:gd name="T37" fmla="*/ 2147483647 h 228"/>
                  <a:gd name="T38" fmla="*/ 2147483647 w 396"/>
                  <a:gd name="T39" fmla="*/ 2147483647 h 228"/>
                  <a:gd name="T40" fmla="*/ 2147483647 w 396"/>
                  <a:gd name="T41" fmla="*/ 2147483647 h 228"/>
                  <a:gd name="T42" fmla="*/ 2147483647 w 396"/>
                  <a:gd name="T43" fmla="*/ 0 h 228"/>
                  <a:gd name="T44" fmla="*/ 0 w 396"/>
                  <a:gd name="T45" fmla="*/ 2147483647 h 228"/>
                  <a:gd name="T46" fmla="*/ 2147483647 w 396"/>
                  <a:gd name="T47" fmla="*/ 2147483647 h 228"/>
                  <a:gd name="T48" fmla="*/ 2147483647 w 396"/>
                  <a:gd name="T49" fmla="*/ 2147483647 h 228"/>
                  <a:gd name="T50" fmla="*/ 2147483647 w 396"/>
                  <a:gd name="T51" fmla="*/ 2147483647 h 228"/>
                  <a:gd name="T52" fmla="*/ 2147483647 w 396"/>
                  <a:gd name="T53" fmla="*/ 2147483647 h 228"/>
                  <a:gd name="T54" fmla="*/ 2147483647 w 396"/>
                  <a:gd name="T55" fmla="*/ 2147483647 h 228"/>
                  <a:gd name="T56" fmla="*/ 0 w 396"/>
                  <a:gd name="T57" fmla="*/ 2147483647 h 228"/>
                  <a:gd name="T58" fmla="*/ 2147483647 w 396"/>
                  <a:gd name="T59" fmla="*/ 2147483647 h 228"/>
                  <a:gd name="T60" fmla="*/ 2147483647 w 396"/>
                  <a:gd name="T61" fmla="*/ 2147483647 h 228"/>
                  <a:gd name="T62" fmla="*/ 2147483647 w 396"/>
                  <a:gd name="T63" fmla="*/ 2147483647 h 228"/>
                  <a:gd name="T64" fmla="*/ 2147483647 w 396"/>
                  <a:gd name="T65" fmla="*/ 2147483647 h 228"/>
                  <a:gd name="T66" fmla="*/ 2147483647 w 396"/>
                  <a:gd name="T67" fmla="*/ 2147483647 h 228"/>
                  <a:gd name="T68" fmla="*/ 2147483647 w 396"/>
                  <a:gd name="T69" fmla="*/ 2147483647 h 228"/>
                  <a:gd name="T70" fmla="*/ 2147483647 w 396"/>
                  <a:gd name="T71" fmla="*/ 2147483647 h 228"/>
                  <a:gd name="T72" fmla="*/ 2147483647 w 396"/>
                  <a:gd name="T73" fmla="*/ 2147483647 h 228"/>
                  <a:gd name="T74" fmla="*/ 2147483647 w 396"/>
                  <a:gd name="T75" fmla="*/ 2147483647 h 228"/>
                  <a:gd name="T76" fmla="*/ 2147483647 w 396"/>
                  <a:gd name="T77" fmla="*/ 2147483647 h 228"/>
                  <a:gd name="T78" fmla="*/ 2147483647 w 396"/>
                  <a:gd name="T79" fmla="*/ 2147483647 h 228"/>
                  <a:gd name="T80" fmla="*/ 2147483647 w 396"/>
                  <a:gd name="T81" fmla="*/ 2147483647 h 228"/>
                  <a:gd name="T82" fmla="*/ 2147483647 w 396"/>
                  <a:gd name="T83" fmla="*/ 2147483647 h 228"/>
                  <a:gd name="T84" fmla="*/ 2147483647 w 396"/>
                  <a:gd name="T85" fmla="*/ 2147483647 h 228"/>
                  <a:gd name="T86" fmla="*/ 2147483647 w 396"/>
                  <a:gd name="T87" fmla="*/ 2147483647 h 228"/>
                  <a:gd name="T88" fmla="*/ 2147483647 w 396"/>
                  <a:gd name="T89" fmla="*/ 2147483647 h 228"/>
                  <a:gd name="T90" fmla="*/ 2147483647 w 396"/>
                  <a:gd name="T91" fmla="*/ 2147483647 h 228"/>
                  <a:gd name="T92" fmla="*/ 2147483647 w 396"/>
                  <a:gd name="T93" fmla="*/ 2147483647 h 2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228"/>
                  <a:gd name="T143" fmla="*/ 396 w 396"/>
                  <a:gd name="T144" fmla="*/ 228 h 2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228">
                    <a:moveTo>
                      <a:pt x="372" y="168"/>
                    </a:moveTo>
                    <a:lnTo>
                      <a:pt x="336" y="126"/>
                    </a:lnTo>
                    <a:lnTo>
                      <a:pt x="354" y="108"/>
                    </a:lnTo>
                    <a:lnTo>
                      <a:pt x="354" y="78"/>
                    </a:lnTo>
                    <a:lnTo>
                      <a:pt x="360" y="72"/>
                    </a:lnTo>
                    <a:lnTo>
                      <a:pt x="372" y="66"/>
                    </a:lnTo>
                    <a:lnTo>
                      <a:pt x="396" y="66"/>
                    </a:lnTo>
                    <a:lnTo>
                      <a:pt x="396" y="48"/>
                    </a:lnTo>
                    <a:lnTo>
                      <a:pt x="390" y="36"/>
                    </a:lnTo>
                    <a:lnTo>
                      <a:pt x="372" y="36"/>
                    </a:lnTo>
                    <a:lnTo>
                      <a:pt x="348" y="12"/>
                    </a:lnTo>
                    <a:lnTo>
                      <a:pt x="324" y="12"/>
                    </a:lnTo>
                    <a:lnTo>
                      <a:pt x="312" y="6"/>
                    </a:lnTo>
                    <a:lnTo>
                      <a:pt x="300" y="6"/>
                    </a:lnTo>
                    <a:lnTo>
                      <a:pt x="288" y="0"/>
                    </a:lnTo>
                    <a:lnTo>
                      <a:pt x="282" y="0"/>
                    </a:lnTo>
                    <a:lnTo>
                      <a:pt x="282" y="12"/>
                    </a:lnTo>
                    <a:lnTo>
                      <a:pt x="252" y="6"/>
                    </a:lnTo>
                    <a:lnTo>
                      <a:pt x="252" y="12"/>
                    </a:lnTo>
                    <a:lnTo>
                      <a:pt x="246" y="12"/>
                    </a:lnTo>
                    <a:lnTo>
                      <a:pt x="234" y="18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22" y="36"/>
                    </a:lnTo>
                    <a:lnTo>
                      <a:pt x="216" y="42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56" y="30"/>
                    </a:lnTo>
                    <a:lnTo>
                      <a:pt x="138" y="24"/>
                    </a:lnTo>
                    <a:lnTo>
                      <a:pt x="138" y="30"/>
                    </a:lnTo>
                    <a:lnTo>
                      <a:pt x="132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0" y="30"/>
                    </a:lnTo>
                    <a:lnTo>
                      <a:pt x="66" y="18"/>
                    </a:lnTo>
                    <a:lnTo>
                      <a:pt x="54" y="30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12" y="12"/>
                    </a:lnTo>
                    <a:lnTo>
                      <a:pt x="0" y="24"/>
                    </a:lnTo>
                    <a:lnTo>
                      <a:pt x="0" y="42"/>
                    </a:lnTo>
                    <a:lnTo>
                      <a:pt x="18" y="48"/>
                    </a:lnTo>
                    <a:lnTo>
                      <a:pt x="12" y="60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14"/>
                    </a:lnTo>
                    <a:lnTo>
                      <a:pt x="12" y="138"/>
                    </a:lnTo>
                    <a:lnTo>
                      <a:pt x="0" y="138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68"/>
                    </a:lnTo>
                    <a:lnTo>
                      <a:pt x="36" y="180"/>
                    </a:lnTo>
                    <a:lnTo>
                      <a:pt x="42" y="186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66" y="228"/>
                    </a:lnTo>
                    <a:lnTo>
                      <a:pt x="78" y="222"/>
                    </a:lnTo>
                    <a:lnTo>
                      <a:pt x="84" y="216"/>
                    </a:lnTo>
                    <a:lnTo>
                      <a:pt x="108" y="222"/>
                    </a:lnTo>
                    <a:lnTo>
                      <a:pt x="114" y="204"/>
                    </a:lnTo>
                    <a:lnTo>
                      <a:pt x="144" y="198"/>
                    </a:lnTo>
                    <a:lnTo>
                      <a:pt x="144" y="204"/>
                    </a:lnTo>
                    <a:lnTo>
                      <a:pt x="162" y="22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92" y="228"/>
                    </a:lnTo>
                    <a:lnTo>
                      <a:pt x="204" y="228"/>
                    </a:lnTo>
                    <a:lnTo>
                      <a:pt x="216" y="216"/>
                    </a:lnTo>
                    <a:lnTo>
                      <a:pt x="228" y="228"/>
                    </a:lnTo>
                    <a:lnTo>
                      <a:pt x="246" y="228"/>
                    </a:lnTo>
                    <a:lnTo>
                      <a:pt x="252" y="222"/>
                    </a:lnTo>
                    <a:lnTo>
                      <a:pt x="252" y="204"/>
                    </a:lnTo>
                    <a:lnTo>
                      <a:pt x="246" y="198"/>
                    </a:lnTo>
                    <a:lnTo>
                      <a:pt x="264" y="192"/>
                    </a:lnTo>
                    <a:lnTo>
                      <a:pt x="282" y="168"/>
                    </a:lnTo>
                    <a:lnTo>
                      <a:pt x="312" y="174"/>
                    </a:lnTo>
                    <a:lnTo>
                      <a:pt x="324" y="156"/>
                    </a:lnTo>
                    <a:lnTo>
                      <a:pt x="336" y="174"/>
                    </a:lnTo>
                    <a:lnTo>
                      <a:pt x="348" y="174"/>
                    </a:lnTo>
                    <a:lnTo>
                      <a:pt x="360" y="180"/>
                    </a:lnTo>
                    <a:lnTo>
                      <a:pt x="372" y="180"/>
                    </a:lnTo>
                    <a:lnTo>
                      <a:pt x="37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4" name="Bosnia and Herzegov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20B4C99-0BCF-FF5F-A2B7-B598B27D837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177590" y="2275662"/>
                <a:ext cx="118839" cy="106437"/>
              </a:xfrm>
              <a:custGeom>
                <a:avLst/>
                <a:gdLst>
                  <a:gd name="T0" fmla="*/ 2147483647 w 264"/>
                  <a:gd name="T1" fmla="*/ 2147483647 h 234"/>
                  <a:gd name="T2" fmla="*/ 2147483647 w 264"/>
                  <a:gd name="T3" fmla="*/ 2147483647 h 234"/>
                  <a:gd name="T4" fmla="*/ 2147483647 w 264"/>
                  <a:gd name="T5" fmla="*/ 2147483647 h 234"/>
                  <a:gd name="T6" fmla="*/ 2147483647 w 264"/>
                  <a:gd name="T7" fmla="*/ 2147483647 h 234"/>
                  <a:gd name="T8" fmla="*/ 2147483647 w 264"/>
                  <a:gd name="T9" fmla="*/ 2147483647 h 234"/>
                  <a:gd name="T10" fmla="*/ 2147483647 w 264"/>
                  <a:gd name="T11" fmla="*/ 2147483647 h 234"/>
                  <a:gd name="T12" fmla="*/ 2147483647 w 264"/>
                  <a:gd name="T13" fmla="*/ 2147483647 h 234"/>
                  <a:gd name="T14" fmla="*/ 2147483647 w 264"/>
                  <a:gd name="T15" fmla="*/ 2147483647 h 234"/>
                  <a:gd name="T16" fmla="*/ 2147483647 w 264"/>
                  <a:gd name="T17" fmla="*/ 2147483647 h 234"/>
                  <a:gd name="T18" fmla="*/ 2147483647 w 264"/>
                  <a:gd name="T19" fmla="*/ 2147483647 h 234"/>
                  <a:gd name="T20" fmla="*/ 2147483647 w 264"/>
                  <a:gd name="T21" fmla="*/ 2147483647 h 234"/>
                  <a:gd name="T22" fmla="*/ 2147483647 w 264"/>
                  <a:gd name="T23" fmla="*/ 2147483647 h 234"/>
                  <a:gd name="T24" fmla="*/ 2147483647 w 264"/>
                  <a:gd name="T25" fmla="*/ 2147483647 h 234"/>
                  <a:gd name="T26" fmla="*/ 2147483647 w 264"/>
                  <a:gd name="T27" fmla="*/ 2147483647 h 234"/>
                  <a:gd name="T28" fmla="*/ 2147483647 w 264"/>
                  <a:gd name="T29" fmla="*/ 2147483647 h 234"/>
                  <a:gd name="T30" fmla="*/ 2147483647 w 264"/>
                  <a:gd name="T31" fmla="*/ 2147483647 h 234"/>
                  <a:gd name="T32" fmla="*/ 2147483647 w 264"/>
                  <a:gd name="T33" fmla="*/ 2147483647 h 234"/>
                  <a:gd name="T34" fmla="*/ 2147483647 w 264"/>
                  <a:gd name="T35" fmla="*/ 2147483647 h 234"/>
                  <a:gd name="T36" fmla="*/ 2147483647 w 264"/>
                  <a:gd name="T37" fmla="*/ 2147483647 h 234"/>
                  <a:gd name="T38" fmla="*/ 2147483647 w 264"/>
                  <a:gd name="T39" fmla="*/ 0 h 234"/>
                  <a:gd name="T40" fmla="*/ 2147483647 w 264"/>
                  <a:gd name="T41" fmla="*/ 0 h 234"/>
                  <a:gd name="T42" fmla="*/ 2147483647 w 264"/>
                  <a:gd name="T43" fmla="*/ 2147483647 h 234"/>
                  <a:gd name="T44" fmla="*/ 0 w 264"/>
                  <a:gd name="T45" fmla="*/ 2147483647 h 234"/>
                  <a:gd name="T46" fmla="*/ 2147483647 w 264"/>
                  <a:gd name="T47" fmla="*/ 2147483647 h 234"/>
                  <a:gd name="T48" fmla="*/ 2147483647 w 264"/>
                  <a:gd name="T49" fmla="*/ 2147483647 h 234"/>
                  <a:gd name="T50" fmla="*/ 2147483647 w 264"/>
                  <a:gd name="T51" fmla="*/ 2147483647 h 234"/>
                  <a:gd name="T52" fmla="*/ 2147483647 w 264"/>
                  <a:gd name="T53" fmla="*/ 2147483647 h 234"/>
                  <a:gd name="T54" fmla="*/ 2147483647 w 264"/>
                  <a:gd name="T55" fmla="*/ 2147483647 h 234"/>
                  <a:gd name="T56" fmla="*/ 2147483647 w 264"/>
                  <a:gd name="T57" fmla="*/ 2147483647 h 234"/>
                  <a:gd name="T58" fmla="*/ 2147483647 w 264"/>
                  <a:gd name="T59" fmla="*/ 2147483647 h 234"/>
                  <a:gd name="T60" fmla="*/ 2147483647 w 264"/>
                  <a:gd name="T61" fmla="*/ 2147483647 h 234"/>
                  <a:gd name="T62" fmla="*/ 2147483647 w 264"/>
                  <a:gd name="T63" fmla="*/ 2147483647 h 234"/>
                  <a:gd name="T64" fmla="*/ 2147483647 w 264"/>
                  <a:gd name="T65" fmla="*/ 2147483647 h 234"/>
                  <a:gd name="T66" fmla="*/ 2147483647 w 264"/>
                  <a:gd name="T67" fmla="*/ 2147483647 h 234"/>
                  <a:gd name="T68" fmla="*/ 2147483647 w 264"/>
                  <a:gd name="T69" fmla="*/ 2147483647 h 234"/>
                  <a:gd name="T70" fmla="*/ 2147483647 w 264"/>
                  <a:gd name="T71" fmla="*/ 2147483647 h 234"/>
                  <a:gd name="T72" fmla="*/ 2147483647 w 264"/>
                  <a:gd name="T73" fmla="*/ 2147483647 h 234"/>
                  <a:gd name="T74" fmla="*/ 2147483647 w 264"/>
                  <a:gd name="T75" fmla="*/ 2147483647 h 234"/>
                  <a:gd name="T76" fmla="*/ 2147483647 w 264"/>
                  <a:gd name="T77" fmla="*/ 2147483647 h 234"/>
                  <a:gd name="T78" fmla="*/ 2147483647 w 264"/>
                  <a:gd name="T79" fmla="*/ 2147483647 h 234"/>
                  <a:gd name="T80" fmla="*/ 2147483647 w 264"/>
                  <a:gd name="T81" fmla="*/ 2147483647 h 234"/>
                  <a:gd name="T82" fmla="*/ 2147483647 w 264"/>
                  <a:gd name="T83" fmla="*/ 2147483647 h 234"/>
                  <a:gd name="T84" fmla="*/ 2147483647 w 264"/>
                  <a:gd name="T85" fmla="*/ 2147483647 h 234"/>
                  <a:gd name="T86" fmla="*/ 2147483647 w 264"/>
                  <a:gd name="T87" fmla="*/ 2147483647 h 234"/>
                  <a:gd name="T88" fmla="*/ 2147483647 w 264"/>
                  <a:gd name="T89" fmla="*/ 2147483647 h 234"/>
                  <a:gd name="T90" fmla="*/ 2147483647 w 264"/>
                  <a:gd name="T91" fmla="*/ 2147483647 h 234"/>
                  <a:gd name="T92" fmla="*/ 2147483647 w 264"/>
                  <a:gd name="T93" fmla="*/ 2147483647 h 234"/>
                  <a:gd name="T94" fmla="*/ 2147483647 w 264"/>
                  <a:gd name="T95" fmla="*/ 2147483647 h 234"/>
                  <a:gd name="T96" fmla="*/ 2147483647 w 264"/>
                  <a:gd name="T97" fmla="*/ 2147483647 h 234"/>
                  <a:gd name="T98" fmla="*/ 2147483647 w 264"/>
                  <a:gd name="T99" fmla="*/ 2147483647 h 234"/>
                  <a:gd name="T100" fmla="*/ 2147483647 w 264"/>
                  <a:gd name="T101" fmla="*/ 2147483647 h 234"/>
                  <a:gd name="T102" fmla="*/ 2147483647 w 264"/>
                  <a:gd name="T103" fmla="*/ 2147483647 h 234"/>
                  <a:gd name="T104" fmla="*/ 2147483647 w 264"/>
                  <a:gd name="T105" fmla="*/ 2147483647 h 234"/>
                  <a:gd name="T106" fmla="*/ 2147483647 w 264"/>
                  <a:gd name="T107" fmla="*/ 2147483647 h 234"/>
                  <a:gd name="T108" fmla="*/ 2147483647 w 264"/>
                  <a:gd name="T109" fmla="*/ 2147483647 h 234"/>
                  <a:gd name="T110" fmla="*/ 2147483647 w 264"/>
                  <a:gd name="T111" fmla="*/ 2147483647 h 234"/>
                  <a:gd name="T112" fmla="*/ 2147483647 w 264"/>
                  <a:gd name="T113" fmla="*/ 2147483647 h 234"/>
                  <a:gd name="T114" fmla="*/ 2147483647 w 264"/>
                  <a:gd name="T115" fmla="*/ 2147483647 h 234"/>
                  <a:gd name="T116" fmla="*/ 2147483647 w 264"/>
                  <a:gd name="T117" fmla="*/ 2147483647 h 234"/>
                  <a:gd name="T118" fmla="*/ 2147483647 w 264"/>
                  <a:gd name="T119" fmla="*/ 2147483647 h 234"/>
                  <a:gd name="T120" fmla="*/ 2147483647 w 264"/>
                  <a:gd name="T121" fmla="*/ 2147483647 h 234"/>
                  <a:gd name="T122" fmla="*/ 2147483647 w 264"/>
                  <a:gd name="T123" fmla="*/ 2147483647 h 234"/>
                  <a:gd name="T124" fmla="*/ 2147483647 w 264"/>
                  <a:gd name="T125" fmla="*/ 2147483647 h 23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4"/>
                  <a:gd name="T190" fmla="*/ 0 h 234"/>
                  <a:gd name="T191" fmla="*/ 264 w 264"/>
                  <a:gd name="T192" fmla="*/ 234 h 23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4" h="234">
                    <a:moveTo>
                      <a:pt x="246" y="78"/>
                    </a:moveTo>
                    <a:lnTo>
                      <a:pt x="228" y="78"/>
                    </a:lnTo>
                    <a:lnTo>
                      <a:pt x="228" y="60"/>
                    </a:lnTo>
                    <a:lnTo>
                      <a:pt x="246" y="42"/>
                    </a:lnTo>
                    <a:lnTo>
                      <a:pt x="246" y="30"/>
                    </a:lnTo>
                    <a:lnTo>
                      <a:pt x="234" y="30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04" y="30"/>
                    </a:lnTo>
                    <a:lnTo>
                      <a:pt x="192" y="12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20" y="6"/>
                    </a:lnTo>
                    <a:lnTo>
                      <a:pt x="108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4"/>
                    </a:lnTo>
                    <a:lnTo>
                      <a:pt x="0" y="30"/>
                    </a:lnTo>
                    <a:lnTo>
                      <a:pt x="12" y="42"/>
                    </a:lnTo>
                    <a:lnTo>
                      <a:pt x="30" y="48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42" y="66"/>
                    </a:lnTo>
                    <a:lnTo>
                      <a:pt x="42" y="84"/>
                    </a:lnTo>
                    <a:lnTo>
                      <a:pt x="60" y="90"/>
                    </a:lnTo>
                    <a:lnTo>
                      <a:pt x="72" y="120"/>
                    </a:lnTo>
                    <a:lnTo>
                      <a:pt x="84" y="132"/>
                    </a:lnTo>
                    <a:lnTo>
                      <a:pt x="96" y="138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2" y="168"/>
                    </a:lnTo>
                    <a:lnTo>
                      <a:pt x="132" y="174"/>
                    </a:lnTo>
                    <a:lnTo>
                      <a:pt x="126" y="180"/>
                    </a:lnTo>
                    <a:lnTo>
                      <a:pt x="138" y="180"/>
                    </a:lnTo>
                    <a:lnTo>
                      <a:pt x="156" y="198"/>
                    </a:lnTo>
                    <a:lnTo>
                      <a:pt x="162" y="210"/>
                    </a:lnTo>
                    <a:lnTo>
                      <a:pt x="174" y="216"/>
                    </a:lnTo>
                    <a:lnTo>
                      <a:pt x="192" y="234"/>
                    </a:lnTo>
                    <a:lnTo>
                      <a:pt x="210" y="204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8" y="180"/>
                    </a:lnTo>
                    <a:lnTo>
                      <a:pt x="204" y="168"/>
                    </a:lnTo>
                    <a:lnTo>
                      <a:pt x="204" y="162"/>
                    </a:lnTo>
                    <a:lnTo>
                      <a:pt x="210" y="156"/>
                    </a:lnTo>
                    <a:lnTo>
                      <a:pt x="228" y="156"/>
                    </a:lnTo>
                    <a:lnTo>
                      <a:pt x="228" y="132"/>
                    </a:lnTo>
                    <a:lnTo>
                      <a:pt x="258" y="132"/>
                    </a:lnTo>
                    <a:lnTo>
                      <a:pt x="258" y="126"/>
                    </a:lnTo>
                    <a:lnTo>
                      <a:pt x="252" y="114"/>
                    </a:lnTo>
                    <a:lnTo>
                      <a:pt x="240" y="102"/>
                    </a:lnTo>
                    <a:lnTo>
                      <a:pt x="264" y="96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5" name="Belgiu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D0151F9-78A3-6F80-A767-8F93E03416A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817528" y="2059241"/>
                <a:ext cx="101100" cy="69184"/>
              </a:xfrm>
              <a:custGeom>
                <a:avLst/>
                <a:gdLst>
                  <a:gd name="T0" fmla="*/ 0 w 222"/>
                  <a:gd name="T1" fmla="*/ 2147483647 h 150"/>
                  <a:gd name="T2" fmla="*/ 2147483647 w 222"/>
                  <a:gd name="T3" fmla="*/ 2147483647 h 150"/>
                  <a:gd name="T4" fmla="*/ 2147483647 w 222"/>
                  <a:gd name="T5" fmla="*/ 2147483647 h 150"/>
                  <a:gd name="T6" fmla="*/ 2147483647 w 222"/>
                  <a:gd name="T7" fmla="*/ 2147483647 h 150"/>
                  <a:gd name="T8" fmla="*/ 2147483647 w 222"/>
                  <a:gd name="T9" fmla="*/ 2147483647 h 150"/>
                  <a:gd name="T10" fmla="*/ 2147483647 w 222"/>
                  <a:gd name="T11" fmla="*/ 2147483647 h 150"/>
                  <a:gd name="T12" fmla="*/ 2147483647 w 222"/>
                  <a:gd name="T13" fmla="*/ 2147483647 h 150"/>
                  <a:gd name="T14" fmla="*/ 2147483647 w 222"/>
                  <a:gd name="T15" fmla="*/ 2147483647 h 150"/>
                  <a:gd name="T16" fmla="*/ 2147483647 w 222"/>
                  <a:gd name="T17" fmla="*/ 2147483647 h 150"/>
                  <a:gd name="T18" fmla="*/ 2147483647 w 222"/>
                  <a:gd name="T19" fmla="*/ 2147483647 h 150"/>
                  <a:gd name="T20" fmla="*/ 2147483647 w 222"/>
                  <a:gd name="T21" fmla="*/ 2147483647 h 150"/>
                  <a:gd name="T22" fmla="*/ 2147483647 w 222"/>
                  <a:gd name="T23" fmla="*/ 2147483647 h 150"/>
                  <a:gd name="T24" fmla="*/ 2147483647 w 222"/>
                  <a:gd name="T25" fmla="*/ 2147483647 h 150"/>
                  <a:gd name="T26" fmla="*/ 2147483647 w 222"/>
                  <a:gd name="T27" fmla="*/ 2147483647 h 150"/>
                  <a:gd name="T28" fmla="*/ 2147483647 w 222"/>
                  <a:gd name="T29" fmla="*/ 2147483647 h 150"/>
                  <a:gd name="T30" fmla="*/ 2147483647 w 222"/>
                  <a:gd name="T31" fmla="*/ 2147483647 h 150"/>
                  <a:gd name="T32" fmla="*/ 2147483647 w 222"/>
                  <a:gd name="T33" fmla="*/ 2147483647 h 150"/>
                  <a:gd name="T34" fmla="*/ 2147483647 w 222"/>
                  <a:gd name="T35" fmla="*/ 2147483647 h 150"/>
                  <a:gd name="T36" fmla="*/ 2147483647 w 222"/>
                  <a:gd name="T37" fmla="*/ 2147483647 h 150"/>
                  <a:gd name="T38" fmla="*/ 2147483647 w 222"/>
                  <a:gd name="T39" fmla="*/ 2147483647 h 150"/>
                  <a:gd name="T40" fmla="*/ 2147483647 w 222"/>
                  <a:gd name="T41" fmla="*/ 2147483647 h 150"/>
                  <a:gd name="T42" fmla="*/ 2147483647 w 222"/>
                  <a:gd name="T43" fmla="*/ 2147483647 h 150"/>
                  <a:gd name="T44" fmla="*/ 2147483647 w 222"/>
                  <a:gd name="T45" fmla="*/ 2147483647 h 150"/>
                  <a:gd name="T46" fmla="*/ 2147483647 w 222"/>
                  <a:gd name="T47" fmla="*/ 2147483647 h 150"/>
                  <a:gd name="T48" fmla="*/ 2147483647 w 222"/>
                  <a:gd name="T49" fmla="*/ 2147483647 h 150"/>
                  <a:gd name="T50" fmla="*/ 2147483647 w 222"/>
                  <a:gd name="T51" fmla="*/ 2147483647 h 150"/>
                  <a:gd name="T52" fmla="*/ 2147483647 w 222"/>
                  <a:gd name="T53" fmla="*/ 2147483647 h 150"/>
                  <a:gd name="T54" fmla="*/ 2147483647 w 222"/>
                  <a:gd name="T55" fmla="*/ 2147483647 h 150"/>
                  <a:gd name="T56" fmla="*/ 2147483647 w 222"/>
                  <a:gd name="T57" fmla="*/ 2147483647 h 150"/>
                  <a:gd name="T58" fmla="*/ 2147483647 w 222"/>
                  <a:gd name="T59" fmla="*/ 2147483647 h 150"/>
                  <a:gd name="T60" fmla="*/ 2147483647 w 222"/>
                  <a:gd name="T61" fmla="*/ 2147483647 h 150"/>
                  <a:gd name="T62" fmla="*/ 2147483647 w 222"/>
                  <a:gd name="T63" fmla="*/ 2147483647 h 150"/>
                  <a:gd name="T64" fmla="*/ 2147483647 w 222"/>
                  <a:gd name="T65" fmla="*/ 2147483647 h 150"/>
                  <a:gd name="T66" fmla="*/ 2147483647 w 222"/>
                  <a:gd name="T67" fmla="*/ 2147483647 h 150"/>
                  <a:gd name="T68" fmla="*/ 2147483647 w 222"/>
                  <a:gd name="T69" fmla="*/ 2147483647 h 150"/>
                  <a:gd name="T70" fmla="*/ 2147483647 w 222"/>
                  <a:gd name="T71" fmla="*/ 2147483647 h 150"/>
                  <a:gd name="T72" fmla="*/ 2147483647 w 222"/>
                  <a:gd name="T73" fmla="*/ 2147483647 h 150"/>
                  <a:gd name="T74" fmla="*/ 2147483647 w 222"/>
                  <a:gd name="T75" fmla="*/ 2147483647 h 150"/>
                  <a:gd name="T76" fmla="*/ 2147483647 w 222"/>
                  <a:gd name="T77" fmla="*/ 2147483647 h 150"/>
                  <a:gd name="T78" fmla="*/ 2147483647 w 222"/>
                  <a:gd name="T79" fmla="*/ 2147483647 h 150"/>
                  <a:gd name="T80" fmla="*/ 2147483647 w 222"/>
                  <a:gd name="T81" fmla="*/ 0 h 150"/>
                  <a:gd name="T82" fmla="*/ 2147483647 w 222"/>
                  <a:gd name="T83" fmla="*/ 0 h 150"/>
                  <a:gd name="T84" fmla="*/ 2147483647 w 222"/>
                  <a:gd name="T85" fmla="*/ 2147483647 h 150"/>
                  <a:gd name="T86" fmla="*/ 2147483647 w 222"/>
                  <a:gd name="T87" fmla="*/ 0 h 150"/>
                  <a:gd name="T88" fmla="*/ 2147483647 w 222"/>
                  <a:gd name="T89" fmla="*/ 2147483647 h 150"/>
                  <a:gd name="T90" fmla="*/ 2147483647 w 222"/>
                  <a:gd name="T91" fmla="*/ 2147483647 h 150"/>
                  <a:gd name="T92" fmla="*/ 2147483647 w 222"/>
                  <a:gd name="T93" fmla="*/ 2147483647 h 150"/>
                  <a:gd name="T94" fmla="*/ 2147483647 w 222"/>
                  <a:gd name="T95" fmla="*/ 2147483647 h 150"/>
                  <a:gd name="T96" fmla="*/ 2147483647 w 222"/>
                  <a:gd name="T97" fmla="*/ 2147483647 h 150"/>
                  <a:gd name="T98" fmla="*/ 2147483647 w 222"/>
                  <a:gd name="T99" fmla="*/ 2147483647 h 150"/>
                  <a:gd name="T100" fmla="*/ 2147483647 w 222"/>
                  <a:gd name="T101" fmla="*/ 2147483647 h 150"/>
                  <a:gd name="T102" fmla="*/ 0 w 222"/>
                  <a:gd name="T103" fmla="*/ 2147483647 h 150"/>
                  <a:gd name="T104" fmla="*/ 0 w 222"/>
                  <a:gd name="T105" fmla="*/ 2147483647 h 15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2"/>
                  <a:gd name="T160" fmla="*/ 0 h 150"/>
                  <a:gd name="T161" fmla="*/ 222 w 222"/>
                  <a:gd name="T162" fmla="*/ 150 h 15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2" h="150">
                    <a:moveTo>
                      <a:pt x="0" y="42"/>
                    </a:moveTo>
                    <a:lnTo>
                      <a:pt x="6" y="60"/>
                    </a:lnTo>
                    <a:lnTo>
                      <a:pt x="30" y="66"/>
                    </a:lnTo>
                    <a:lnTo>
                      <a:pt x="42" y="78"/>
                    </a:lnTo>
                    <a:lnTo>
                      <a:pt x="66" y="78"/>
                    </a:lnTo>
                    <a:lnTo>
                      <a:pt x="78" y="84"/>
                    </a:lnTo>
                    <a:lnTo>
                      <a:pt x="84" y="90"/>
                    </a:lnTo>
                    <a:lnTo>
                      <a:pt x="84" y="114"/>
                    </a:lnTo>
                    <a:lnTo>
                      <a:pt x="108" y="114"/>
                    </a:lnTo>
                    <a:lnTo>
                      <a:pt x="120" y="102"/>
                    </a:lnTo>
                    <a:lnTo>
                      <a:pt x="120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62" y="144"/>
                    </a:lnTo>
                    <a:lnTo>
                      <a:pt x="180" y="144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2"/>
                    </a:lnTo>
                    <a:lnTo>
                      <a:pt x="174" y="120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92" y="108"/>
                    </a:lnTo>
                    <a:lnTo>
                      <a:pt x="198" y="102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10" y="90"/>
                    </a:lnTo>
                    <a:lnTo>
                      <a:pt x="222" y="90"/>
                    </a:lnTo>
                    <a:lnTo>
                      <a:pt x="216" y="84"/>
                    </a:lnTo>
                    <a:lnTo>
                      <a:pt x="216" y="66"/>
                    </a:lnTo>
                    <a:lnTo>
                      <a:pt x="204" y="54"/>
                    </a:lnTo>
                    <a:lnTo>
                      <a:pt x="180" y="54"/>
                    </a:lnTo>
                    <a:lnTo>
                      <a:pt x="180" y="42"/>
                    </a:lnTo>
                    <a:lnTo>
                      <a:pt x="186" y="36"/>
                    </a:lnTo>
                    <a:lnTo>
                      <a:pt x="186" y="18"/>
                    </a:lnTo>
                    <a:lnTo>
                      <a:pt x="180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96" y="0"/>
                    </a:lnTo>
                    <a:lnTo>
                      <a:pt x="96" y="12"/>
                    </a:lnTo>
                    <a:lnTo>
                      <a:pt x="78" y="6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0" y="24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6" name="Bela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591EC1B-8531-B480-605E-C8FC015636A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379793" y="1896039"/>
                <a:ext cx="255413" cy="166751"/>
              </a:xfrm>
              <a:custGeom>
                <a:avLst/>
                <a:gdLst>
                  <a:gd name="T0" fmla="*/ 2147483647 w 570"/>
                  <a:gd name="T1" fmla="*/ 2147483647 h 372"/>
                  <a:gd name="T2" fmla="*/ 2147483647 w 570"/>
                  <a:gd name="T3" fmla="*/ 2147483647 h 372"/>
                  <a:gd name="T4" fmla="*/ 2147483647 w 570"/>
                  <a:gd name="T5" fmla="*/ 2147483647 h 372"/>
                  <a:gd name="T6" fmla="*/ 2147483647 w 570"/>
                  <a:gd name="T7" fmla="*/ 2147483647 h 372"/>
                  <a:gd name="T8" fmla="*/ 2147483647 w 570"/>
                  <a:gd name="T9" fmla="*/ 2147483647 h 372"/>
                  <a:gd name="T10" fmla="*/ 2147483647 w 570"/>
                  <a:gd name="T11" fmla="*/ 2147483647 h 372"/>
                  <a:gd name="T12" fmla="*/ 2147483647 w 570"/>
                  <a:gd name="T13" fmla="*/ 2147483647 h 372"/>
                  <a:gd name="T14" fmla="*/ 2147483647 w 570"/>
                  <a:gd name="T15" fmla="*/ 2147483647 h 372"/>
                  <a:gd name="T16" fmla="*/ 2147483647 w 570"/>
                  <a:gd name="T17" fmla="*/ 2147483647 h 372"/>
                  <a:gd name="T18" fmla="*/ 2147483647 w 570"/>
                  <a:gd name="T19" fmla="*/ 2147483647 h 372"/>
                  <a:gd name="T20" fmla="*/ 2147483647 w 570"/>
                  <a:gd name="T21" fmla="*/ 2147483647 h 372"/>
                  <a:gd name="T22" fmla="*/ 2147483647 w 570"/>
                  <a:gd name="T23" fmla="*/ 2147483647 h 372"/>
                  <a:gd name="T24" fmla="*/ 2147483647 w 570"/>
                  <a:gd name="T25" fmla="*/ 2147483647 h 372"/>
                  <a:gd name="T26" fmla="*/ 2147483647 w 570"/>
                  <a:gd name="T27" fmla="*/ 2147483647 h 372"/>
                  <a:gd name="T28" fmla="*/ 2147483647 w 570"/>
                  <a:gd name="T29" fmla="*/ 2147483647 h 372"/>
                  <a:gd name="T30" fmla="*/ 2147483647 w 570"/>
                  <a:gd name="T31" fmla="*/ 2147483647 h 372"/>
                  <a:gd name="T32" fmla="*/ 2147483647 w 570"/>
                  <a:gd name="T33" fmla="*/ 2147483647 h 372"/>
                  <a:gd name="T34" fmla="*/ 2147483647 w 570"/>
                  <a:gd name="T35" fmla="*/ 2147483647 h 372"/>
                  <a:gd name="T36" fmla="*/ 2147483647 w 570"/>
                  <a:gd name="T37" fmla="*/ 2147483647 h 372"/>
                  <a:gd name="T38" fmla="*/ 2147483647 w 570"/>
                  <a:gd name="T39" fmla="*/ 2147483647 h 372"/>
                  <a:gd name="T40" fmla="*/ 2147483647 w 570"/>
                  <a:gd name="T41" fmla="*/ 2147483647 h 372"/>
                  <a:gd name="T42" fmla="*/ 2147483647 w 570"/>
                  <a:gd name="T43" fmla="*/ 2147483647 h 372"/>
                  <a:gd name="T44" fmla="*/ 2147483647 w 570"/>
                  <a:gd name="T45" fmla="*/ 2147483647 h 372"/>
                  <a:gd name="T46" fmla="*/ 2147483647 w 570"/>
                  <a:gd name="T47" fmla="*/ 2147483647 h 372"/>
                  <a:gd name="T48" fmla="*/ 2147483647 w 570"/>
                  <a:gd name="T49" fmla="*/ 2147483647 h 372"/>
                  <a:gd name="T50" fmla="*/ 2147483647 w 570"/>
                  <a:gd name="T51" fmla="*/ 2147483647 h 372"/>
                  <a:gd name="T52" fmla="*/ 2147483647 w 570"/>
                  <a:gd name="T53" fmla="*/ 2147483647 h 372"/>
                  <a:gd name="T54" fmla="*/ 2147483647 w 570"/>
                  <a:gd name="T55" fmla="*/ 2147483647 h 372"/>
                  <a:gd name="T56" fmla="*/ 2147483647 w 570"/>
                  <a:gd name="T57" fmla="*/ 0 h 372"/>
                  <a:gd name="T58" fmla="*/ 2147483647 w 570"/>
                  <a:gd name="T59" fmla="*/ 2147483647 h 372"/>
                  <a:gd name="T60" fmla="*/ 2147483647 w 570"/>
                  <a:gd name="T61" fmla="*/ 2147483647 h 372"/>
                  <a:gd name="T62" fmla="*/ 2147483647 w 570"/>
                  <a:gd name="T63" fmla="*/ 2147483647 h 372"/>
                  <a:gd name="T64" fmla="*/ 2147483647 w 570"/>
                  <a:gd name="T65" fmla="*/ 2147483647 h 372"/>
                  <a:gd name="T66" fmla="*/ 2147483647 w 570"/>
                  <a:gd name="T67" fmla="*/ 2147483647 h 372"/>
                  <a:gd name="T68" fmla="*/ 2147483647 w 570"/>
                  <a:gd name="T69" fmla="*/ 2147483647 h 372"/>
                  <a:gd name="T70" fmla="*/ 2147483647 w 570"/>
                  <a:gd name="T71" fmla="*/ 2147483647 h 372"/>
                  <a:gd name="T72" fmla="*/ 2147483647 w 570"/>
                  <a:gd name="T73" fmla="*/ 2147483647 h 372"/>
                  <a:gd name="T74" fmla="*/ 2147483647 w 570"/>
                  <a:gd name="T75" fmla="*/ 2147483647 h 372"/>
                  <a:gd name="T76" fmla="*/ 2147483647 w 570"/>
                  <a:gd name="T77" fmla="*/ 2147483647 h 372"/>
                  <a:gd name="T78" fmla="*/ 2147483647 w 570"/>
                  <a:gd name="T79" fmla="*/ 2147483647 h 372"/>
                  <a:gd name="T80" fmla="*/ 2147483647 w 570"/>
                  <a:gd name="T81" fmla="*/ 2147483647 h 372"/>
                  <a:gd name="T82" fmla="*/ 2147483647 w 570"/>
                  <a:gd name="T83" fmla="*/ 2147483647 h 372"/>
                  <a:gd name="T84" fmla="*/ 2147483647 w 570"/>
                  <a:gd name="T85" fmla="*/ 2147483647 h 372"/>
                  <a:gd name="T86" fmla="*/ 2147483647 w 570"/>
                  <a:gd name="T87" fmla="*/ 2147483647 h 372"/>
                  <a:gd name="T88" fmla="*/ 2147483647 w 570"/>
                  <a:gd name="T89" fmla="*/ 2147483647 h 372"/>
                  <a:gd name="T90" fmla="*/ 2147483647 w 570"/>
                  <a:gd name="T91" fmla="*/ 2147483647 h 372"/>
                  <a:gd name="T92" fmla="*/ 2147483647 w 570"/>
                  <a:gd name="T93" fmla="*/ 2147483647 h 372"/>
                  <a:gd name="T94" fmla="*/ 2147483647 w 570"/>
                  <a:gd name="T95" fmla="*/ 2147483647 h 372"/>
                  <a:gd name="T96" fmla="*/ 2147483647 w 570"/>
                  <a:gd name="T97" fmla="*/ 2147483647 h 3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0"/>
                  <a:gd name="T148" fmla="*/ 0 h 372"/>
                  <a:gd name="T149" fmla="*/ 570 w 570"/>
                  <a:gd name="T150" fmla="*/ 372 h 3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0" h="372">
                    <a:moveTo>
                      <a:pt x="24" y="312"/>
                    </a:moveTo>
                    <a:lnTo>
                      <a:pt x="24" y="342"/>
                    </a:lnTo>
                    <a:lnTo>
                      <a:pt x="30" y="354"/>
                    </a:lnTo>
                    <a:lnTo>
                      <a:pt x="36" y="360"/>
                    </a:lnTo>
                    <a:lnTo>
                      <a:pt x="48" y="360"/>
                    </a:lnTo>
                    <a:lnTo>
                      <a:pt x="60" y="354"/>
                    </a:lnTo>
                    <a:lnTo>
                      <a:pt x="72" y="342"/>
                    </a:lnTo>
                    <a:lnTo>
                      <a:pt x="72" y="336"/>
                    </a:lnTo>
                    <a:lnTo>
                      <a:pt x="108" y="336"/>
                    </a:lnTo>
                    <a:lnTo>
                      <a:pt x="120" y="330"/>
                    </a:lnTo>
                    <a:lnTo>
                      <a:pt x="126" y="324"/>
                    </a:lnTo>
                    <a:lnTo>
                      <a:pt x="174" y="324"/>
                    </a:lnTo>
                    <a:lnTo>
                      <a:pt x="174" y="330"/>
                    </a:lnTo>
                    <a:lnTo>
                      <a:pt x="180" y="336"/>
                    </a:lnTo>
                    <a:lnTo>
                      <a:pt x="216" y="336"/>
                    </a:lnTo>
                    <a:lnTo>
                      <a:pt x="240" y="342"/>
                    </a:lnTo>
                    <a:lnTo>
                      <a:pt x="258" y="354"/>
                    </a:lnTo>
                    <a:lnTo>
                      <a:pt x="264" y="348"/>
                    </a:lnTo>
                    <a:lnTo>
                      <a:pt x="282" y="360"/>
                    </a:lnTo>
                    <a:lnTo>
                      <a:pt x="294" y="348"/>
                    </a:lnTo>
                    <a:lnTo>
                      <a:pt x="300" y="360"/>
                    </a:lnTo>
                    <a:lnTo>
                      <a:pt x="318" y="354"/>
                    </a:lnTo>
                    <a:lnTo>
                      <a:pt x="324" y="360"/>
                    </a:lnTo>
                    <a:lnTo>
                      <a:pt x="336" y="354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54" y="354"/>
                    </a:lnTo>
                    <a:lnTo>
                      <a:pt x="372" y="354"/>
                    </a:lnTo>
                    <a:lnTo>
                      <a:pt x="378" y="360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6" y="366"/>
                    </a:lnTo>
                    <a:lnTo>
                      <a:pt x="420" y="366"/>
                    </a:lnTo>
                    <a:lnTo>
                      <a:pt x="426" y="372"/>
                    </a:lnTo>
                    <a:lnTo>
                      <a:pt x="444" y="372"/>
                    </a:lnTo>
                    <a:lnTo>
                      <a:pt x="450" y="366"/>
                    </a:lnTo>
                    <a:lnTo>
                      <a:pt x="450" y="354"/>
                    </a:lnTo>
                    <a:lnTo>
                      <a:pt x="444" y="348"/>
                    </a:lnTo>
                    <a:lnTo>
                      <a:pt x="450" y="336"/>
                    </a:lnTo>
                    <a:lnTo>
                      <a:pt x="456" y="330"/>
                    </a:lnTo>
                    <a:lnTo>
                      <a:pt x="468" y="324"/>
                    </a:lnTo>
                    <a:lnTo>
                      <a:pt x="474" y="312"/>
                    </a:lnTo>
                    <a:lnTo>
                      <a:pt x="498" y="312"/>
                    </a:lnTo>
                    <a:lnTo>
                      <a:pt x="516" y="318"/>
                    </a:lnTo>
                    <a:lnTo>
                      <a:pt x="516" y="300"/>
                    </a:lnTo>
                    <a:lnTo>
                      <a:pt x="510" y="288"/>
                    </a:lnTo>
                    <a:lnTo>
                      <a:pt x="504" y="282"/>
                    </a:lnTo>
                    <a:lnTo>
                      <a:pt x="504" y="264"/>
                    </a:lnTo>
                    <a:lnTo>
                      <a:pt x="480" y="240"/>
                    </a:lnTo>
                    <a:lnTo>
                      <a:pt x="480" y="234"/>
                    </a:lnTo>
                    <a:lnTo>
                      <a:pt x="486" y="228"/>
                    </a:lnTo>
                    <a:lnTo>
                      <a:pt x="510" y="228"/>
                    </a:lnTo>
                    <a:lnTo>
                      <a:pt x="510" y="234"/>
                    </a:lnTo>
                    <a:lnTo>
                      <a:pt x="516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52" y="228"/>
                    </a:lnTo>
                    <a:lnTo>
                      <a:pt x="558" y="216"/>
                    </a:lnTo>
                    <a:lnTo>
                      <a:pt x="570" y="210"/>
                    </a:lnTo>
                    <a:lnTo>
                      <a:pt x="546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46" y="186"/>
                    </a:lnTo>
                    <a:lnTo>
                      <a:pt x="540" y="180"/>
                    </a:lnTo>
                    <a:lnTo>
                      <a:pt x="504" y="180"/>
                    </a:lnTo>
                    <a:lnTo>
                      <a:pt x="504" y="156"/>
                    </a:lnTo>
                    <a:lnTo>
                      <a:pt x="474" y="144"/>
                    </a:lnTo>
                    <a:lnTo>
                      <a:pt x="474" y="132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44" y="84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8"/>
                    </a:lnTo>
                    <a:lnTo>
                      <a:pt x="432" y="42"/>
                    </a:lnTo>
                    <a:lnTo>
                      <a:pt x="396" y="24"/>
                    </a:lnTo>
                    <a:lnTo>
                      <a:pt x="390" y="18"/>
                    </a:lnTo>
                    <a:lnTo>
                      <a:pt x="384" y="18"/>
                    </a:lnTo>
                    <a:lnTo>
                      <a:pt x="354" y="36"/>
                    </a:lnTo>
                    <a:lnTo>
                      <a:pt x="348" y="18"/>
                    </a:lnTo>
                    <a:lnTo>
                      <a:pt x="312" y="12"/>
                    </a:lnTo>
                    <a:lnTo>
                      <a:pt x="300" y="18"/>
                    </a:lnTo>
                    <a:lnTo>
                      <a:pt x="300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52" y="6"/>
                    </a:lnTo>
                    <a:lnTo>
                      <a:pt x="246" y="18"/>
                    </a:lnTo>
                    <a:lnTo>
                      <a:pt x="240" y="24"/>
                    </a:lnTo>
                    <a:lnTo>
                      <a:pt x="234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30"/>
                    </a:lnTo>
                    <a:lnTo>
                      <a:pt x="180" y="36"/>
                    </a:lnTo>
                    <a:lnTo>
                      <a:pt x="174" y="42"/>
                    </a:lnTo>
                    <a:lnTo>
                      <a:pt x="174" y="54"/>
                    </a:lnTo>
                    <a:lnTo>
                      <a:pt x="192" y="72"/>
                    </a:lnTo>
                    <a:lnTo>
                      <a:pt x="186" y="78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72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2" y="120"/>
                    </a:lnTo>
                    <a:lnTo>
                      <a:pt x="132" y="126"/>
                    </a:lnTo>
                    <a:lnTo>
                      <a:pt x="138" y="132"/>
                    </a:lnTo>
                    <a:lnTo>
                      <a:pt x="138" y="144"/>
                    </a:lnTo>
                    <a:lnTo>
                      <a:pt x="144" y="15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38" y="150"/>
                    </a:lnTo>
                    <a:lnTo>
                      <a:pt x="138" y="144"/>
                    </a:lnTo>
                    <a:lnTo>
                      <a:pt x="120" y="144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6" y="168"/>
                    </a:lnTo>
                    <a:lnTo>
                      <a:pt x="84" y="156"/>
                    </a:lnTo>
                    <a:lnTo>
                      <a:pt x="84" y="174"/>
                    </a:lnTo>
                    <a:lnTo>
                      <a:pt x="54" y="174"/>
                    </a:lnTo>
                    <a:lnTo>
                      <a:pt x="54" y="168"/>
                    </a:lnTo>
                    <a:lnTo>
                      <a:pt x="48" y="162"/>
                    </a:lnTo>
                    <a:lnTo>
                      <a:pt x="42" y="162"/>
                    </a:lnTo>
                    <a:lnTo>
                      <a:pt x="30" y="168"/>
                    </a:lnTo>
                    <a:lnTo>
                      <a:pt x="18" y="168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18" y="204"/>
                    </a:lnTo>
                    <a:lnTo>
                      <a:pt x="24" y="210"/>
                    </a:lnTo>
                    <a:lnTo>
                      <a:pt x="36" y="234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6" y="264"/>
                    </a:lnTo>
                    <a:lnTo>
                      <a:pt x="12" y="270"/>
                    </a:lnTo>
                    <a:lnTo>
                      <a:pt x="12" y="288"/>
                    </a:lnTo>
                    <a:lnTo>
                      <a:pt x="0" y="288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24" y="31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7" name="Azerbaij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F6618B1-04D3-BF19-4B5B-2EFA0AABA77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44933" y="2396290"/>
                <a:ext cx="163181" cy="131272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8" name="Aust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78533F2-AB4E-278A-C955-FC8C5351E1B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005540" y="2144390"/>
                <a:ext cx="205750" cy="90471"/>
              </a:xfrm>
              <a:custGeom>
                <a:avLst/>
                <a:gdLst>
                  <a:gd name="T0" fmla="*/ 2147483647 w 456"/>
                  <a:gd name="T1" fmla="*/ 2147483647 h 204"/>
                  <a:gd name="T2" fmla="*/ 2147483647 w 456"/>
                  <a:gd name="T3" fmla="*/ 2147483647 h 204"/>
                  <a:gd name="T4" fmla="*/ 2147483647 w 456"/>
                  <a:gd name="T5" fmla="*/ 2147483647 h 204"/>
                  <a:gd name="T6" fmla="*/ 2147483647 w 456"/>
                  <a:gd name="T7" fmla="*/ 2147483647 h 204"/>
                  <a:gd name="T8" fmla="*/ 2147483647 w 456"/>
                  <a:gd name="T9" fmla="*/ 2147483647 h 204"/>
                  <a:gd name="T10" fmla="*/ 2147483647 w 456"/>
                  <a:gd name="T11" fmla="*/ 2147483647 h 204"/>
                  <a:gd name="T12" fmla="*/ 2147483647 w 456"/>
                  <a:gd name="T13" fmla="*/ 2147483647 h 204"/>
                  <a:gd name="T14" fmla="*/ 2147483647 w 456"/>
                  <a:gd name="T15" fmla="*/ 0 h 204"/>
                  <a:gd name="T16" fmla="*/ 2147483647 w 456"/>
                  <a:gd name="T17" fmla="*/ 2147483647 h 204"/>
                  <a:gd name="T18" fmla="*/ 2147483647 w 456"/>
                  <a:gd name="T19" fmla="*/ 2147483647 h 204"/>
                  <a:gd name="T20" fmla="*/ 2147483647 w 456"/>
                  <a:gd name="T21" fmla="*/ 2147483647 h 204"/>
                  <a:gd name="T22" fmla="*/ 2147483647 w 456"/>
                  <a:gd name="T23" fmla="*/ 2147483647 h 204"/>
                  <a:gd name="T24" fmla="*/ 2147483647 w 456"/>
                  <a:gd name="T25" fmla="*/ 2147483647 h 204"/>
                  <a:gd name="T26" fmla="*/ 2147483647 w 456"/>
                  <a:gd name="T27" fmla="*/ 2147483647 h 204"/>
                  <a:gd name="T28" fmla="*/ 2147483647 w 456"/>
                  <a:gd name="T29" fmla="*/ 2147483647 h 204"/>
                  <a:gd name="T30" fmla="*/ 2147483647 w 456"/>
                  <a:gd name="T31" fmla="*/ 2147483647 h 204"/>
                  <a:gd name="T32" fmla="*/ 2147483647 w 456"/>
                  <a:gd name="T33" fmla="*/ 2147483647 h 204"/>
                  <a:gd name="T34" fmla="*/ 2147483647 w 456"/>
                  <a:gd name="T35" fmla="*/ 2147483647 h 204"/>
                  <a:gd name="T36" fmla="*/ 2147483647 w 456"/>
                  <a:gd name="T37" fmla="*/ 2147483647 h 204"/>
                  <a:gd name="T38" fmla="*/ 2147483647 w 456"/>
                  <a:gd name="T39" fmla="*/ 2147483647 h 204"/>
                  <a:gd name="T40" fmla="*/ 2147483647 w 456"/>
                  <a:gd name="T41" fmla="*/ 2147483647 h 204"/>
                  <a:gd name="T42" fmla="*/ 2147483647 w 456"/>
                  <a:gd name="T43" fmla="*/ 2147483647 h 204"/>
                  <a:gd name="T44" fmla="*/ 2147483647 w 456"/>
                  <a:gd name="T45" fmla="*/ 2147483647 h 204"/>
                  <a:gd name="T46" fmla="*/ 2147483647 w 456"/>
                  <a:gd name="T47" fmla="*/ 2147483647 h 204"/>
                  <a:gd name="T48" fmla="*/ 2147483647 w 456"/>
                  <a:gd name="T49" fmla="*/ 2147483647 h 204"/>
                  <a:gd name="T50" fmla="*/ 2147483647 w 456"/>
                  <a:gd name="T51" fmla="*/ 2147483647 h 204"/>
                  <a:gd name="T52" fmla="*/ 2147483647 w 456"/>
                  <a:gd name="T53" fmla="*/ 2147483647 h 204"/>
                  <a:gd name="T54" fmla="*/ 0 w 456"/>
                  <a:gd name="T55" fmla="*/ 2147483647 h 204"/>
                  <a:gd name="T56" fmla="*/ 2147483647 w 456"/>
                  <a:gd name="T57" fmla="*/ 2147483647 h 204"/>
                  <a:gd name="T58" fmla="*/ 2147483647 w 456"/>
                  <a:gd name="T59" fmla="*/ 2147483647 h 204"/>
                  <a:gd name="T60" fmla="*/ 2147483647 w 456"/>
                  <a:gd name="T61" fmla="*/ 2147483647 h 204"/>
                  <a:gd name="T62" fmla="*/ 2147483647 w 456"/>
                  <a:gd name="T63" fmla="*/ 2147483647 h 204"/>
                  <a:gd name="T64" fmla="*/ 2147483647 w 456"/>
                  <a:gd name="T65" fmla="*/ 2147483647 h 204"/>
                  <a:gd name="T66" fmla="*/ 2147483647 w 456"/>
                  <a:gd name="T67" fmla="*/ 2147483647 h 204"/>
                  <a:gd name="T68" fmla="*/ 2147483647 w 456"/>
                  <a:gd name="T69" fmla="*/ 2147483647 h 204"/>
                  <a:gd name="T70" fmla="*/ 2147483647 w 456"/>
                  <a:gd name="T71" fmla="*/ 2147483647 h 204"/>
                  <a:gd name="T72" fmla="*/ 2147483647 w 456"/>
                  <a:gd name="T73" fmla="*/ 2147483647 h 204"/>
                  <a:gd name="T74" fmla="*/ 2147483647 w 456"/>
                  <a:gd name="T75" fmla="*/ 2147483647 h 204"/>
                  <a:gd name="T76" fmla="*/ 2147483647 w 456"/>
                  <a:gd name="T77" fmla="*/ 2147483647 h 204"/>
                  <a:gd name="T78" fmla="*/ 2147483647 w 456"/>
                  <a:gd name="T79" fmla="*/ 2147483647 h 204"/>
                  <a:gd name="T80" fmla="*/ 2147483647 w 456"/>
                  <a:gd name="T81" fmla="*/ 2147483647 h 204"/>
                  <a:gd name="T82" fmla="*/ 2147483647 w 456"/>
                  <a:gd name="T83" fmla="*/ 2147483647 h 204"/>
                  <a:gd name="T84" fmla="*/ 2147483647 w 456"/>
                  <a:gd name="T85" fmla="*/ 2147483647 h 204"/>
                  <a:gd name="T86" fmla="*/ 2147483647 w 456"/>
                  <a:gd name="T87" fmla="*/ 2147483647 h 204"/>
                  <a:gd name="T88" fmla="*/ 2147483647 w 456"/>
                  <a:gd name="T89" fmla="*/ 2147483647 h 204"/>
                  <a:gd name="T90" fmla="*/ 2147483647 w 456"/>
                  <a:gd name="T91" fmla="*/ 2147483647 h 20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56"/>
                  <a:gd name="T139" fmla="*/ 0 h 204"/>
                  <a:gd name="T140" fmla="*/ 456 w 456"/>
                  <a:gd name="T141" fmla="*/ 204 h 20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56" h="204">
                    <a:moveTo>
                      <a:pt x="456" y="102"/>
                    </a:moveTo>
                    <a:lnTo>
                      <a:pt x="456" y="60"/>
                    </a:lnTo>
                    <a:lnTo>
                      <a:pt x="450" y="60"/>
                    </a:lnTo>
                    <a:lnTo>
                      <a:pt x="450" y="48"/>
                    </a:lnTo>
                    <a:lnTo>
                      <a:pt x="456" y="24"/>
                    </a:lnTo>
                    <a:lnTo>
                      <a:pt x="444" y="18"/>
                    </a:lnTo>
                    <a:lnTo>
                      <a:pt x="438" y="18"/>
                    </a:lnTo>
                    <a:lnTo>
                      <a:pt x="432" y="12"/>
                    </a:lnTo>
                    <a:lnTo>
                      <a:pt x="420" y="12"/>
                    </a:lnTo>
                    <a:lnTo>
                      <a:pt x="414" y="18"/>
                    </a:lnTo>
                    <a:lnTo>
                      <a:pt x="402" y="24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66" y="6"/>
                    </a:lnTo>
                    <a:lnTo>
                      <a:pt x="354" y="0"/>
                    </a:lnTo>
                    <a:lnTo>
                      <a:pt x="336" y="0"/>
                    </a:lnTo>
                    <a:lnTo>
                      <a:pt x="330" y="6"/>
                    </a:lnTo>
                    <a:lnTo>
                      <a:pt x="324" y="18"/>
                    </a:lnTo>
                    <a:lnTo>
                      <a:pt x="318" y="18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300" y="30"/>
                    </a:lnTo>
                    <a:lnTo>
                      <a:pt x="288" y="36"/>
                    </a:lnTo>
                    <a:lnTo>
                      <a:pt x="276" y="36"/>
                    </a:lnTo>
                    <a:lnTo>
                      <a:pt x="258" y="18"/>
                    </a:lnTo>
                    <a:lnTo>
                      <a:pt x="252" y="36"/>
                    </a:lnTo>
                    <a:lnTo>
                      <a:pt x="234" y="36"/>
                    </a:lnTo>
                    <a:lnTo>
                      <a:pt x="240" y="48"/>
                    </a:lnTo>
                    <a:lnTo>
                      <a:pt x="240" y="66"/>
                    </a:lnTo>
                    <a:lnTo>
                      <a:pt x="234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66"/>
                    </a:lnTo>
                    <a:lnTo>
                      <a:pt x="204" y="72"/>
                    </a:lnTo>
                    <a:lnTo>
                      <a:pt x="198" y="78"/>
                    </a:lnTo>
                    <a:lnTo>
                      <a:pt x="198" y="84"/>
                    </a:lnTo>
                    <a:lnTo>
                      <a:pt x="210" y="84"/>
                    </a:lnTo>
                    <a:lnTo>
                      <a:pt x="210" y="126"/>
                    </a:lnTo>
                    <a:lnTo>
                      <a:pt x="204" y="126"/>
                    </a:lnTo>
                    <a:lnTo>
                      <a:pt x="192" y="114"/>
                    </a:lnTo>
                    <a:lnTo>
                      <a:pt x="174" y="108"/>
                    </a:lnTo>
                    <a:lnTo>
                      <a:pt x="162" y="102"/>
                    </a:lnTo>
                    <a:lnTo>
                      <a:pt x="144" y="114"/>
                    </a:lnTo>
                    <a:lnTo>
                      <a:pt x="126" y="114"/>
                    </a:lnTo>
                    <a:lnTo>
                      <a:pt x="108" y="126"/>
                    </a:lnTo>
                    <a:lnTo>
                      <a:pt x="102" y="132"/>
                    </a:lnTo>
                    <a:lnTo>
                      <a:pt x="84" y="132"/>
                    </a:lnTo>
                    <a:lnTo>
                      <a:pt x="66" y="114"/>
                    </a:lnTo>
                    <a:lnTo>
                      <a:pt x="48" y="114"/>
                    </a:lnTo>
                    <a:lnTo>
                      <a:pt x="48" y="126"/>
                    </a:lnTo>
                    <a:lnTo>
                      <a:pt x="42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0" y="120"/>
                    </a:lnTo>
                    <a:lnTo>
                      <a:pt x="0" y="156"/>
                    </a:lnTo>
                    <a:lnTo>
                      <a:pt x="18" y="156"/>
                    </a:lnTo>
                    <a:lnTo>
                      <a:pt x="18" y="174"/>
                    </a:lnTo>
                    <a:lnTo>
                      <a:pt x="24" y="174"/>
                    </a:lnTo>
                    <a:lnTo>
                      <a:pt x="42" y="156"/>
                    </a:lnTo>
                    <a:lnTo>
                      <a:pt x="48" y="156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72" y="174"/>
                    </a:lnTo>
                    <a:lnTo>
                      <a:pt x="84" y="180"/>
                    </a:lnTo>
                    <a:lnTo>
                      <a:pt x="96" y="162"/>
                    </a:lnTo>
                    <a:lnTo>
                      <a:pt x="138" y="162"/>
                    </a:lnTo>
                    <a:lnTo>
                      <a:pt x="138" y="156"/>
                    </a:lnTo>
                    <a:lnTo>
                      <a:pt x="144" y="150"/>
                    </a:lnTo>
                    <a:lnTo>
                      <a:pt x="162" y="150"/>
                    </a:lnTo>
                    <a:lnTo>
                      <a:pt x="168" y="156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186" y="192"/>
                    </a:lnTo>
                    <a:lnTo>
                      <a:pt x="240" y="192"/>
                    </a:lnTo>
                    <a:lnTo>
                      <a:pt x="240" y="204"/>
                    </a:lnTo>
                    <a:lnTo>
                      <a:pt x="258" y="204"/>
                    </a:lnTo>
                    <a:lnTo>
                      <a:pt x="264" y="198"/>
                    </a:lnTo>
                    <a:lnTo>
                      <a:pt x="282" y="198"/>
                    </a:lnTo>
                    <a:lnTo>
                      <a:pt x="288" y="204"/>
                    </a:lnTo>
                    <a:lnTo>
                      <a:pt x="318" y="204"/>
                    </a:lnTo>
                    <a:lnTo>
                      <a:pt x="318" y="192"/>
                    </a:lnTo>
                    <a:lnTo>
                      <a:pt x="366" y="192"/>
                    </a:lnTo>
                    <a:lnTo>
                      <a:pt x="378" y="186"/>
                    </a:lnTo>
                    <a:lnTo>
                      <a:pt x="402" y="192"/>
                    </a:lnTo>
                    <a:lnTo>
                      <a:pt x="414" y="156"/>
                    </a:lnTo>
                    <a:lnTo>
                      <a:pt x="432" y="156"/>
                    </a:lnTo>
                    <a:lnTo>
                      <a:pt x="432" y="132"/>
                    </a:lnTo>
                    <a:lnTo>
                      <a:pt x="444" y="114"/>
                    </a:lnTo>
                    <a:lnTo>
                      <a:pt x="432" y="114"/>
                    </a:lnTo>
                    <a:lnTo>
                      <a:pt x="438" y="102"/>
                    </a:lnTo>
                    <a:lnTo>
                      <a:pt x="456" y="102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69" name="Arm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C370B7F-846B-3431-6DD1-4AC1B0AD37E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7000590" y="2415803"/>
                <a:ext cx="99328" cy="95792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70" name="Andor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51DACCF-8E13-4FD2-8F18-9BA9AE16BF0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5767864" y="2371456"/>
                <a:ext cx="14191" cy="7096"/>
              </a:xfrm>
              <a:custGeom>
                <a:avLst/>
                <a:gdLst>
                  <a:gd name="T0" fmla="*/ 2147483647 w 30"/>
                  <a:gd name="T1" fmla="*/ 2147483647 h 18"/>
                  <a:gd name="T2" fmla="*/ 2147483647 w 30"/>
                  <a:gd name="T3" fmla="*/ 2147483647 h 18"/>
                  <a:gd name="T4" fmla="*/ 2147483647 w 30"/>
                  <a:gd name="T5" fmla="*/ 2147483647 h 18"/>
                  <a:gd name="T6" fmla="*/ 2147483647 w 30"/>
                  <a:gd name="T7" fmla="*/ 0 h 18"/>
                  <a:gd name="T8" fmla="*/ 0 w 30"/>
                  <a:gd name="T9" fmla="*/ 0 h 18"/>
                  <a:gd name="T10" fmla="*/ 2147483647 w 30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18"/>
                  <a:gd name="T20" fmla="*/ 30 w 3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18">
                    <a:moveTo>
                      <a:pt x="6" y="18"/>
                    </a:moveTo>
                    <a:lnTo>
                      <a:pt x="18" y="12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71" name="Alb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AFA7D09-5A45-460C-D8B0-00EBC467701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 bwMode="gray">
              <a:xfrm>
                <a:off x="6278691" y="2371456"/>
                <a:ext cx="65626" cy="109985"/>
              </a:xfrm>
              <a:custGeom>
                <a:avLst/>
                <a:gdLst>
                  <a:gd name="T0" fmla="*/ 2147483647 w 144"/>
                  <a:gd name="T1" fmla="*/ 2147483647 h 246"/>
                  <a:gd name="T2" fmla="*/ 2147483647 w 144"/>
                  <a:gd name="T3" fmla="*/ 2147483647 h 246"/>
                  <a:gd name="T4" fmla="*/ 2147483647 w 144"/>
                  <a:gd name="T5" fmla="*/ 2147483647 h 246"/>
                  <a:gd name="T6" fmla="*/ 2147483647 w 144"/>
                  <a:gd name="T7" fmla="*/ 2147483647 h 246"/>
                  <a:gd name="T8" fmla="*/ 2147483647 w 144"/>
                  <a:gd name="T9" fmla="*/ 2147483647 h 246"/>
                  <a:gd name="T10" fmla="*/ 2147483647 w 144"/>
                  <a:gd name="T11" fmla="*/ 2147483647 h 246"/>
                  <a:gd name="T12" fmla="*/ 2147483647 w 144"/>
                  <a:gd name="T13" fmla="*/ 2147483647 h 246"/>
                  <a:gd name="T14" fmla="*/ 2147483647 w 144"/>
                  <a:gd name="T15" fmla="*/ 2147483647 h 246"/>
                  <a:gd name="T16" fmla="*/ 2147483647 w 144"/>
                  <a:gd name="T17" fmla="*/ 2147483647 h 246"/>
                  <a:gd name="T18" fmla="*/ 2147483647 w 144"/>
                  <a:gd name="T19" fmla="*/ 2147483647 h 246"/>
                  <a:gd name="T20" fmla="*/ 2147483647 w 144"/>
                  <a:gd name="T21" fmla="*/ 2147483647 h 246"/>
                  <a:gd name="T22" fmla="*/ 2147483647 w 144"/>
                  <a:gd name="T23" fmla="*/ 2147483647 h 246"/>
                  <a:gd name="T24" fmla="*/ 2147483647 w 144"/>
                  <a:gd name="T25" fmla="*/ 2147483647 h 246"/>
                  <a:gd name="T26" fmla="*/ 2147483647 w 144"/>
                  <a:gd name="T27" fmla="*/ 2147483647 h 246"/>
                  <a:gd name="T28" fmla="*/ 2147483647 w 144"/>
                  <a:gd name="T29" fmla="*/ 2147483647 h 246"/>
                  <a:gd name="T30" fmla="*/ 2147483647 w 144"/>
                  <a:gd name="T31" fmla="*/ 2147483647 h 246"/>
                  <a:gd name="T32" fmla="*/ 2147483647 w 144"/>
                  <a:gd name="T33" fmla="*/ 2147483647 h 246"/>
                  <a:gd name="T34" fmla="*/ 2147483647 w 144"/>
                  <a:gd name="T35" fmla="*/ 2147483647 h 246"/>
                  <a:gd name="T36" fmla="*/ 2147483647 w 144"/>
                  <a:gd name="T37" fmla="*/ 2147483647 h 246"/>
                  <a:gd name="T38" fmla="*/ 2147483647 w 144"/>
                  <a:gd name="T39" fmla="*/ 0 h 246"/>
                  <a:gd name="T40" fmla="*/ 2147483647 w 144"/>
                  <a:gd name="T41" fmla="*/ 2147483647 h 246"/>
                  <a:gd name="T42" fmla="*/ 2147483647 w 144"/>
                  <a:gd name="T43" fmla="*/ 2147483647 h 246"/>
                  <a:gd name="T44" fmla="*/ 0 w 144"/>
                  <a:gd name="T45" fmla="*/ 2147483647 h 246"/>
                  <a:gd name="T46" fmla="*/ 2147483647 w 144"/>
                  <a:gd name="T47" fmla="*/ 2147483647 h 246"/>
                  <a:gd name="T48" fmla="*/ 2147483647 w 144"/>
                  <a:gd name="T49" fmla="*/ 2147483647 h 246"/>
                  <a:gd name="T50" fmla="*/ 2147483647 w 144"/>
                  <a:gd name="T51" fmla="*/ 2147483647 h 246"/>
                  <a:gd name="T52" fmla="*/ 2147483647 w 144"/>
                  <a:gd name="T53" fmla="*/ 2147483647 h 246"/>
                  <a:gd name="T54" fmla="*/ 2147483647 w 144"/>
                  <a:gd name="T55" fmla="*/ 2147483647 h 246"/>
                  <a:gd name="T56" fmla="*/ 2147483647 w 144"/>
                  <a:gd name="T57" fmla="*/ 2147483647 h 246"/>
                  <a:gd name="T58" fmla="*/ 2147483647 w 144"/>
                  <a:gd name="T59" fmla="*/ 2147483647 h 246"/>
                  <a:gd name="T60" fmla="*/ 2147483647 w 144"/>
                  <a:gd name="T61" fmla="*/ 2147483647 h 246"/>
                  <a:gd name="T62" fmla="*/ 2147483647 w 144"/>
                  <a:gd name="T63" fmla="*/ 2147483647 h 246"/>
                  <a:gd name="T64" fmla="*/ 2147483647 w 144"/>
                  <a:gd name="T65" fmla="*/ 2147483647 h 246"/>
                  <a:gd name="T66" fmla="*/ 2147483647 w 144"/>
                  <a:gd name="T67" fmla="*/ 2147483647 h 246"/>
                  <a:gd name="T68" fmla="*/ 2147483647 w 144"/>
                  <a:gd name="T69" fmla="*/ 2147483647 h 246"/>
                  <a:gd name="T70" fmla="*/ 2147483647 w 144"/>
                  <a:gd name="T71" fmla="*/ 2147483647 h 246"/>
                  <a:gd name="T72" fmla="*/ 2147483647 w 144"/>
                  <a:gd name="T73" fmla="*/ 2147483647 h 246"/>
                  <a:gd name="T74" fmla="*/ 2147483647 w 144"/>
                  <a:gd name="T75" fmla="*/ 2147483647 h 246"/>
                  <a:gd name="T76" fmla="*/ 2147483647 w 144"/>
                  <a:gd name="T77" fmla="*/ 2147483647 h 246"/>
                  <a:gd name="T78" fmla="*/ 2147483647 w 144"/>
                  <a:gd name="T79" fmla="*/ 2147483647 h 246"/>
                  <a:gd name="T80" fmla="*/ 2147483647 w 144"/>
                  <a:gd name="T81" fmla="*/ 2147483647 h 246"/>
                  <a:gd name="T82" fmla="*/ 2147483647 w 144"/>
                  <a:gd name="T83" fmla="*/ 2147483647 h 246"/>
                  <a:gd name="T84" fmla="*/ 2147483647 w 144"/>
                  <a:gd name="T85" fmla="*/ 2147483647 h 246"/>
                  <a:gd name="T86" fmla="*/ 2147483647 w 144"/>
                  <a:gd name="T87" fmla="*/ 2147483647 h 246"/>
                  <a:gd name="T88" fmla="*/ 2147483647 w 144"/>
                  <a:gd name="T89" fmla="*/ 2147483647 h 2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246"/>
                  <a:gd name="T137" fmla="*/ 144 w 144"/>
                  <a:gd name="T138" fmla="*/ 246 h 2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246">
                    <a:moveTo>
                      <a:pt x="96" y="210"/>
                    </a:moveTo>
                    <a:lnTo>
                      <a:pt x="96" y="204"/>
                    </a:lnTo>
                    <a:lnTo>
                      <a:pt x="108" y="204"/>
                    </a:lnTo>
                    <a:lnTo>
                      <a:pt x="120" y="198"/>
                    </a:lnTo>
                    <a:lnTo>
                      <a:pt x="120" y="174"/>
                    </a:lnTo>
                    <a:lnTo>
                      <a:pt x="138" y="174"/>
                    </a:lnTo>
                    <a:lnTo>
                      <a:pt x="144" y="168"/>
                    </a:lnTo>
                    <a:lnTo>
                      <a:pt x="144" y="138"/>
                    </a:lnTo>
                    <a:lnTo>
                      <a:pt x="120" y="144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20"/>
                    </a:lnTo>
                    <a:lnTo>
                      <a:pt x="108" y="96"/>
                    </a:lnTo>
                    <a:lnTo>
                      <a:pt x="102" y="84"/>
                    </a:lnTo>
                    <a:lnTo>
                      <a:pt x="102" y="42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36" y="0"/>
                    </a:lnTo>
                    <a:lnTo>
                      <a:pt x="36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48"/>
                    </a:lnTo>
                    <a:lnTo>
                      <a:pt x="18" y="60"/>
                    </a:lnTo>
                    <a:lnTo>
                      <a:pt x="24" y="66"/>
                    </a:lnTo>
                    <a:lnTo>
                      <a:pt x="48" y="66"/>
                    </a:lnTo>
                    <a:lnTo>
                      <a:pt x="48" y="84"/>
                    </a:lnTo>
                    <a:lnTo>
                      <a:pt x="42" y="96"/>
                    </a:lnTo>
                    <a:lnTo>
                      <a:pt x="42" y="114"/>
                    </a:lnTo>
                    <a:lnTo>
                      <a:pt x="36" y="132"/>
                    </a:lnTo>
                    <a:lnTo>
                      <a:pt x="36" y="15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42" y="204"/>
                    </a:lnTo>
                    <a:lnTo>
                      <a:pt x="54" y="210"/>
                    </a:lnTo>
                    <a:lnTo>
                      <a:pt x="60" y="216"/>
                    </a:lnTo>
                    <a:lnTo>
                      <a:pt x="60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90" y="246"/>
                    </a:lnTo>
                    <a:lnTo>
                      <a:pt x="96" y="246"/>
                    </a:lnTo>
                    <a:lnTo>
                      <a:pt x="96" y="21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de-DE" sz="2133" dirty="0"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1072" name="Group 340">
                <a:extLst>
                  <a:ext uri="{FF2B5EF4-FFF2-40B4-BE49-F238E27FC236}">
                    <a16:creationId xmlns:a16="http://schemas.microsoft.com/office/drawing/2014/main" id="{19404615-C5BB-DBA0-7C75-7FB3F5860ACB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 bwMode="auto">
              <a:xfrm>
                <a:off x="6268048" y="2245510"/>
                <a:ext cx="124159" cy="152559"/>
                <a:chOff x="2184" y="1242"/>
                <a:chExt cx="257" cy="316"/>
              </a:xfrm>
              <a:grpFill/>
            </p:grpSpPr>
            <p:sp>
              <p:nvSpPr>
                <p:cNvPr id="1089" name="Freeform 341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A806D741-2CD4-1802-9DDA-5F2988A4BCA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184" y="1242"/>
                  <a:ext cx="257" cy="282"/>
                </a:xfrm>
                <a:custGeom>
                  <a:avLst/>
                  <a:gdLst/>
                  <a:ahLst/>
                  <a:cxnLst>
                    <a:cxn ang="0">
                      <a:pos x="464" y="374"/>
                    </a:cxn>
                    <a:cxn ang="0">
                      <a:pos x="453" y="310"/>
                    </a:cxn>
                    <a:cxn ang="0">
                      <a:pos x="453" y="235"/>
                    </a:cxn>
                    <a:cxn ang="0">
                      <a:pos x="378" y="224"/>
                    </a:cxn>
                    <a:cxn ang="0">
                      <a:pos x="302" y="171"/>
                    </a:cxn>
                    <a:cxn ang="0">
                      <a:pos x="291" y="118"/>
                    </a:cxn>
                    <a:cxn ang="0">
                      <a:pos x="259" y="128"/>
                    </a:cxn>
                    <a:cxn ang="0">
                      <a:pos x="216" y="53"/>
                    </a:cxn>
                    <a:cxn ang="0">
                      <a:pos x="87" y="0"/>
                    </a:cxn>
                    <a:cxn ang="0">
                      <a:pos x="0" y="43"/>
                    </a:cxn>
                    <a:cxn ang="0">
                      <a:pos x="32" y="96"/>
                    </a:cxn>
                    <a:cxn ang="0">
                      <a:pos x="65" y="139"/>
                    </a:cxn>
                    <a:cxn ang="0">
                      <a:pos x="54" y="150"/>
                    </a:cxn>
                    <a:cxn ang="0">
                      <a:pos x="32" y="181"/>
                    </a:cxn>
                    <a:cxn ang="0">
                      <a:pos x="32" y="192"/>
                    </a:cxn>
                    <a:cxn ang="0">
                      <a:pos x="76" y="203"/>
                    </a:cxn>
                    <a:cxn ang="0">
                      <a:pos x="87" y="267"/>
                    </a:cxn>
                    <a:cxn ang="0">
                      <a:pos x="65" y="310"/>
                    </a:cxn>
                    <a:cxn ang="0">
                      <a:pos x="98" y="363"/>
                    </a:cxn>
                    <a:cxn ang="0">
                      <a:pos x="119" y="395"/>
                    </a:cxn>
                    <a:cxn ang="0">
                      <a:pos x="157" y="442"/>
                    </a:cxn>
                    <a:cxn ang="0">
                      <a:pos x="173" y="438"/>
                    </a:cxn>
                    <a:cxn ang="0">
                      <a:pos x="180" y="444"/>
                    </a:cxn>
                    <a:cxn ang="0">
                      <a:pos x="230" y="446"/>
                    </a:cxn>
                    <a:cxn ang="0">
                      <a:pos x="237" y="431"/>
                    </a:cxn>
                    <a:cxn ang="0">
                      <a:pos x="258" y="416"/>
                    </a:cxn>
                    <a:cxn ang="0">
                      <a:pos x="266" y="418"/>
                    </a:cxn>
                    <a:cxn ang="0">
                      <a:pos x="268" y="407"/>
                    </a:cxn>
                    <a:cxn ang="0">
                      <a:pos x="267" y="399"/>
                    </a:cxn>
                    <a:cxn ang="0">
                      <a:pos x="254" y="388"/>
                    </a:cxn>
                    <a:cxn ang="0">
                      <a:pos x="262" y="387"/>
                    </a:cxn>
                    <a:cxn ang="0">
                      <a:pos x="279" y="380"/>
                    </a:cxn>
                    <a:cxn ang="0">
                      <a:pos x="288" y="372"/>
                    </a:cxn>
                    <a:cxn ang="0">
                      <a:pos x="298" y="389"/>
                    </a:cxn>
                    <a:cxn ang="0">
                      <a:pos x="292" y="399"/>
                    </a:cxn>
                    <a:cxn ang="0">
                      <a:pos x="309" y="402"/>
                    </a:cxn>
                    <a:cxn ang="0">
                      <a:pos x="321" y="404"/>
                    </a:cxn>
                    <a:cxn ang="0">
                      <a:pos x="326" y="408"/>
                    </a:cxn>
                    <a:cxn ang="0">
                      <a:pos x="328" y="433"/>
                    </a:cxn>
                    <a:cxn ang="0">
                      <a:pos x="334" y="429"/>
                    </a:cxn>
                    <a:cxn ang="0">
                      <a:pos x="335" y="448"/>
                    </a:cxn>
                    <a:cxn ang="0">
                      <a:pos x="348" y="452"/>
                    </a:cxn>
                    <a:cxn ang="0">
                      <a:pos x="356" y="467"/>
                    </a:cxn>
                    <a:cxn ang="0">
                      <a:pos x="354" y="478"/>
                    </a:cxn>
                    <a:cxn ang="0">
                      <a:pos x="356" y="482"/>
                    </a:cxn>
                    <a:cxn ang="0">
                      <a:pos x="369" y="485"/>
                    </a:cxn>
                    <a:cxn ang="0">
                      <a:pos x="381" y="492"/>
                    </a:cxn>
                    <a:cxn ang="0">
                      <a:pos x="390" y="496"/>
                    </a:cxn>
                    <a:cxn ang="0">
                      <a:pos x="399" y="501"/>
                    </a:cxn>
                    <a:cxn ang="0">
                      <a:pos x="392" y="513"/>
                    </a:cxn>
                    <a:cxn ang="0">
                      <a:pos x="384" y="528"/>
                    </a:cxn>
                    <a:cxn ang="0">
                      <a:pos x="376" y="542"/>
                    </a:cxn>
                    <a:cxn ang="0">
                      <a:pos x="453" y="492"/>
                    </a:cxn>
                    <a:cxn ang="0">
                      <a:pos x="486" y="470"/>
                    </a:cxn>
                    <a:cxn ang="0">
                      <a:pos x="486" y="406"/>
                    </a:cxn>
                  </a:cxnLst>
                  <a:rect l="0" t="0" r="r" b="b"/>
                  <a:pathLst>
                    <a:path w="496" h="542">
                      <a:moveTo>
                        <a:pt x="486" y="406"/>
                      </a:moveTo>
                      <a:cubicBezTo>
                        <a:pt x="453" y="395"/>
                        <a:pt x="453" y="395"/>
                        <a:pt x="453" y="395"/>
                      </a:cubicBezTo>
                      <a:cubicBezTo>
                        <a:pt x="464" y="374"/>
                        <a:pt x="464" y="374"/>
                        <a:pt x="464" y="374"/>
                      </a:cubicBezTo>
                      <a:cubicBezTo>
                        <a:pt x="432" y="363"/>
                        <a:pt x="432" y="363"/>
                        <a:pt x="432" y="363"/>
                      </a:cubicBezTo>
                      <a:cubicBezTo>
                        <a:pt x="432" y="331"/>
                        <a:pt x="432" y="331"/>
                        <a:pt x="432" y="331"/>
                      </a:cubicBezTo>
                      <a:cubicBezTo>
                        <a:pt x="453" y="310"/>
                        <a:pt x="453" y="310"/>
                        <a:pt x="453" y="310"/>
                      </a:cubicBezTo>
                      <a:cubicBezTo>
                        <a:pt x="453" y="267"/>
                        <a:pt x="453" y="267"/>
                        <a:pt x="453" y="267"/>
                      </a:cubicBezTo>
                      <a:cubicBezTo>
                        <a:pt x="442" y="256"/>
                        <a:pt x="442" y="256"/>
                        <a:pt x="442" y="256"/>
                      </a:cubicBezTo>
                      <a:cubicBezTo>
                        <a:pt x="453" y="235"/>
                        <a:pt x="453" y="235"/>
                        <a:pt x="453" y="235"/>
                      </a:cubicBezTo>
                      <a:cubicBezTo>
                        <a:pt x="464" y="224"/>
                        <a:pt x="464" y="224"/>
                        <a:pt x="464" y="224"/>
                      </a:cubicBezTo>
                      <a:cubicBezTo>
                        <a:pt x="421" y="213"/>
                        <a:pt x="421" y="213"/>
                        <a:pt x="421" y="213"/>
                      </a:cubicBezTo>
                      <a:cubicBezTo>
                        <a:pt x="378" y="224"/>
                        <a:pt x="378" y="224"/>
                        <a:pt x="378" y="224"/>
                      </a:cubicBezTo>
                      <a:cubicBezTo>
                        <a:pt x="367" y="213"/>
                        <a:pt x="367" y="213"/>
                        <a:pt x="367" y="213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02" y="171"/>
                        <a:pt x="302" y="171"/>
                        <a:pt x="302" y="171"/>
                      </a:cubicBezTo>
                      <a:cubicBezTo>
                        <a:pt x="313" y="160"/>
                        <a:pt x="313" y="160"/>
                        <a:pt x="313" y="160"/>
                      </a:cubicBezTo>
                      <a:cubicBezTo>
                        <a:pt x="313" y="128"/>
                        <a:pt x="313" y="128"/>
                        <a:pt x="313" y="128"/>
                      </a:cubicBezTo>
                      <a:cubicBezTo>
                        <a:pt x="291" y="118"/>
                        <a:pt x="291" y="118"/>
                        <a:pt x="291" y="118"/>
                      </a:cubicBezTo>
                      <a:cubicBezTo>
                        <a:pt x="280" y="118"/>
                        <a:pt x="280" y="118"/>
                        <a:pt x="280" y="118"/>
                      </a:cubicBezTo>
                      <a:cubicBezTo>
                        <a:pt x="270" y="128"/>
                        <a:pt x="270" y="128"/>
                        <a:pt x="270" y="128"/>
                      </a:cubicBezTo>
                      <a:cubicBezTo>
                        <a:pt x="259" y="128"/>
                        <a:pt x="259" y="128"/>
                        <a:pt x="259" y="128"/>
                      </a:cubicBezTo>
                      <a:cubicBezTo>
                        <a:pt x="249" y="118"/>
                        <a:pt x="249" y="118"/>
                        <a:pt x="249" y="118"/>
                      </a:cubicBezTo>
                      <a:cubicBezTo>
                        <a:pt x="227" y="53"/>
                        <a:pt x="227" y="53"/>
                        <a:pt x="227" y="53"/>
                      </a:cubicBezTo>
                      <a:cubicBezTo>
                        <a:pt x="216" y="53"/>
                        <a:pt x="216" y="53"/>
                        <a:pt x="216" y="53"/>
                      </a:cubicBezTo>
                      <a:cubicBezTo>
                        <a:pt x="173" y="21"/>
                        <a:pt x="173" y="21"/>
                        <a:pt x="173" y="21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11" y="32"/>
                        <a:pt x="11" y="32"/>
                        <a:pt x="11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2" y="128"/>
                        <a:pt x="22" y="128"/>
                        <a:pt x="22" y="128"/>
                      </a:cubicBezTo>
                      <a:cubicBezTo>
                        <a:pt x="43" y="128"/>
                        <a:pt x="43" y="128"/>
                        <a:pt x="43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65" y="150"/>
                        <a:pt x="65" y="150"/>
                        <a:pt x="65" y="150"/>
                      </a:cubicBezTo>
                      <a:cubicBezTo>
                        <a:pt x="54" y="150"/>
                        <a:pt x="54" y="150"/>
                        <a:pt x="54" y="150"/>
                      </a:cubicBezTo>
                      <a:cubicBezTo>
                        <a:pt x="43" y="160"/>
                        <a:pt x="43" y="160"/>
                        <a:pt x="43" y="160"/>
                      </a:cubicBezTo>
                      <a:cubicBezTo>
                        <a:pt x="32" y="160"/>
                        <a:pt x="32" y="160"/>
                        <a:pt x="32" y="160"/>
                      </a:cubicBezTo>
                      <a:cubicBezTo>
                        <a:pt x="32" y="181"/>
                        <a:pt x="32" y="181"/>
                        <a:pt x="32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2" y="192"/>
                        <a:pt x="22" y="192"/>
                        <a:pt x="22" y="192"/>
                      </a:cubicBezTo>
                      <a:cubicBezTo>
                        <a:pt x="32" y="192"/>
                        <a:pt x="32" y="192"/>
                        <a:pt x="32" y="192"/>
                      </a:cubicBezTo>
                      <a:cubicBezTo>
                        <a:pt x="54" y="181"/>
                        <a:pt x="54" y="181"/>
                        <a:pt x="54" y="181"/>
                      </a:cubicBezTo>
                      <a:cubicBezTo>
                        <a:pt x="76" y="181"/>
                        <a:pt x="76" y="181"/>
                        <a:pt x="76" y="181"/>
                      </a:cubicBezTo>
                      <a:cubicBezTo>
                        <a:pt x="76" y="203"/>
                        <a:pt x="76" y="203"/>
                        <a:pt x="76" y="203"/>
                      </a:cubicBezTo>
                      <a:cubicBezTo>
                        <a:pt x="43" y="235"/>
                        <a:pt x="43" y="235"/>
                        <a:pt x="43" y="235"/>
                      </a:cubicBezTo>
                      <a:cubicBezTo>
                        <a:pt x="43" y="267"/>
                        <a:pt x="43" y="267"/>
                        <a:pt x="43" y="267"/>
                      </a:cubicBezTo>
                      <a:cubicBezTo>
                        <a:pt x="87" y="267"/>
                        <a:pt x="87" y="267"/>
                        <a:pt x="87" y="267"/>
                      </a:cubicBezTo>
                      <a:cubicBezTo>
                        <a:pt x="98" y="278"/>
                        <a:pt x="98" y="278"/>
                        <a:pt x="98" y="278"/>
                      </a:cubicBezTo>
                      <a:cubicBezTo>
                        <a:pt x="108" y="299"/>
                        <a:pt x="108" y="299"/>
                        <a:pt x="108" y="299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87" y="331"/>
                        <a:pt x="87" y="331"/>
                        <a:pt x="87" y="331"/>
                      </a:cubicBezTo>
                      <a:cubicBezTo>
                        <a:pt x="98" y="353"/>
                        <a:pt x="98" y="353"/>
                        <a:pt x="98" y="353"/>
                      </a:cubicBezTo>
                      <a:cubicBezTo>
                        <a:pt x="98" y="363"/>
                        <a:pt x="98" y="363"/>
                        <a:pt x="98" y="363"/>
                      </a:cubicBezTo>
                      <a:cubicBezTo>
                        <a:pt x="87" y="363"/>
                        <a:pt x="87" y="363"/>
                        <a:pt x="87" y="363"/>
                      </a:cubicBezTo>
                      <a:cubicBezTo>
                        <a:pt x="87" y="374"/>
                        <a:pt x="87" y="374"/>
                        <a:pt x="87" y="374"/>
                      </a:cubicBezTo>
                      <a:cubicBezTo>
                        <a:pt x="119" y="395"/>
                        <a:pt x="119" y="395"/>
                        <a:pt x="119" y="395"/>
                      </a:cubicBezTo>
                      <a:cubicBezTo>
                        <a:pt x="140" y="417"/>
                        <a:pt x="140" y="417"/>
                        <a:pt x="140" y="417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9" y="442"/>
                        <a:pt x="161" y="443"/>
                        <a:pt x="166" y="444"/>
                      </a:cubicBezTo>
                      <a:cubicBezTo>
                        <a:pt x="166" y="444"/>
                        <a:pt x="166" y="444"/>
                        <a:pt x="167" y="444"/>
                      </a:cubicBezTo>
                      <a:cubicBezTo>
                        <a:pt x="173" y="438"/>
                        <a:pt x="173" y="438"/>
                        <a:pt x="173" y="438"/>
                      </a:cubicBezTo>
                      <a:cubicBezTo>
                        <a:pt x="173" y="447"/>
                        <a:pt x="173" y="447"/>
                        <a:pt x="173" y="447"/>
                      </a:cubicBezTo>
                      <a:cubicBezTo>
                        <a:pt x="174" y="448"/>
                        <a:pt x="175" y="448"/>
                        <a:pt x="176" y="449"/>
                      </a:cubicBezTo>
                      <a:cubicBezTo>
                        <a:pt x="176" y="449"/>
                        <a:pt x="176" y="449"/>
                        <a:pt x="180" y="444"/>
                      </a:cubicBezTo>
                      <a:cubicBezTo>
                        <a:pt x="180" y="444"/>
                        <a:pt x="180" y="444"/>
                        <a:pt x="199" y="447"/>
                      </a:cubicBezTo>
                      <a:cubicBezTo>
                        <a:pt x="199" y="447"/>
                        <a:pt x="199" y="447"/>
                        <a:pt x="212" y="446"/>
                      </a:cubicBezTo>
                      <a:cubicBezTo>
                        <a:pt x="212" y="446"/>
                        <a:pt x="212" y="446"/>
                        <a:pt x="230" y="446"/>
                      </a:cubicBezTo>
                      <a:cubicBezTo>
                        <a:pt x="230" y="446"/>
                        <a:pt x="230" y="446"/>
                        <a:pt x="240" y="443"/>
                      </a:cubicBezTo>
                      <a:cubicBezTo>
                        <a:pt x="240" y="443"/>
                        <a:pt x="240" y="443"/>
                        <a:pt x="239" y="437"/>
                      </a:cubicBezTo>
                      <a:cubicBezTo>
                        <a:pt x="239" y="437"/>
                        <a:pt x="239" y="437"/>
                        <a:pt x="237" y="431"/>
                      </a:cubicBezTo>
                      <a:cubicBezTo>
                        <a:pt x="237" y="431"/>
                        <a:pt x="237" y="431"/>
                        <a:pt x="245" y="425"/>
                      </a:cubicBezTo>
                      <a:cubicBezTo>
                        <a:pt x="245" y="425"/>
                        <a:pt x="245" y="425"/>
                        <a:pt x="255" y="417"/>
                      </a:cubicBezTo>
                      <a:cubicBezTo>
                        <a:pt x="255" y="417"/>
                        <a:pt x="255" y="417"/>
                        <a:pt x="258" y="416"/>
                      </a:cubicBezTo>
                      <a:cubicBezTo>
                        <a:pt x="258" y="416"/>
                        <a:pt x="258" y="416"/>
                        <a:pt x="258" y="421"/>
                      </a:cubicBezTo>
                      <a:cubicBezTo>
                        <a:pt x="258" y="421"/>
                        <a:pt x="258" y="421"/>
                        <a:pt x="262" y="419"/>
                      </a:cubicBezTo>
                      <a:cubicBezTo>
                        <a:pt x="262" y="419"/>
                        <a:pt x="262" y="419"/>
                        <a:pt x="266" y="418"/>
                      </a:cubicBezTo>
                      <a:cubicBezTo>
                        <a:pt x="266" y="418"/>
                        <a:pt x="266" y="418"/>
                        <a:pt x="263" y="414"/>
                      </a:cubicBezTo>
                      <a:cubicBezTo>
                        <a:pt x="263" y="414"/>
                        <a:pt x="263" y="414"/>
                        <a:pt x="267" y="412"/>
                      </a:cubicBezTo>
                      <a:cubicBezTo>
                        <a:pt x="267" y="412"/>
                        <a:pt x="267" y="412"/>
                        <a:pt x="268" y="407"/>
                      </a:cubicBezTo>
                      <a:cubicBezTo>
                        <a:pt x="268" y="407"/>
                        <a:pt x="268" y="407"/>
                        <a:pt x="264" y="405"/>
                      </a:cubicBezTo>
                      <a:cubicBezTo>
                        <a:pt x="264" y="405"/>
                        <a:pt x="264" y="405"/>
                        <a:pt x="264" y="402"/>
                      </a:cubicBezTo>
                      <a:cubicBezTo>
                        <a:pt x="264" y="402"/>
                        <a:pt x="264" y="402"/>
                        <a:pt x="267" y="399"/>
                      </a:cubicBezTo>
                      <a:cubicBezTo>
                        <a:pt x="267" y="399"/>
                        <a:pt x="267" y="399"/>
                        <a:pt x="266" y="396"/>
                      </a:cubicBezTo>
                      <a:cubicBezTo>
                        <a:pt x="266" y="396"/>
                        <a:pt x="266" y="396"/>
                        <a:pt x="258" y="394"/>
                      </a:cubicBezTo>
                      <a:cubicBezTo>
                        <a:pt x="258" y="394"/>
                        <a:pt x="258" y="394"/>
                        <a:pt x="254" y="388"/>
                      </a:cubicBezTo>
                      <a:cubicBezTo>
                        <a:pt x="254" y="388"/>
                        <a:pt x="254" y="388"/>
                        <a:pt x="256" y="385"/>
                      </a:cubicBezTo>
                      <a:cubicBezTo>
                        <a:pt x="256" y="385"/>
                        <a:pt x="256" y="385"/>
                        <a:pt x="259" y="389"/>
                      </a:cubicBezTo>
                      <a:cubicBezTo>
                        <a:pt x="259" y="389"/>
                        <a:pt x="259" y="389"/>
                        <a:pt x="262" y="387"/>
                      </a:cubicBezTo>
                      <a:cubicBezTo>
                        <a:pt x="262" y="387"/>
                        <a:pt x="262" y="387"/>
                        <a:pt x="267" y="388"/>
                      </a:cubicBezTo>
                      <a:cubicBezTo>
                        <a:pt x="267" y="388"/>
                        <a:pt x="267" y="388"/>
                        <a:pt x="271" y="385"/>
                      </a:cubicBezTo>
                      <a:cubicBezTo>
                        <a:pt x="271" y="385"/>
                        <a:pt x="271" y="385"/>
                        <a:pt x="279" y="380"/>
                      </a:cubicBezTo>
                      <a:cubicBezTo>
                        <a:pt x="279" y="380"/>
                        <a:pt x="279" y="380"/>
                        <a:pt x="282" y="378"/>
                      </a:cubicBezTo>
                      <a:cubicBezTo>
                        <a:pt x="282" y="378"/>
                        <a:pt x="282" y="378"/>
                        <a:pt x="283" y="374"/>
                      </a:cubicBezTo>
                      <a:cubicBezTo>
                        <a:pt x="283" y="374"/>
                        <a:pt x="283" y="374"/>
                        <a:pt x="288" y="372"/>
                      </a:cubicBezTo>
                      <a:cubicBezTo>
                        <a:pt x="288" y="372"/>
                        <a:pt x="288" y="372"/>
                        <a:pt x="293" y="377"/>
                      </a:cubicBezTo>
                      <a:cubicBezTo>
                        <a:pt x="293" y="377"/>
                        <a:pt x="293" y="377"/>
                        <a:pt x="297" y="384"/>
                      </a:cubicBezTo>
                      <a:cubicBezTo>
                        <a:pt x="297" y="384"/>
                        <a:pt x="297" y="384"/>
                        <a:pt x="298" y="389"/>
                      </a:cubicBezTo>
                      <a:cubicBezTo>
                        <a:pt x="298" y="389"/>
                        <a:pt x="298" y="389"/>
                        <a:pt x="298" y="392"/>
                      </a:cubicBezTo>
                      <a:cubicBezTo>
                        <a:pt x="298" y="392"/>
                        <a:pt x="298" y="392"/>
                        <a:pt x="291" y="396"/>
                      </a:cubicBezTo>
                      <a:cubicBezTo>
                        <a:pt x="291" y="396"/>
                        <a:pt x="291" y="396"/>
                        <a:pt x="292" y="399"/>
                      </a:cubicBezTo>
                      <a:cubicBezTo>
                        <a:pt x="292" y="399"/>
                        <a:pt x="292" y="399"/>
                        <a:pt x="299" y="400"/>
                      </a:cubicBezTo>
                      <a:cubicBezTo>
                        <a:pt x="299" y="400"/>
                        <a:pt x="299" y="400"/>
                        <a:pt x="303" y="404"/>
                      </a:cubicBezTo>
                      <a:cubicBezTo>
                        <a:pt x="303" y="404"/>
                        <a:pt x="303" y="404"/>
                        <a:pt x="309" y="402"/>
                      </a:cubicBezTo>
                      <a:cubicBezTo>
                        <a:pt x="309" y="402"/>
                        <a:pt x="309" y="402"/>
                        <a:pt x="314" y="404"/>
                      </a:cubicBezTo>
                      <a:cubicBezTo>
                        <a:pt x="314" y="404"/>
                        <a:pt x="314" y="404"/>
                        <a:pt x="319" y="401"/>
                      </a:cubicBezTo>
                      <a:cubicBezTo>
                        <a:pt x="319" y="401"/>
                        <a:pt x="319" y="401"/>
                        <a:pt x="321" y="404"/>
                      </a:cubicBezTo>
                      <a:cubicBezTo>
                        <a:pt x="321" y="404"/>
                        <a:pt x="321" y="404"/>
                        <a:pt x="318" y="408"/>
                      </a:cubicBezTo>
                      <a:cubicBezTo>
                        <a:pt x="318" y="408"/>
                        <a:pt x="318" y="408"/>
                        <a:pt x="324" y="407"/>
                      </a:cubicBezTo>
                      <a:cubicBezTo>
                        <a:pt x="324" y="407"/>
                        <a:pt x="324" y="407"/>
                        <a:pt x="326" y="408"/>
                      </a:cubicBezTo>
                      <a:cubicBezTo>
                        <a:pt x="326" y="408"/>
                        <a:pt x="326" y="408"/>
                        <a:pt x="324" y="425"/>
                      </a:cubicBezTo>
                      <a:cubicBezTo>
                        <a:pt x="324" y="425"/>
                        <a:pt x="324" y="425"/>
                        <a:pt x="324" y="432"/>
                      </a:cubicBezTo>
                      <a:cubicBezTo>
                        <a:pt x="324" y="432"/>
                        <a:pt x="324" y="432"/>
                        <a:pt x="328" y="433"/>
                      </a:cubicBezTo>
                      <a:cubicBezTo>
                        <a:pt x="328" y="433"/>
                        <a:pt x="328" y="433"/>
                        <a:pt x="330" y="431"/>
                      </a:cubicBezTo>
                      <a:cubicBezTo>
                        <a:pt x="330" y="431"/>
                        <a:pt x="330" y="431"/>
                        <a:pt x="331" y="428"/>
                      </a:cubicBezTo>
                      <a:cubicBezTo>
                        <a:pt x="331" y="428"/>
                        <a:pt x="331" y="428"/>
                        <a:pt x="334" y="429"/>
                      </a:cubicBezTo>
                      <a:cubicBezTo>
                        <a:pt x="334" y="429"/>
                        <a:pt x="334" y="429"/>
                        <a:pt x="336" y="433"/>
                      </a:cubicBezTo>
                      <a:cubicBezTo>
                        <a:pt x="336" y="433"/>
                        <a:pt x="336" y="433"/>
                        <a:pt x="336" y="443"/>
                      </a:cubicBezTo>
                      <a:cubicBezTo>
                        <a:pt x="336" y="443"/>
                        <a:pt x="336" y="443"/>
                        <a:pt x="335" y="448"/>
                      </a:cubicBezTo>
                      <a:cubicBezTo>
                        <a:pt x="335" y="448"/>
                        <a:pt x="335" y="448"/>
                        <a:pt x="339" y="450"/>
                      </a:cubicBezTo>
                      <a:cubicBezTo>
                        <a:pt x="339" y="450"/>
                        <a:pt x="339" y="450"/>
                        <a:pt x="344" y="450"/>
                      </a:cubicBezTo>
                      <a:cubicBezTo>
                        <a:pt x="344" y="450"/>
                        <a:pt x="344" y="450"/>
                        <a:pt x="348" y="452"/>
                      </a:cubicBezTo>
                      <a:cubicBezTo>
                        <a:pt x="348" y="452"/>
                        <a:pt x="348" y="452"/>
                        <a:pt x="353" y="456"/>
                      </a:cubicBezTo>
                      <a:cubicBezTo>
                        <a:pt x="353" y="456"/>
                        <a:pt x="353" y="456"/>
                        <a:pt x="357" y="457"/>
                      </a:cubicBezTo>
                      <a:cubicBezTo>
                        <a:pt x="357" y="457"/>
                        <a:pt x="357" y="457"/>
                        <a:pt x="356" y="467"/>
                      </a:cubicBezTo>
                      <a:cubicBezTo>
                        <a:pt x="356" y="467"/>
                        <a:pt x="356" y="467"/>
                        <a:pt x="356" y="472"/>
                      </a:cubicBezTo>
                      <a:cubicBezTo>
                        <a:pt x="356" y="472"/>
                        <a:pt x="356" y="472"/>
                        <a:pt x="352" y="473"/>
                      </a:cubicBezTo>
                      <a:cubicBezTo>
                        <a:pt x="352" y="473"/>
                        <a:pt x="352" y="473"/>
                        <a:pt x="354" y="478"/>
                      </a:cubicBezTo>
                      <a:cubicBezTo>
                        <a:pt x="354" y="478"/>
                        <a:pt x="354" y="478"/>
                        <a:pt x="351" y="482"/>
                      </a:cubicBezTo>
                      <a:cubicBezTo>
                        <a:pt x="351" y="482"/>
                        <a:pt x="351" y="482"/>
                        <a:pt x="353" y="483"/>
                      </a:cubicBezTo>
                      <a:cubicBezTo>
                        <a:pt x="353" y="483"/>
                        <a:pt x="353" y="483"/>
                        <a:pt x="356" y="482"/>
                      </a:cubicBezTo>
                      <a:cubicBezTo>
                        <a:pt x="356" y="482"/>
                        <a:pt x="356" y="482"/>
                        <a:pt x="361" y="485"/>
                      </a:cubicBezTo>
                      <a:cubicBezTo>
                        <a:pt x="361" y="485"/>
                        <a:pt x="361" y="485"/>
                        <a:pt x="364" y="483"/>
                      </a:cubicBezTo>
                      <a:cubicBezTo>
                        <a:pt x="364" y="483"/>
                        <a:pt x="364" y="483"/>
                        <a:pt x="369" y="485"/>
                      </a:cubicBezTo>
                      <a:cubicBezTo>
                        <a:pt x="369" y="485"/>
                        <a:pt x="369" y="485"/>
                        <a:pt x="372" y="485"/>
                      </a:cubicBezTo>
                      <a:cubicBezTo>
                        <a:pt x="372" y="485"/>
                        <a:pt x="372" y="485"/>
                        <a:pt x="377" y="489"/>
                      </a:cubicBezTo>
                      <a:cubicBezTo>
                        <a:pt x="377" y="489"/>
                        <a:pt x="377" y="489"/>
                        <a:pt x="381" y="492"/>
                      </a:cubicBezTo>
                      <a:cubicBezTo>
                        <a:pt x="381" y="492"/>
                        <a:pt x="381" y="492"/>
                        <a:pt x="383" y="496"/>
                      </a:cubicBezTo>
                      <a:cubicBezTo>
                        <a:pt x="383" y="496"/>
                        <a:pt x="383" y="496"/>
                        <a:pt x="385" y="499"/>
                      </a:cubicBezTo>
                      <a:cubicBezTo>
                        <a:pt x="385" y="499"/>
                        <a:pt x="385" y="499"/>
                        <a:pt x="390" y="496"/>
                      </a:cubicBezTo>
                      <a:cubicBezTo>
                        <a:pt x="390" y="496"/>
                        <a:pt x="390" y="496"/>
                        <a:pt x="394" y="494"/>
                      </a:cubicBezTo>
                      <a:cubicBezTo>
                        <a:pt x="394" y="494"/>
                        <a:pt x="394" y="494"/>
                        <a:pt x="398" y="496"/>
                      </a:cubicBezTo>
                      <a:cubicBezTo>
                        <a:pt x="398" y="496"/>
                        <a:pt x="398" y="496"/>
                        <a:pt x="399" y="501"/>
                      </a:cubicBezTo>
                      <a:cubicBezTo>
                        <a:pt x="399" y="501"/>
                        <a:pt x="399" y="501"/>
                        <a:pt x="395" y="505"/>
                      </a:cubicBezTo>
                      <a:cubicBezTo>
                        <a:pt x="395" y="505"/>
                        <a:pt x="395" y="505"/>
                        <a:pt x="395" y="509"/>
                      </a:cubicBezTo>
                      <a:cubicBezTo>
                        <a:pt x="395" y="509"/>
                        <a:pt x="395" y="509"/>
                        <a:pt x="392" y="513"/>
                      </a:cubicBezTo>
                      <a:cubicBezTo>
                        <a:pt x="392" y="513"/>
                        <a:pt x="392" y="513"/>
                        <a:pt x="392" y="516"/>
                      </a:cubicBezTo>
                      <a:cubicBezTo>
                        <a:pt x="392" y="516"/>
                        <a:pt x="392" y="516"/>
                        <a:pt x="386" y="519"/>
                      </a:cubicBezTo>
                      <a:cubicBezTo>
                        <a:pt x="386" y="519"/>
                        <a:pt x="386" y="519"/>
                        <a:pt x="384" y="528"/>
                      </a:cubicBezTo>
                      <a:cubicBezTo>
                        <a:pt x="384" y="528"/>
                        <a:pt x="384" y="528"/>
                        <a:pt x="379" y="531"/>
                      </a:cubicBezTo>
                      <a:cubicBezTo>
                        <a:pt x="379" y="531"/>
                        <a:pt x="379" y="531"/>
                        <a:pt x="376" y="535"/>
                      </a:cubicBezTo>
                      <a:cubicBezTo>
                        <a:pt x="376" y="535"/>
                        <a:pt x="376" y="535"/>
                        <a:pt x="376" y="542"/>
                      </a:cubicBezTo>
                      <a:cubicBezTo>
                        <a:pt x="432" y="535"/>
                        <a:pt x="432" y="535"/>
                        <a:pt x="432" y="535"/>
                      </a:cubicBezTo>
                      <a:cubicBezTo>
                        <a:pt x="453" y="535"/>
                        <a:pt x="453" y="535"/>
                        <a:pt x="453" y="535"/>
                      </a:cubicBezTo>
                      <a:cubicBezTo>
                        <a:pt x="453" y="492"/>
                        <a:pt x="453" y="492"/>
                        <a:pt x="453" y="492"/>
                      </a:cubicBezTo>
                      <a:cubicBezTo>
                        <a:pt x="442" y="481"/>
                        <a:pt x="442" y="481"/>
                        <a:pt x="442" y="481"/>
                      </a:cubicBezTo>
                      <a:cubicBezTo>
                        <a:pt x="442" y="470"/>
                        <a:pt x="442" y="470"/>
                        <a:pt x="442" y="470"/>
                      </a:cubicBezTo>
                      <a:cubicBezTo>
                        <a:pt x="486" y="470"/>
                        <a:pt x="486" y="470"/>
                        <a:pt x="486" y="470"/>
                      </a:cubicBezTo>
                      <a:cubicBezTo>
                        <a:pt x="496" y="460"/>
                        <a:pt x="496" y="460"/>
                        <a:pt x="496" y="460"/>
                      </a:cubicBezTo>
                      <a:cubicBezTo>
                        <a:pt x="496" y="417"/>
                        <a:pt x="496" y="417"/>
                        <a:pt x="496" y="417"/>
                      </a:cubicBezTo>
                      <a:lnTo>
                        <a:pt x="486" y="40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090" name="Freeform 342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7316143E-1A87-5E84-430B-C836349A3AF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gray">
                <a:xfrm>
                  <a:off x="2268" y="1436"/>
                  <a:ext cx="121" cy="122"/>
                </a:xfrm>
                <a:custGeom>
                  <a:avLst/>
                  <a:gdLst/>
                  <a:ahLst/>
                  <a:cxnLst>
                    <a:cxn ang="0">
                      <a:pos x="6" y="75"/>
                    </a:cxn>
                    <a:cxn ang="0">
                      <a:pos x="0" y="72"/>
                    </a:cxn>
                    <a:cxn ang="0">
                      <a:pos x="227" y="122"/>
                    </a:cxn>
                    <a:cxn ang="0">
                      <a:pos x="218" y="127"/>
                    </a:cxn>
                    <a:cxn ang="0">
                      <a:pos x="214" y="120"/>
                    </a:cxn>
                    <a:cxn ang="0">
                      <a:pos x="206" y="113"/>
                    </a:cxn>
                    <a:cxn ang="0">
                      <a:pos x="197" y="111"/>
                    </a:cxn>
                    <a:cxn ang="0">
                      <a:pos x="190" y="110"/>
                    </a:cxn>
                    <a:cxn ang="0">
                      <a:pos x="185" y="110"/>
                    </a:cxn>
                    <a:cxn ang="0">
                      <a:pos x="185" y="101"/>
                    </a:cxn>
                    <a:cxn ang="0">
                      <a:pos x="189" y="95"/>
                    </a:cxn>
                    <a:cxn ang="0">
                      <a:pos x="187" y="84"/>
                    </a:cxn>
                    <a:cxn ang="0">
                      <a:pos x="177" y="78"/>
                    </a:cxn>
                    <a:cxn ang="0">
                      <a:pos x="169" y="76"/>
                    </a:cxn>
                    <a:cxn ang="0">
                      <a:pos x="170" y="61"/>
                    </a:cxn>
                    <a:cxn ang="0">
                      <a:pos x="165" y="56"/>
                    </a:cxn>
                    <a:cxn ang="0">
                      <a:pos x="161" y="61"/>
                    </a:cxn>
                    <a:cxn ang="0">
                      <a:pos x="157" y="53"/>
                    </a:cxn>
                    <a:cxn ang="0">
                      <a:pos x="158" y="35"/>
                    </a:cxn>
                    <a:cxn ang="0">
                      <a:pos x="154" y="32"/>
                    </a:cxn>
                    <a:cxn ang="0">
                      <a:pos x="147" y="32"/>
                    </a:cxn>
                    <a:cxn ang="0">
                      <a:pos x="137" y="32"/>
                    </a:cxn>
                    <a:cxn ang="0">
                      <a:pos x="126" y="27"/>
                    </a:cxn>
                    <a:cxn ang="0">
                      <a:pos x="131" y="20"/>
                    </a:cxn>
                    <a:cxn ang="0">
                      <a:pos x="130" y="12"/>
                    </a:cxn>
                    <a:cxn ang="0">
                      <a:pos x="122" y="0"/>
                    </a:cxn>
                    <a:cxn ang="0">
                      <a:pos x="115" y="6"/>
                    </a:cxn>
                    <a:cxn ang="0">
                      <a:pos x="104" y="13"/>
                    </a:cxn>
                    <a:cxn ang="0">
                      <a:pos x="96" y="15"/>
                    </a:cxn>
                    <a:cxn ang="0">
                      <a:pos x="89" y="13"/>
                    </a:cxn>
                    <a:cxn ang="0">
                      <a:pos x="91" y="22"/>
                    </a:cxn>
                    <a:cxn ang="0">
                      <a:pos x="101" y="27"/>
                    </a:cxn>
                    <a:cxn ang="0">
                      <a:pos x="97" y="33"/>
                    </a:cxn>
                    <a:cxn ang="0">
                      <a:pos x="100" y="40"/>
                    </a:cxn>
                    <a:cxn ang="0">
                      <a:pos x="99" y="46"/>
                    </a:cxn>
                    <a:cxn ang="0">
                      <a:pos x="92" y="49"/>
                    </a:cxn>
                    <a:cxn ang="0">
                      <a:pos x="88" y="45"/>
                    </a:cxn>
                    <a:cxn ang="0">
                      <a:pos x="70" y="59"/>
                    </a:cxn>
                    <a:cxn ang="0">
                      <a:pos x="73" y="71"/>
                    </a:cxn>
                    <a:cxn ang="0">
                      <a:pos x="45" y="74"/>
                    </a:cxn>
                    <a:cxn ang="0">
                      <a:pos x="14" y="72"/>
                    </a:cxn>
                    <a:cxn ang="0">
                      <a:pos x="6" y="75"/>
                    </a:cxn>
                    <a:cxn ang="0">
                      <a:pos x="6" y="141"/>
                    </a:cxn>
                    <a:cxn ang="0">
                      <a:pos x="14" y="155"/>
                    </a:cxn>
                    <a:cxn ang="0">
                      <a:pos x="27" y="173"/>
                    </a:cxn>
                    <a:cxn ang="0">
                      <a:pos x="50" y="175"/>
                    </a:cxn>
                    <a:cxn ang="0">
                      <a:pos x="60" y="211"/>
                    </a:cxn>
                    <a:cxn ang="0">
                      <a:pos x="60" y="237"/>
                    </a:cxn>
                    <a:cxn ang="0">
                      <a:pos x="92" y="226"/>
                    </a:cxn>
                    <a:cxn ang="0">
                      <a:pos x="138" y="205"/>
                    </a:cxn>
                    <a:cxn ang="0">
                      <a:pos x="146" y="184"/>
                    </a:cxn>
                    <a:cxn ang="0">
                      <a:pos x="189" y="173"/>
                    </a:cxn>
                    <a:cxn ang="0">
                      <a:pos x="209" y="163"/>
                    </a:cxn>
                    <a:cxn ang="0">
                      <a:pos x="217" y="156"/>
                    </a:cxn>
                    <a:cxn ang="0">
                      <a:pos x="225" y="144"/>
                    </a:cxn>
                    <a:cxn ang="0">
                      <a:pos x="228" y="137"/>
                    </a:cxn>
                    <a:cxn ang="0">
                      <a:pos x="232" y="129"/>
                    </a:cxn>
                  </a:cxnLst>
                  <a:rect l="0" t="0" r="r" b="b"/>
                  <a:pathLst>
                    <a:path w="232" h="237">
                      <a:moveTo>
                        <a:pt x="0" y="72"/>
                      </a:moveTo>
                      <a:cubicBezTo>
                        <a:pt x="1" y="72"/>
                        <a:pt x="2" y="73"/>
                        <a:pt x="6" y="75"/>
                      </a:cubicBezTo>
                      <a:cubicBezTo>
                        <a:pt x="6" y="66"/>
                        <a:pt x="6" y="66"/>
                        <a:pt x="6" y="66"/>
                      </a:cubicBezTo>
                      <a:lnTo>
                        <a:pt x="0" y="72"/>
                      </a:lnTo>
                      <a:close/>
                      <a:moveTo>
                        <a:pt x="231" y="124"/>
                      </a:moveTo>
                      <a:cubicBezTo>
                        <a:pt x="227" y="122"/>
                        <a:pt x="227" y="122"/>
                        <a:pt x="227" y="122"/>
                      </a:cubicBezTo>
                      <a:cubicBezTo>
                        <a:pt x="223" y="124"/>
                        <a:pt x="223" y="124"/>
                        <a:pt x="223" y="124"/>
                      </a:cubicBezTo>
                      <a:cubicBezTo>
                        <a:pt x="218" y="127"/>
                        <a:pt x="218" y="127"/>
                        <a:pt x="218" y="127"/>
                      </a:cubicBezTo>
                      <a:cubicBezTo>
                        <a:pt x="216" y="124"/>
                        <a:pt x="216" y="124"/>
                        <a:pt x="216" y="124"/>
                      </a:cubicBezTo>
                      <a:cubicBezTo>
                        <a:pt x="214" y="120"/>
                        <a:pt x="214" y="120"/>
                        <a:pt x="214" y="120"/>
                      </a:cubicBezTo>
                      <a:cubicBezTo>
                        <a:pt x="210" y="117"/>
                        <a:pt x="210" y="117"/>
                        <a:pt x="210" y="117"/>
                      </a:cubicBezTo>
                      <a:cubicBezTo>
                        <a:pt x="206" y="113"/>
                        <a:pt x="206" y="113"/>
                        <a:pt x="206" y="113"/>
                      </a:cubicBezTo>
                      <a:cubicBezTo>
                        <a:pt x="202" y="113"/>
                        <a:pt x="202" y="113"/>
                        <a:pt x="202" y="113"/>
                      </a:cubicBezTo>
                      <a:cubicBezTo>
                        <a:pt x="197" y="111"/>
                        <a:pt x="197" y="111"/>
                        <a:pt x="197" y="111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6" y="111"/>
                        <a:pt x="186" y="111"/>
                        <a:pt x="186" y="111"/>
                      </a:cubicBezTo>
                      <a:cubicBezTo>
                        <a:pt x="185" y="110"/>
                        <a:pt x="185" y="110"/>
                        <a:pt x="185" y="110"/>
                      </a:cubicBezTo>
                      <a:cubicBezTo>
                        <a:pt x="187" y="106"/>
                        <a:pt x="187" y="106"/>
                        <a:pt x="187" y="106"/>
                      </a:cubicBezTo>
                      <a:cubicBezTo>
                        <a:pt x="185" y="101"/>
                        <a:pt x="185" y="101"/>
                        <a:pt x="185" y="101"/>
                      </a:cubicBezTo>
                      <a:cubicBezTo>
                        <a:pt x="189" y="100"/>
                        <a:pt x="189" y="100"/>
                        <a:pt x="189" y="100"/>
                      </a:cubicBezTo>
                      <a:cubicBezTo>
                        <a:pt x="189" y="95"/>
                        <a:pt x="189" y="95"/>
                        <a:pt x="189" y="95"/>
                      </a:cubicBezTo>
                      <a:cubicBezTo>
                        <a:pt x="191" y="85"/>
                        <a:pt x="191" y="85"/>
                        <a:pt x="191" y="85"/>
                      </a:cubicBezTo>
                      <a:cubicBezTo>
                        <a:pt x="187" y="84"/>
                        <a:pt x="187" y="84"/>
                        <a:pt x="187" y="84"/>
                      </a:cubicBezTo>
                      <a:cubicBezTo>
                        <a:pt x="182" y="80"/>
                        <a:pt x="182" y="80"/>
                        <a:pt x="182" y="80"/>
                      </a:cubicBezTo>
                      <a:cubicBezTo>
                        <a:pt x="177" y="78"/>
                        <a:pt x="177" y="78"/>
                        <a:pt x="177" y="78"/>
                      </a:cubicBezTo>
                      <a:cubicBezTo>
                        <a:pt x="172" y="78"/>
                        <a:pt x="172" y="78"/>
                        <a:pt x="172" y="78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69" y="71"/>
                        <a:pt x="169" y="71"/>
                        <a:pt x="169" y="71"/>
                      </a:cubicBezTo>
                      <a:cubicBezTo>
                        <a:pt x="170" y="61"/>
                        <a:pt x="170" y="61"/>
                        <a:pt x="170" y="61"/>
                      </a:cubicBezTo>
                      <a:cubicBezTo>
                        <a:pt x="167" y="57"/>
                        <a:pt x="167" y="57"/>
                        <a:pt x="167" y="57"/>
                      </a:cubicBezTo>
                      <a:cubicBezTo>
                        <a:pt x="165" y="56"/>
                        <a:pt x="165" y="56"/>
                        <a:pt x="165" y="56"/>
                      </a:cubicBezTo>
                      <a:cubicBezTo>
                        <a:pt x="163" y="59"/>
                        <a:pt x="163" y="59"/>
                        <a:pt x="163" y="59"/>
                      </a:cubicBezTo>
                      <a:cubicBezTo>
                        <a:pt x="161" y="61"/>
                        <a:pt x="161" y="61"/>
                        <a:pt x="161" y="61"/>
                      </a:cubicBezTo>
                      <a:cubicBezTo>
                        <a:pt x="158" y="60"/>
                        <a:pt x="158" y="60"/>
                        <a:pt x="158" y="60"/>
                      </a:cubicBezTo>
                      <a:cubicBezTo>
                        <a:pt x="157" y="53"/>
                        <a:pt x="157" y="53"/>
                        <a:pt x="157" y="53"/>
                      </a:cubicBezTo>
                      <a:cubicBezTo>
                        <a:pt x="159" y="36"/>
                        <a:pt x="159" y="36"/>
                        <a:pt x="159" y="36"/>
                      </a:cubicBezTo>
                      <a:cubicBezTo>
                        <a:pt x="158" y="35"/>
                        <a:pt x="158" y="35"/>
                        <a:pt x="158" y="35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cubicBezTo>
                        <a:pt x="154" y="32"/>
                        <a:pt x="154" y="32"/>
                        <a:pt x="154" y="32"/>
                      </a:cubicBezTo>
                      <a:cubicBezTo>
                        <a:pt x="152" y="29"/>
                        <a:pt x="152" y="29"/>
                        <a:pt x="152" y="29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2" y="30"/>
                        <a:pt x="142" y="30"/>
                        <a:pt x="142" y="30"/>
                      </a:cubicBezTo>
                      <a:cubicBezTo>
                        <a:pt x="137" y="32"/>
                        <a:pt x="137" y="32"/>
                        <a:pt x="137" y="32"/>
                      </a:cubicBezTo>
                      <a:cubicBezTo>
                        <a:pt x="132" y="28"/>
                        <a:pt x="132" y="28"/>
                        <a:pt x="132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5" y="24"/>
                        <a:pt x="125" y="24"/>
                        <a:pt x="125" y="24"/>
                      </a:cubicBezTo>
                      <a:cubicBezTo>
                        <a:pt x="131" y="20"/>
                        <a:pt x="131" y="20"/>
                        <a:pt x="131" y="20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6" y="5"/>
                        <a:pt x="126" y="5"/>
                        <a:pt x="126" y="5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5" y="6"/>
                        <a:pt x="115" y="6"/>
                        <a:pt x="115" y="6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0" y="16"/>
                        <a:pt x="100" y="16"/>
                        <a:pt x="100" y="16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88" y="16"/>
                        <a:pt x="88" y="16"/>
                        <a:pt x="88" y="16"/>
                      </a:cubicBezTo>
                      <a:cubicBezTo>
                        <a:pt x="91" y="22"/>
                        <a:pt x="91" y="22"/>
                        <a:pt x="91" y="22"/>
                      </a:cubicBezTo>
                      <a:cubicBezTo>
                        <a:pt x="99" y="24"/>
                        <a:pt x="99" y="24"/>
                        <a:pt x="99" y="24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97" y="30"/>
                        <a:pt x="97" y="30"/>
                        <a:pt x="97" y="30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100" y="40"/>
                        <a:pt x="100" y="40"/>
                        <a:pt x="100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9" y="46"/>
                        <a:pt x="99" y="46"/>
                        <a:pt x="99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70" y="59"/>
                        <a:pt x="70" y="59"/>
                        <a:pt x="70" y="59"/>
                      </a:cubicBezTo>
                      <a:cubicBezTo>
                        <a:pt x="72" y="65"/>
                        <a:pt x="72" y="65"/>
                        <a:pt x="72" y="65"/>
                      </a:cubicBezTo>
                      <a:cubicBezTo>
                        <a:pt x="73" y="71"/>
                        <a:pt x="73" y="71"/>
                        <a:pt x="73" y="71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8" y="76"/>
                        <a:pt x="7" y="76"/>
                        <a:pt x="6" y="75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14" y="153"/>
                        <a:pt x="14" y="153"/>
                        <a:pt x="14" y="153"/>
                      </a:cubicBezTo>
                      <a:cubicBezTo>
                        <a:pt x="14" y="154"/>
                        <a:pt x="14" y="155"/>
                        <a:pt x="14" y="155"/>
                      </a:cubicBezTo>
                      <a:cubicBezTo>
                        <a:pt x="14" y="155"/>
                        <a:pt x="15" y="155"/>
                        <a:pt x="16" y="156"/>
                      </a:cubicBez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48" y="173"/>
                        <a:pt x="48" y="173"/>
                        <a:pt x="48" y="173"/>
                      </a:cubicBezTo>
                      <a:cubicBezTo>
                        <a:pt x="48" y="173"/>
                        <a:pt x="49" y="174"/>
                        <a:pt x="50" y="175"/>
                      </a:cubicBezTo>
                      <a:cubicBezTo>
                        <a:pt x="59" y="201"/>
                        <a:pt x="59" y="201"/>
                        <a:pt x="59" y="201"/>
                      </a:cubicBezTo>
                      <a:cubicBezTo>
                        <a:pt x="59" y="205"/>
                        <a:pt x="60" y="208"/>
                        <a:pt x="60" y="211"/>
                      </a:cubicBezTo>
                      <a:cubicBezTo>
                        <a:pt x="60" y="229"/>
                        <a:pt x="60" y="229"/>
                        <a:pt x="60" y="229"/>
                      </a:cubicBezTo>
                      <a:cubicBezTo>
                        <a:pt x="60" y="237"/>
                        <a:pt x="60" y="237"/>
                        <a:pt x="60" y="237"/>
                      </a:cubicBezTo>
                      <a:cubicBezTo>
                        <a:pt x="76" y="232"/>
                        <a:pt x="76" y="232"/>
                        <a:pt x="76" y="232"/>
                      </a:cubicBezTo>
                      <a:cubicBezTo>
                        <a:pt x="92" y="226"/>
                        <a:pt x="92" y="226"/>
                        <a:pt x="92" y="226"/>
                      </a:cubicBezTo>
                      <a:cubicBezTo>
                        <a:pt x="103" y="205"/>
                        <a:pt x="103" y="205"/>
                        <a:pt x="103" y="205"/>
                      </a:cubicBezTo>
                      <a:cubicBezTo>
                        <a:pt x="138" y="205"/>
                        <a:pt x="138" y="205"/>
                        <a:pt x="138" y="205"/>
                      </a:cubicBezTo>
                      <a:cubicBezTo>
                        <a:pt x="146" y="205"/>
                        <a:pt x="146" y="205"/>
                        <a:pt x="146" y="205"/>
                      </a:cubicBezTo>
                      <a:cubicBezTo>
                        <a:pt x="146" y="184"/>
                        <a:pt x="146" y="184"/>
                        <a:pt x="146" y="184"/>
                      </a:cubicBezTo>
                      <a:cubicBezTo>
                        <a:pt x="178" y="184"/>
                        <a:pt x="178" y="184"/>
                        <a:pt x="178" y="184"/>
                      </a:cubicBezTo>
                      <a:cubicBezTo>
                        <a:pt x="189" y="173"/>
                        <a:pt x="189" y="173"/>
                        <a:pt x="189" y="173"/>
                      </a:cubicBezTo>
                      <a:cubicBezTo>
                        <a:pt x="210" y="170"/>
                        <a:pt x="210" y="170"/>
                        <a:pt x="210" y="170"/>
                      </a:cubicBezTo>
                      <a:cubicBezTo>
                        <a:pt x="209" y="163"/>
                        <a:pt x="209" y="163"/>
                        <a:pt x="209" y="163"/>
                      </a:cubicBezTo>
                      <a:cubicBezTo>
                        <a:pt x="213" y="159"/>
                        <a:pt x="213" y="159"/>
                        <a:pt x="213" y="159"/>
                      </a:cubicBezTo>
                      <a:cubicBezTo>
                        <a:pt x="217" y="156"/>
                        <a:pt x="217" y="156"/>
                        <a:pt x="217" y="156"/>
                      </a:cubicBezTo>
                      <a:cubicBezTo>
                        <a:pt x="219" y="147"/>
                        <a:pt x="219" y="147"/>
                        <a:pt x="219" y="147"/>
                      </a:cubicBezTo>
                      <a:cubicBezTo>
                        <a:pt x="225" y="144"/>
                        <a:pt x="225" y="144"/>
                        <a:pt x="225" y="144"/>
                      </a:cubicBezTo>
                      <a:cubicBezTo>
                        <a:pt x="225" y="141"/>
                        <a:pt x="225" y="141"/>
                        <a:pt x="225" y="141"/>
                      </a:cubicBezTo>
                      <a:cubicBezTo>
                        <a:pt x="228" y="137"/>
                        <a:pt x="228" y="137"/>
                        <a:pt x="228" y="137"/>
                      </a:cubicBezTo>
                      <a:cubicBezTo>
                        <a:pt x="229" y="133"/>
                        <a:pt x="229" y="133"/>
                        <a:pt x="229" y="133"/>
                      </a:cubicBezTo>
                      <a:cubicBezTo>
                        <a:pt x="232" y="129"/>
                        <a:pt x="232" y="129"/>
                        <a:pt x="232" y="129"/>
                      </a:cubicBezTo>
                      <a:cubicBezTo>
                        <a:pt x="231" y="124"/>
                        <a:pt x="231" y="124"/>
                        <a:pt x="231" y="124"/>
                      </a:cubicBez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>
                    <a:spcBef>
                      <a:spcPct val="0"/>
                    </a:spcBef>
                  </a:pPr>
                  <a:endParaRPr lang="de-DE" sz="2133" dirty="0">
                    <a:latin typeface="Calibri" pitchFamily="34" charset="0"/>
                    <a:cs typeface="Calibri" pitchFamily="34" charset="0"/>
                  </a:endParaRPr>
                </a:p>
              </p:txBody>
            </p:sp>
          </p:grpSp>
          <p:grpSp>
            <p:nvGrpSpPr>
              <p:cNvPr id="1073" name="Gruppieren 70">
                <a:extLst>
                  <a:ext uri="{FF2B5EF4-FFF2-40B4-BE49-F238E27FC236}">
                    <a16:creationId xmlns:a16="http://schemas.microsoft.com/office/drawing/2014/main" id="{DA5B2992-5F65-5826-410B-13FDE626DDC7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913034" y="1944270"/>
                <a:ext cx="196076" cy="202747"/>
                <a:chOff x="4318001" y="1228725"/>
                <a:chExt cx="2952746" cy="3989388"/>
              </a:xfrm>
              <a:grpFill/>
              <a:effectLst/>
            </p:grpSpPr>
            <p:sp>
              <p:nvSpPr>
                <p:cNvPr id="1074" name="Freeform 45">
                  <a:extLst>
                    <a:ext uri="{FF2B5EF4-FFF2-40B4-BE49-F238E27FC236}">
                      <a16:creationId xmlns:a16="http://schemas.microsoft.com/office/drawing/2014/main" id="{DD4802CA-CD10-2443-8B61-DA0D317655C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4318001" y="4873625"/>
                  <a:ext cx="457200" cy="344488"/>
                </a:xfrm>
                <a:custGeom>
                  <a:avLst/>
                  <a:gdLst>
                    <a:gd name="T0" fmla="*/ 260 w 288"/>
                    <a:gd name="T1" fmla="*/ 164 h 217"/>
                    <a:gd name="T2" fmla="*/ 279 w 288"/>
                    <a:gd name="T3" fmla="*/ 148 h 217"/>
                    <a:gd name="T4" fmla="*/ 282 w 288"/>
                    <a:gd name="T5" fmla="*/ 137 h 217"/>
                    <a:gd name="T6" fmla="*/ 288 w 288"/>
                    <a:gd name="T7" fmla="*/ 127 h 217"/>
                    <a:gd name="T8" fmla="*/ 288 w 288"/>
                    <a:gd name="T9" fmla="*/ 116 h 217"/>
                    <a:gd name="T10" fmla="*/ 264 w 288"/>
                    <a:gd name="T11" fmla="*/ 108 h 217"/>
                    <a:gd name="T12" fmla="*/ 260 w 288"/>
                    <a:gd name="T13" fmla="*/ 95 h 217"/>
                    <a:gd name="T14" fmla="*/ 245 w 288"/>
                    <a:gd name="T15" fmla="*/ 82 h 217"/>
                    <a:gd name="T16" fmla="*/ 260 w 288"/>
                    <a:gd name="T17" fmla="*/ 67 h 217"/>
                    <a:gd name="T18" fmla="*/ 258 w 288"/>
                    <a:gd name="T19" fmla="*/ 50 h 217"/>
                    <a:gd name="T20" fmla="*/ 252 w 288"/>
                    <a:gd name="T21" fmla="*/ 24 h 217"/>
                    <a:gd name="T22" fmla="*/ 237 w 288"/>
                    <a:gd name="T23" fmla="*/ 27 h 217"/>
                    <a:gd name="T24" fmla="*/ 229 w 288"/>
                    <a:gd name="T25" fmla="*/ 19 h 217"/>
                    <a:gd name="T26" fmla="*/ 207 w 288"/>
                    <a:gd name="T27" fmla="*/ 14 h 217"/>
                    <a:gd name="T28" fmla="*/ 195 w 288"/>
                    <a:gd name="T29" fmla="*/ 0 h 217"/>
                    <a:gd name="T30" fmla="*/ 165 w 288"/>
                    <a:gd name="T31" fmla="*/ 0 h 217"/>
                    <a:gd name="T32" fmla="*/ 136 w 288"/>
                    <a:gd name="T33" fmla="*/ 16 h 217"/>
                    <a:gd name="T34" fmla="*/ 101 w 288"/>
                    <a:gd name="T35" fmla="*/ 34 h 217"/>
                    <a:gd name="T36" fmla="*/ 69 w 288"/>
                    <a:gd name="T37" fmla="*/ 50 h 217"/>
                    <a:gd name="T38" fmla="*/ 43 w 288"/>
                    <a:gd name="T39" fmla="*/ 39 h 217"/>
                    <a:gd name="T40" fmla="*/ 1 w 288"/>
                    <a:gd name="T41" fmla="*/ 39 h 217"/>
                    <a:gd name="T42" fmla="*/ 0 w 288"/>
                    <a:gd name="T43" fmla="*/ 67 h 217"/>
                    <a:gd name="T44" fmla="*/ 22 w 288"/>
                    <a:gd name="T45" fmla="*/ 67 h 217"/>
                    <a:gd name="T46" fmla="*/ 56 w 288"/>
                    <a:gd name="T47" fmla="*/ 98 h 217"/>
                    <a:gd name="T48" fmla="*/ 67 w 288"/>
                    <a:gd name="T49" fmla="*/ 128 h 217"/>
                    <a:gd name="T50" fmla="*/ 81 w 288"/>
                    <a:gd name="T51" fmla="*/ 148 h 217"/>
                    <a:gd name="T52" fmla="*/ 96 w 288"/>
                    <a:gd name="T53" fmla="*/ 193 h 217"/>
                    <a:gd name="T54" fmla="*/ 110 w 288"/>
                    <a:gd name="T55" fmla="*/ 193 h 217"/>
                    <a:gd name="T56" fmla="*/ 131 w 288"/>
                    <a:gd name="T57" fmla="*/ 201 h 217"/>
                    <a:gd name="T58" fmla="*/ 131 w 288"/>
                    <a:gd name="T59" fmla="*/ 175 h 217"/>
                    <a:gd name="T60" fmla="*/ 162 w 288"/>
                    <a:gd name="T61" fmla="*/ 175 h 217"/>
                    <a:gd name="T62" fmla="*/ 181 w 288"/>
                    <a:gd name="T63" fmla="*/ 185 h 217"/>
                    <a:gd name="T64" fmla="*/ 187 w 288"/>
                    <a:gd name="T65" fmla="*/ 212 h 217"/>
                    <a:gd name="T66" fmla="*/ 205 w 288"/>
                    <a:gd name="T67" fmla="*/ 201 h 217"/>
                    <a:gd name="T68" fmla="*/ 218 w 288"/>
                    <a:gd name="T69" fmla="*/ 217 h 217"/>
                    <a:gd name="T70" fmla="*/ 253 w 288"/>
                    <a:gd name="T71" fmla="*/ 217 h 217"/>
                    <a:gd name="T72" fmla="*/ 272 w 288"/>
                    <a:gd name="T73" fmla="*/ 194 h 217"/>
                    <a:gd name="T74" fmla="*/ 260 w 288"/>
                    <a:gd name="T75" fmla="*/ 181 h 217"/>
                    <a:gd name="T76" fmla="*/ 260 w 288"/>
                    <a:gd name="T77" fmla="*/ 164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88" h="217">
                      <a:moveTo>
                        <a:pt x="260" y="164"/>
                      </a:moveTo>
                      <a:lnTo>
                        <a:pt x="279" y="148"/>
                      </a:lnTo>
                      <a:lnTo>
                        <a:pt x="282" y="137"/>
                      </a:lnTo>
                      <a:lnTo>
                        <a:pt x="288" y="127"/>
                      </a:lnTo>
                      <a:lnTo>
                        <a:pt x="288" y="116"/>
                      </a:lnTo>
                      <a:lnTo>
                        <a:pt x="264" y="108"/>
                      </a:lnTo>
                      <a:lnTo>
                        <a:pt x="260" y="95"/>
                      </a:lnTo>
                      <a:lnTo>
                        <a:pt x="245" y="82"/>
                      </a:lnTo>
                      <a:lnTo>
                        <a:pt x="260" y="67"/>
                      </a:lnTo>
                      <a:lnTo>
                        <a:pt x="258" y="50"/>
                      </a:lnTo>
                      <a:lnTo>
                        <a:pt x="252" y="24"/>
                      </a:lnTo>
                      <a:lnTo>
                        <a:pt x="237" y="27"/>
                      </a:lnTo>
                      <a:lnTo>
                        <a:pt x="229" y="19"/>
                      </a:lnTo>
                      <a:lnTo>
                        <a:pt x="207" y="14"/>
                      </a:lnTo>
                      <a:lnTo>
                        <a:pt x="195" y="0"/>
                      </a:lnTo>
                      <a:lnTo>
                        <a:pt x="165" y="0"/>
                      </a:lnTo>
                      <a:lnTo>
                        <a:pt x="136" y="16"/>
                      </a:lnTo>
                      <a:lnTo>
                        <a:pt x="101" y="34"/>
                      </a:lnTo>
                      <a:lnTo>
                        <a:pt x="69" y="50"/>
                      </a:lnTo>
                      <a:lnTo>
                        <a:pt x="43" y="39"/>
                      </a:lnTo>
                      <a:lnTo>
                        <a:pt x="1" y="39"/>
                      </a:lnTo>
                      <a:lnTo>
                        <a:pt x="0" y="67"/>
                      </a:lnTo>
                      <a:lnTo>
                        <a:pt x="22" y="67"/>
                      </a:lnTo>
                      <a:lnTo>
                        <a:pt x="56" y="98"/>
                      </a:lnTo>
                      <a:lnTo>
                        <a:pt x="67" y="128"/>
                      </a:lnTo>
                      <a:lnTo>
                        <a:pt x="81" y="148"/>
                      </a:lnTo>
                      <a:lnTo>
                        <a:pt x="96" y="193"/>
                      </a:lnTo>
                      <a:lnTo>
                        <a:pt x="110" y="193"/>
                      </a:lnTo>
                      <a:lnTo>
                        <a:pt x="131" y="201"/>
                      </a:lnTo>
                      <a:lnTo>
                        <a:pt x="131" y="175"/>
                      </a:lnTo>
                      <a:lnTo>
                        <a:pt x="162" y="175"/>
                      </a:lnTo>
                      <a:lnTo>
                        <a:pt x="181" y="185"/>
                      </a:lnTo>
                      <a:lnTo>
                        <a:pt x="187" y="212"/>
                      </a:lnTo>
                      <a:lnTo>
                        <a:pt x="205" y="201"/>
                      </a:lnTo>
                      <a:lnTo>
                        <a:pt x="218" y="217"/>
                      </a:lnTo>
                      <a:lnTo>
                        <a:pt x="253" y="217"/>
                      </a:lnTo>
                      <a:lnTo>
                        <a:pt x="272" y="194"/>
                      </a:lnTo>
                      <a:lnTo>
                        <a:pt x="260" y="181"/>
                      </a:lnTo>
                      <a:lnTo>
                        <a:pt x="260" y="164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  <p:grpSp>
              <p:nvGrpSpPr>
                <p:cNvPr id="1075" name="Group 210">
                  <a:extLst>
                    <a:ext uri="{FF2B5EF4-FFF2-40B4-BE49-F238E27FC236}">
                      <a16:creationId xmlns:a16="http://schemas.microsoft.com/office/drawing/2014/main" id="{560832DF-823D-D015-C1DA-FECA07D8971D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5149851" y="1228725"/>
                  <a:ext cx="1317625" cy="265113"/>
                  <a:chOff x="5149851" y="1228725"/>
                  <a:chExt cx="1317625" cy="265113"/>
                </a:xfrm>
                <a:grpFill/>
              </p:grpSpPr>
              <p:sp>
                <p:nvSpPr>
                  <p:cNvPr id="1084" name="Freeform 53">
                    <a:extLst>
                      <a:ext uri="{FF2B5EF4-FFF2-40B4-BE49-F238E27FC236}">
                        <a16:creationId xmlns:a16="http://schemas.microsoft.com/office/drawing/2014/main" id="{702BC43D-DC5D-8109-1344-E4E3BAB8396A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86376" y="1379538"/>
                    <a:ext cx="44450" cy="50800"/>
                  </a:xfrm>
                  <a:custGeom>
                    <a:avLst/>
                    <a:gdLst>
                      <a:gd name="T0" fmla="*/ 1 w 28"/>
                      <a:gd name="T1" fmla="*/ 26 h 32"/>
                      <a:gd name="T2" fmla="*/ 8 w 28"/>
                      <a:gd name="T3" fmla="*/ 32 h 32"/>
                      <a:gd name="T4" fmla="*/ 28 w 28"/>
                      <a:gd name="T5" fmla="*/ 24 h 32"/>
                      <a:gd name="T6" fmla="*/ 28 w 28"/>
                      <a:gd name="T7" fmla="*/ 0 h 32"/>
                      <a:gd name="T8" fmla="*/ 8 w 28"/>
                      <a:gd name="T9" fmla="*/ 5 h 32"/>
                      <a:gd name="T10" fmla="*/ 0 w 28"/>
                      <a:gd name="T11" fmla="*/ 13 h 32"/>
                      <a:gd name="T12" fmla="*/ 1 w 28"/>
                      <a:gd name="T13" fmla="*/ 26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2">
                        <a:moveTo>
                          <a:pt x="1" y="26"/>
                        </a:moveTo>
                        <a:lnTo>
                          <a:pt x="8" y="32"/>
                        </a:lnTo>
                        <a:lnTo>
                          <a:pt x="28" y="24"/>
                        </a:lnTo>
                        <a:lnTo>
                          <a:pt x="28" y="0"/>
                        </a:lnTo>
                        <a:lnTo>
                          <a:pt x="8" y="5"/>
                        </a:lnTo>
                        <a:lnTo>
                          <a:pt x="0" y="13"/>
                        </a:lnTo>
                        <a:lnTo>
                          <a:pt x="1" y="26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5" name="Freeform 54">
                    <a:extLst>
                      <a:ext uri="{FF2B5EF4-FFF2-40B4-BE49-F238E27FC236}">
                        <a16:creationId xmlns:a16="http://schemas.microsoft.com/office/drawing/2014/main" id="{57055BE9-684B-A547-675B-D8692410743B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59388" y="1311275"/>
                    <a:ext cx="44450" cy="14288"/>
                  </a:xfrm>
                  <a:custGeom>
                    <a:avLst/>
                    <a:gdLst>
                      <a:gd name="T0" fmla="*/ 10 w 28"/>
                      <a:gd name="T1" fmla="*/ 0 h 9"/>
                      <a:gd name="T2" fmla="*/ 0 w 28"/>
                      <a:gd name="T3" fmla="*/ 9 h 9"/>
                      <a:gd name="T4" fmla="*/ 13 w 28"/>
                      <a:gd name="T5" fmla="*/ 9 h 9"/>
                      <a:gd name="T6" fmla="*/ 28 w 28"/>
                      <a:gd name="T7" fmla="*/ 0 h 9"/>
                      <a:gd name="T8" fmla="*/ 10 w 28"/>
                      <a:gd name="T9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" h="9">
                        <a:moveTo>
                          <a:pt x="10" y="0"/>
                        </a:moveTo>
                        <a:lnTo>
                          <a:pt x="0" y="9"/>
                        </a:lnTo>
                        <a:lnTo>
                          <a:pt x="13" y="9"/>
                        </a:lnTo>
                        <a:lnTo>
                          <a:pt x="28" y="0"/>
                        </a:lnTo>
                        <a:lnTo>
                          <a:pt x="10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6" name="Freeform 55">
                    <a:extLst>
                      <a:ext uri="{FF2B5EF4-FFF2-40B4-BE49-F238E27FC236}">
                        <a16:creationId xmlns:a16="http://schemas.microsoft.com/office/drawing/2014/main" id="{81DC9631-165D-2E2E-FC16-35D0105FDABE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149851" y="1270000"/>
                    <a:ext cx="49213" cy="68263"/>
                  </a:xfrm>
                  <a:custGeom>
                    <a:avLst/>
                    <a:gdLst>
                      <a:gd name="T0" fmla="*/ 21 w 31"/>
                      <a:gd name="T1" fmla="*/ 13 h 43"/>
                      <a:gd name="T2" fmla="*/ 17 w 31"/>
                      <a:gd name="T3" fmla="*/ 0 h 43"/>
                      <a:gd name="T4" fmla="*/ 0 w 31"/>
                      <a:gd name="T5" fmla="*/ 19 h 43"/>
                      <a:gd name="T6" fmla="*/ 10 w 31"/>
                      <a:gd name="T7" fmla="*/ 27 h 43"/>
                      <a:gd name="T8" fmla="*/ 21 w 31"/>
                      <a:gd name="T9" fmla="*/ 43 h 43"/>
                      <a:gd name="T10" fmla="*/ 31 w 31"/>
                      <a:gd name="T11" fmla="*/ 43 h 43"/>
                      <a:gd name="T12" fmla="*/ 25 w 31"/>
                      <a:gd name="T13" fmla="*/ 26 h 43"/>
                      <a:gd name="T14" fmla="*/ 21 w 31"/>
                      <a:gd name="T15" fmla="*/ 1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3">
                        <a:moveTo>
                          <a:pt x="21" y="13"/>
                        </a:moveTo>
                        <a:lnTo>
                          <a:pt x="17" y="0"/>
                        </a:lnTo>
                        <a:lnTo>
                          <a:pt x="0" y="19"/>
                        </a:lnTo>
                        <a:lnTo>
                          <a:pt x="10" y="27"/>
                        </a:lnTo>
                        <a:lnTo>
                          <a:pt x="21" y="43"/>
                        </a:lnTo>
                        <a:lnTo>
                          <a:pt x="31" y="43"/>
                        </a:lnTo>
                        <a:lnTo>
                          <a:pt x="25" y="26"/>
                        </a:lnTo>
                        <a:lnTo>
                          <a:pt x="21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7" name="Freeform 56">
                    <a:extLst>
                      <a:ext uri="{FF2B5EF4-FFF2-40B4-BE49-F238E27FC236}">
                        <a16:creationId xmlns:a16="http://schemas.microsoft.com/office/drawing/2014/main" id="{EAA757E3-6814-FB4B-0FFF-57CBCDEA64B4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5203826" y="1228725"/>
                    <a:ext cx="82550" cy="58738"/>
                  </a:xfrm>
                  <a:custGeom>
                    <a:avLst/>
                    <a:gdLst>
                      <a:gd name="T0" fmla="*/ 52 w 52"/>
                      <a:gd name="T1" fmla="*/ 8 h 37"/>
                      <a:gd name="T2" fmla="*/ 39 w 52"/>
                      <a:gd name="T3" fmla="*/ 0 h 37"/>
                      <a:gd name="T4" fmla="*/ 10 w 52"/>
                      <a:gd name="T5" fmla="*/ 0 h 37"/>
                      <a:gd name="T6" fmla="*/ 0 w 52"/>
                      <a:gd name="T7" fmla="*/ 10 h 37"/>
                      <a:gd name="T8" fmla="*/ 0 w 52"/>
                      <a:gd name="T9" fmla="*/ 21 h 37"/>
                      <a:gd name="T10" fmla="*/ 16 w 52"/>
                      <a:gd name="T11" fmla="*/ 37 h 37"/>
                      <a:gd name="T12" fmla="*/ 48 w 52"/>
                      <a:gd name="T13" fmla="*/ 34 h 37"/>
                      <a:gd name="T14" fmla="*/ 52 w 52"/>
                      <a:gd name="T15" fmla="*/ 8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2" h="37">
                        <a:moveTo>
                          <a:pt x="52" y="8"/>
                        </a:moveTo>
                        <a:lnTo>
                          <a:pt x="39" y="0"/>
                        </a:lnTo>
                        <a:lnTo>
                          <a:pt x="10" y="0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16" y="37"/>
                        </a:lnTo>
                        <a:lnTo>
                          <a:pt x="48" y="34"/>
                        </a:lnTo>
                        <a:lnTo>
                          <a:pt x="52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8" name="Freeform 57">
                    <a:extLst>
                      <a:ext uri="{FF2B5EF4-FFF2-40B4-BE49-F238E27FC236}">
                        <a16:creationId xmlns:a16="http://schemas.microsoft.com/office/drawing/2014/main" id="{DDB55EDF-5771-812E-1476-68900670E41C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6340476" y="1395413"/>
                    <a:ext cx="127000" cy="98425"/>
                  </a:xfrm>
                  <a:custGeom>
                    <a:avLst/>
                    <a:gdLst>
                      <a:gd name="T0" fmla="*/ 74 w 80"/>
                      <a:gd name="T1" fmla="*/ 42 h 62"/>
                      <a:gd name="T2" fmla="*/ 64 w 80"/>
                      <a:gd name="T3" fmla="*/ 16 h 62"/>
                      <a:gd name="T4" fmla="*/ 34 w 80"/>
                      <a:gd name="T5" fmla="*/ 3 h 62"/>
                      <a:gd name="T6" fmla="*/ 11 w 80"/>
                      <a:gd name="T7" fmla="*/ 0 h 62"/>
                      <a:gd name="T8" fmla="*/ 0 w 80"/>
                      <a:gd name="T9" fmla="*/ 17 h 62"/>
                      <a:gd name="T10" fmla="*/ 0 w 80"/>
                      <a:gd name="T11" fmla="*/ 42 h 62"/>
                      <a:gd name="T12" fmla="*/ 19 w 80"/>
                      <a:gd name="T13" fmla="*/ 42 h 62"/>
                      <a:gd name="T14" fmla="*/ 23 w 80"/>
                      <a:gd name="T15" fmla="*/ 53 h 62"/>
                      <a:gd name="T16" fmla="*/ 32 w 80"/>
                      <a:gd name="T17" fmla="*/ 62 h 62"/>
                      <a:gd name="T18" fmla="*/ 47 w 80"/>
                      <a:gd name="T19" fmla="*/ 59 h 62"/>
                      <a:gd name="T20" fmla="*/ 58 w 80"/>
                      <a:gd name="T21" fmla="*/ 56 h 62"/>
                      <a:gd name="T22" fmla="*/ 80 w 80"/>
                      <a:gd name="T23" fmla="*/ 62 h 62"/>
                      <a:gd name="T24" fmla="*/ 74 w 80"/>
                      <a:gd name="T25" fmla="*/ 42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0" h="62">
                        <a:moveTo>
                          <a:pt x="74" y="42"/>
                        </a:moveTo>
                        <a:lnTo>
                          <a:pt x="64" y="16"/>
                        </a:lnTo>
                        <a:lnTo>
                          <a:pt x="34" y="3"/>
                        </a:lnTo>
                        <a:lnTo>
                          <a:pt x="11" y="0"/>
                        </a:lnTo>
                        <a:lnTo>
                          <a:pt x="0" y="17"/>
                        </a:lnTo>
                        <a:lnTo>
                          <a:pt x="0" y="42"/>
                        </a:lnTo>
                        <a:lnTo>
                          <a:pt x="19" y="42"/>
                        </a:lnTo>
                        <a:lnTo>
                          <a:pt x="23" y="53"/>
                        </a:lnTo>
                        <a:lnTo>
                          <a:pt x="32" y="62"/>
                        </a:lnTo>
                        <a:lnTo>
                          <a:pt x="47" y="59"/>
                        </a:lnTo>
                        <a:lnTo>
                          <a:pt x="58" y="56"/>
                        </a:lnTo>
                        <a:lnTo>
                          <a:pt x="80" y="62"/>
                        </a:lnTo>
                        <a:lnTo>
                          <a:pt x="74" y="42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grpSp>
              <p:nvGrpSpPr>
                <p:cNvPr id="1076" name="Group 212">
                  <a:extLst>
                    <a:ext uri="{FF2B5EF4-FFF2-40B4-BE49-F238E27FC236}">
                      <a16:creationId xmlns:a16="http://schemas.microsoft.com/office/drawing/2014/main" id="{02E5794C-84B7-CF6C-8F35-E099B30B0D86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4446588" y="1955800"/>
                  <a:ext cx="504826" cy="157163"/>
                  <a:chOff x="4446588" y="1955800"/>
                  <a:chExt cx="504826" cy="157163"/>
                </a:xfrm>
                <a:grpFill/>
              </p:grpSpPr>
              <p:sp>
                <p:nvSpPr>
                  <p:cNvPr id="1078" name="Freeform 60">
                    <a:extLst>
                      <a:ext uri="{FF2B5EF4-FFF2-40B4-BE49-F238E27FC236}">
                        <a16:creationId xmlns:a16="http://schemas.microsoft.com/office/drawing/2014/main" id="{45F39493-4AB5-84B3-3B5B-1F17166D1649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446588" y="2085975"/>
                    <a:ext cx="53975" cy="26988"/>
                  </a:xfrm>
                  <a:custGeom>
                    <a:avLst/>
                    <a:gdLst>
                      <a:gd name="T0" fmla="*/ 28 w 34"/>
                      <a:gd name="T1" fmla="*/ 17 h 17"/>
                      <a:gd name="T2" fmla="*/ 23 w 34"/>
                      <a:gd name="T3" fmla="*/ 8 h 17"/>
                      <a:gd name="T4" fmla="*/ 34 w 34"/>
                      <a:gd name="T5" fmla="*/ 0 h 17"/>
                      <a:gd name="T6" fmla="*/ 0 w 34"/>
                      <a:gd name="T7" fmla="*/ 0 h 17"/>
                      <a:gd name="T8" fmla="*/ 0 w 34"/>
                      <a:gd name="T9" fmla="*/ 13 h 17"/>
                      <a:gd name="T10" fmla="*/ 12 w 34"/>
                      <a:gd name="T11" fmla="*/ 17 h 17"/>
                      <a:gd name="T12" fmla="*/ 28 w 34"/>
                      <a:gd name="T13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" h="17">
                        <a:moveTo>
                          <a:pt x="28" y="17"/>
                        </a:moveTo>
                        <a:lnTo>
                          <a:pt x="23" y="8"/>
                        </a:lnTo>
                        <a:lnTo>
                          <a:pt x="34" y="0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12" y="17"/>
                        </a:lnTo>
                        <a:lnTo>
                          <a:pt x="28" y="17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79" name="Freeform 61">
                    <a:extLst>
                      <a:ext uri="{FF2B5EF4-FFF2-40B4-BE49-F238E27FC236}">
                        <a16:creationId xmlns:a16="http://schemas.microsoft.com/office/drawing/2014/main" id="{A8770DF4-5B01-B416-7813-1E5F8B16E863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537076" y="2027238"/>
                    <a:ext cx="85725" cy="42863"/>
                  </a:xfrm>
                  <a:custGeom>
                    <a:avLst/>
                    <a:gdLst>
                      <a:gd name="T0" fmla="*/ 12 w 54"/>
                      <a:gd name="T1" fmla="*/ 13 h 27"/>
                      <a:gd name="T2" fmla="*/ 24 w 54"/>
                      <a:gd name="T3" fmla="*/ 6 h 27"/>
                      <a:gd name="T4" fmla="*/ 54 w 54"/>
                      <a:gd name="T5" fmla="*/ 0 h 27"/>
                      <a:gd name="T6" fmla="*/ 24 w 54"/>
                      <a:gd name="T7" fmla="*/ 0 h 27"/>
                      <a:gd name="T8" fmla="*/ 0 w 54"/>
                      <a:gd name="T9" fmla="*/ 8 h 27"/>
                      <a:gd name="T10" fmla="*/ 0 w 54"/>
                      <a:gd name="T11" fmla="*/ 18 h 27"/>
                      <a:gd name="T12" fmla="*/ 8 w 54"/>
                      <a:gd name="T13" fmla="*/ 27 h 27"/>
                      <a:gd name="T14" fmla="*/ 12 w 54"/>
                      <a:gd name="T15" fmla="*/ 13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4" h="27">
                        <a:moveTo>
                          <a:pt x="12" y="13"/>
                        </a:moveTo>
                        <a:lnTo>
                          <a:pt x="24" y="6"/>
                        </a:lnTo>
                        <a:lnTo>
                          <a:pt x="54" y="0"/>
                        </a:lnTo>
                        <a:lnTo>
                          <a:pt x="24" y="0"/>
                        </a:lnTo>
                        <a:lnTo>
                          <a:pt x="0" y="8"/>
                        </a:lnTo>
                        <a:lnTo>
                          <a:pt x="0" y="18"/>
                        </a:lnTo>
                        <a:lnTo>
                          <a:pt x="8" y="27"/>
                        </a:lnTo>
                        <a:lnTo>
                          <a:pt x="12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0" name="Freeform 62">
                    <a:extLst>
                      <a:ext uri="{FF2B5EF4-FFF2-40B4-BE49-F238E27FC236}">
                        <a16:creationId xmlns:a16="http://schemas.microsoft.com/office/drawing/2014/main" id="{ACC4A2F0-952E-538C-1840-770DE3259956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659313" y="1989138"/>
                    <a:ext cx="80963" cy="26988"/>
                  </a:xfrm>
                  <a:custGeom>
                    <a:avLst/>
                    <a:gdLst>
                      <a:gd name="T0" fmla="*/ 51 w 51"/>
                      <a:gd name="T1" fmla="*/ 8 h 17"/>
                      <a:gd name="T2" fmla="*/ 29 w 51"/>
                      <a:gd name="T3" fmla="*/ 0 h 17"/>
                      <a:gd name="T4" fmla="*/ 4 w 51"/>
                      <a:gd name="T5" fmla="*/ 3 h 17"/>
                      <a:gd name="T6" fmla="*/ 0 w 51"/>
                      <a:gd name="T7" fmla="*/ 17 h 17"/>
                      <a:gd name="T8" fmla="*/ 27 w 51"/>
                      <a:gd name="T9" fmla="*/ 14 h 17"/>
                      <a:gd name="T10" fmla="*/ 51 w 51"/>
                      <a:gd name="T11" fmla="*/ 8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1" h="17">
                        <a:moveTo>
                          <a:pt x="51" y="8"/>
                        </a:moveTo>
                        <a:lnTo>
                          <a:pt x="29" y="0"/>
                        </a:lnTo>
                        <a:lnTo>
                          <a:pt x="4" y="3"/>
                        </a:lnTo>
                        <a:lnTo>
                          <a:pt x="0" y="17"/>
                        </a:lnTo>
                        <a:lnTo>
                          <a:pt x="27" y="14"/>
                        </a:lnTo>
                        <a:lnTo>
                          <a:pt x="51" y="8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1" name="Freeform 63">
                    <a:extLst>
                      <a:ext uri="{FF2B5EF4-FFF2-40B4-BE49-F238E27FC236}">
                        <a16:creationId xmlns:a16="http://schemas.microsoft.com/office/drawing/2014/main" id="{9CCACA21-00CE-3D33-C782-A2A08445C3DF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883151" y="1955800"/>
                    <a:ext cx="68263" cy="22225"/>
                  </a:xfrm>
                  <a:custGeom>
                    <a:avLst/>
                    <a:gdLst>
                      <a:gd name="T0" fmla="*/ 43 w 43"/>
                      <a:gd name="T1" fmla="*/ 0 h 14"/>
                      <a:gd name="T2" fmla="*/ 6 w 43"/>
                      <a:gd name="T3" fmla="*/ 0 h 14"/>
                      <a:gd name="T4" fmla="*/ 0 w 43"/>
                      <a:gd name="T5" fmla="*/ 14 h 14"/>
                      <a:gd name="T6" fmla="*/ 21 w 43"/>
                      <a:gd name="T7" fmla="*/ 11 h 14"/>
                      <a:gd name="T8" fmla="*/ 43 w 43"/>
                      <a:gd name="T9" fmla="*/ 0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3" h="14">
                        <a:moveTo>
                          <a:pt x="43" y="0"/>
                        </a:moveTo>
                        <a:lnTo>
                          <a:pt x="6" y="0"/>
                        </a:lnTo>
                        <a:lnTo>
                          <a:pt x="0" y="14"/>
                        </a:lnTo>
                        <a:lnTo>
                          <a:pt x="21" y="11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2" name="Freeform 64">
                    <a:extLst>
                      <a:ext uri="{FF2B5EF4-FFF2-40B4-BE49-F238E27FC236}">
                        <a16:creationId xmlns:a16="http://schemas.microsoft.com/office/drawing/2014/main" id="{8DBE5C64-47D9-FB12-A939-8AC3BF176EC2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60913" y="1989138"/>
                    <a:ext cx="17463" cy="9525"/>
                  </a:xfrm>
                  <a:custGeom>
                    <a:avLst/>
                    <a:gdLst>
                      <a:gd name="T0" fmla="*/ 11 w 11"/>
                      <a:gd name="T1" fmla="*/ 0 h 6"/>
                      <a:gd name="T2" fmla="*/ 0 w 11"/>
                      <a:gd name="T3" fmla="*/ 0 h 6"/>
                      <a:gd name="T4" fmla="*/ 0 w 11"/>
                      <a:gd name="T5" fmla="*/ 6 h 6"/>
                      <a:gd name="T6" fmla="*/ 11 w 11"/>
                      <a:gd name="T7" fmla="*/ 5 h 6"/>
                      <a:gd name="T8" fmla="*/ 11 w 11"/>
                      <a:gd name="T9" fmla="*/ 0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6">
                        <a:moveTo>
                          <a:pt x="11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  <p:sp>
                <p:nvSpPr>
                  <p:cNvPr id="1083" name="Freeform 65">
                    <a:extLst>
                      <a:ext uri="{FF2B5EF4-FFF2-40B4-BE49-F238E27FC236}">
                        <a16:creationId xmlns:a16="http://schemas.microsoft.com/office/drawing/2014/main" id="{54BF38AF-EF64-AB60-695A-8EFE1A7B2022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 bwMode="auto">
                  <a:xfrm>
                    <a:off x="4795838" y="1978025"/>
                    <a:ext cx="36513" cy="25400"/>
                  </a:xfrm>
                  <a:custGeom>
                    <a:avLst/>
                    <a:gdLst>
                      <a:gd name="T0" fmla="*/ 13 w 23"/>
                      <a:gd name="T1" fmla="*/ 13 h 16"/>
                      <a:gd name="T2" fmla="*/ 23 w 23"/>
                      <a:gd name="T3" fmla="*/ 4 h 16"/>
                      <a:gd name="T4" fmla="*/ 0 w 23"/>
                      <a:gd name="T5" fmla="*/ 0 h 16"/>
                      <a:gd name="T6" fmla="*/ 4 w 23"/>
                      <a:gd name="T7" fmla="*/ 16 h 16"/>
                      <a:gd name="T8" fmla="*/ 13 w 23"/>
                      <a:gd name="T9" fmla="*/ 13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16">
                        <a:moveTo>
                          <a:pt x="13" y="13"/>
                        </a:moveTo>
                        <a:lnTo>
                          <a:pt x="23" y="4"/>
                        </a:lnTo>
                        <a:lnTo>
                          <a:pt x="0" y="0"/>
                        </a:lnTo>
                        <a:lnTo>
                          <a:pt x="4" y="16"/>
                        </a:lnTo>
                        <a:lnTo>
                          <a:pt x="13" y="13"/>
                        </a:lnTo>
                        <a:close/>
                      </a:path>
                    </a:pathLst>
                  </a:custGeom>
                  <a:grpFill/>
                  <a:ln w="31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121904" tIns="60952" rIns="121904" bIns="6095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400" dirty="0"/>
                  </a:p>
                </p:txBody>
              </p:sp>
            </p:grpSp>
            <p:sp>
              <p:nvSpPr>
                <p:cNvPr id="1077" name="Freeform 68">
                  <a:extLst>
                    <a:ext uri="{FF2B5EF4-FFF2-40B4-BE49-F238E27FC236}">
                      <a16:creationId xmlns:a16="http://schemas.microsoft.com/office/drawing/2014/main" id="{BA299395-BF6A-0EA8-6ED0-38555BE7F72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 bwMode="auto">
                <a:xfrm>
                  <a:off x="7235824" y="1357321"/>
                  <a:ext cx="34923" cy="73024"/>
                </a:xfrm>
                <a:custGeom>
                  <a:avLst/>
                  <a:gdLst>
                    <a:gd name="T0" fmla="*/ 16 w 22"/>
                    <a:gd name="T1" fmla="*/ 6 h 46"/>
                    <a:gd name="T2" fmla="*/ 22 w 22"/>
                    <a:gd name="T3" fmla="*/ 0 h 46"/>
                    <a:gd name="T4" fmla="*/ 6 w 22"/>
                    <a:gd name="T5" fmla="*/ 0 h 46"/>
                    <a:gd name="T6" fmla="*/ 0 w 22"/>
                    <a:gd name="T7" fmla="*/ 35 h 46"/>
                    <a:gd name="T8" fmla="*/ 0 w 22"/>
                    <a:gd name="T9" fmla="*/ 46 h 46"/>
                    <a:gd name="T10" fmla="*/ 6 w 22"/>
                    <a:gd name="T11" fmla="*/ 24 h 46"/>
                    <a:gd name="T12" fmla="*/ 16 w 22"/>
                    <a:gd name="T13" fmla="*/ 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" h="46">
                      <a:moveTo>
                        <a:pt x="16" y="6"/>
                      </a:moveTo>
                      <a:lnTo>
                        <a:pt x="22" y="0"/>
                      </a:lnTo>
                      <a:lnTo>
                        <a:pt x="6" y="0"/>
                      </a:lnTo>
                      <a:lnTo>
                        <a:pt x="0" y="35"/>
                      </a:lnTo>
                      <a:lnTo>
                        <a:pt x="0" y="46"/>
                      </a:lnTo>
                      <a:lnTo>
                        <a:pt x="6" y="24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31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121904" tIns="60952" rIns="121904" bIns="6095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2400" dirty="0"/>
                </a:p>
              </p:txBody>
            </p:sp>
          </p:grpSp>
        </p:grpSp>
      </p:grpSp>
      <p:sp>
        <p:nvSpPr>
          <p:cNvPr id="1108" name="Rectangle 1107">
            <a:extLst>
              <a:ext uri="{FF2B5EF4-FFF2-40B4-BE49-F238E27FC236}">
                <a16:creationId xmlns:a16="http://schemas.microsoft.com/office/drawing/2014/main" id="{7ACF9BAB-2BA5-3BEB-D162-367FE51942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40626" y="418867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09" name="Rectangle 1108">
            <a:extLst>
              <a:ext uri="{FF2B5EF4-FFF2-40B4-BE49-F238E27FC236}">
                <a16:creationId xmlns:a16="http://schemas.microsoft.com/office/drawing/2014/main" id="{F3FA90D9-3E1C-40C8-E51A-8FEBE37825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814607" y="283731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10" name="TextBox 1109">
            <a:extLst>
              <a:ext uri="{FF2B5EF4-FFF2-40B4-BE49-F238E27FC236}">
                <a16:creationId xmlns:a16="http://schemas.microsoft.com/office/drawing/2014/main" id="{78267C20-6F76-3010-6EFF-2577A16042D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10852" y="2570977"/>
            <a:ext cx="558069" cy="1466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Hambur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1" name="TextBox 1110">
            <a:extLst>
              <a:ext uri="{FF2B5EF4-FFF2-40B4-BE49-F238E27FC236}">
                <a16:creationId xmlns:a16="http://schemas.microsoft.com/office/drawing/2014/main" id="{C50EAACF-C6D4-2066-BA64-1EB38A400D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343717" y="2769164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Londo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2" name="TextBox 1111">
            <a:extLst>
              <a:ext uri="{FF2B5EF4-FFF2-40B4-BE49-F238E27FC236}">
                <a16:creationId xmlns:a16="http://schemas.microsoft.com/office/drawing/2014/main" id="{2A2E87F1-4622-6591-2E2A-4D06D69C57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3313" y="3085012"/>
            <a:ext cx="651030" cy="1837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osty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3" name="TextBox 1112">
            <a:extLst>
              <a:ext uri="{FF2B5EF4-FFF2-40B4-BE49-F238E27FC236}">
                <a16:creationId xmlns:a16="http://schemas.microsoft.com/office/drawing/2014/main" id="{6B25C345-5CFB-1506-D3D8-A47F94C11ED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017352" y="3374152"/>
            <a:ext cx="651030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Khorgos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4" name="TextBox 1113">
            <a:extLst>
              <a:ext uri="{FF2B5EF4-FFF2-40B4-BE49-F238E27FC236}">
                <a16:creationId xmlns:a16="http://schemas.microsoft.com/office/drawing/2014/main" id="{18C35887-E1FD-233C-B057-B3487891FFE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9017650" y="4124740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uzhou</a:t>
            </a:r>
          </a:p>
        </p:txBody>
      </p:sp>
      <p:sp>
        <p:nvSpPr>
          <p:cNvPr id="1115" name="TextBox 1114">
            <a:extLst>
              <a:ext uri="{FF2B5EF4-FFF2-40B4-BE49-F238E27FC236}">
                <a16:creationId xmlns:a16="http://schemas.microsoft.com/office/drawing/2014/main" id="{1B13DAC6-4548-97E7-B8CA-738D207418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54684" y="2832926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Zabaykalsk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6" name="TextBox 1115">
            <a:extLst>
              <a:ext uri="{FF2B5EF4-FFF2-40B4-BE49-F238E27FC236}">
                <a16:creationId xmlns:a16="http://schemas.microsoft.com/office/drawing/2014/main" id="{920FCB8B-03A4-BDA3-1277-29AAEA4B971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36352" y="3318906"/>
            <a:ext cx="651030" cy="1837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Erli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7" name="TextBox 1116">
            <a:extLst>
              <a:ext uri="{FF2B5EF4-FFF2-40B4-BE49-F238E27FC236}">
                <a16:creationId xmlns:a16="http://schemas.microsoft.com/office/drawing/2014/main" id="{9BFAF1CE-EF4C-17DC-B8B6-1BB2BE90C1E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976396" y="3420140"/>
            <a:ext cx="651030" cy="1837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Shenyan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18" name="TextBox 1117">
            <a:extLst>
              <a:ext uri="{FF2B5EF4-FFF2-40B4-BE49-F238E27FC236}">
                <a16:creationId xmlns:a16="http://schemas.microsoft.com/office/drawing/2014/main" id="{19C2D389-12E9-3567-1674-C82B0A82E57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44535" y="4325162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Yiwu</a:t>
            </a:r>
          </a:p>
        </p:txBody>
      </p:sp>
      <p:sp>
        <p:nvSpPr>
          <p:cNvPr id="1119" name="TextBox 1118">
            <a:extLst>
              <a:ext uri="{FF2B5EF4-FFF2-40B4-BE49-F238E27FC236}">
                <a16:creationId xmlns:a16="http://schemas.microsoft.com/office/drawing/2014/main" id="{3B6CB514-DD92-F940-3C4B-63F948FF806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372595" y="4063932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Wuhan</a:t>
            </a:r>
          </a:p>
        </p:txBody>
      </p:sp>
      <p:sp>
        <p:nvSpPr>
          <p:cNvPr id="1120" name="TextBox 1119">
            <a:extLst>
              <a:ext uri="{FF2B5EF4-FFF2-40B4-BE49-F238E27FC236}">
                <a16:creationId xmlns:a16="http://schemas.microsoft.com/office/drawing/2014/main" id="{FCE72850-812C-E5C8-B249-EE449B5D7F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54928" y="3890845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Zhengzhou</a:t>
            </a:r>
          </a:p>
        </p:txBody>
      </p:sp>
      <p:sp>
        <p:nvSpPr>
          <p:cNvPr id="1121" name="TextBox 1120">
            <a:extLst>
              <a:ext uri="{FF2B5EF4-FFF2-40B4-BE49-F238E27FC236}">
                <a16:creationId xmlns:a16="http://schemas.microsoft.com/office/drawing/2014/main" id="{4C5F34C9-9194-0219-6756-85E8C7EDE8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093589" y="4298609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Chengdu</a:t>
            </a:r>
          </a:p>
        </p:txBody>
      </p:sp>
      <p:sp>
        <p:nvSpPr>
          <p:cNvPr id="1122" name="Rectangle 1121">
            <a:extLst>
              <a:ext uri="{FF2B5EF4-FFF2-40B4-BE49-F238E27FC236}">
                <a16:creationId xmlns:a16="http://schemas.microsoft.com/office/drawing/2014/main" id="{BE85F75F-600D-A858-8792-F0C714DBF1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141564" y="2925579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23" name="TextBox 1122">
            <a:extLst>
              <a:ext uri="{FF2B5EF4-FFF2-40B4-BE49-F238E27FC236}">
                <a16:creationId xmlns:a16="http://schemas.microsoft.com/office/drawing/2014/main" id="{5D0660BC-DD64-2C20-7C2E-2357AA902EC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799488" y="2883680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Liege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24" name="TextBox 1123">
            <a:extLst>
              <a:ext uri="{FF2B5EF4-FFF2-40B4-BE49-F238E27FC236}">
                <a16:creationId xmlns:a16="http://schemas.microsoft.com/office/drawing/2014/main" id="{AC6EE861-6FA8-E37C-2A38-AA2CF4149B2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955803" y="2729663"/>
            <a:ext cx="558069" cy="1466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Duisburg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61EEFEBB-3B90-11EE-C531-59BA5AC4FC7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685230" y="3597392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adrid</a:t>
            </a:r>
          </a:p>
        </p:txBody>
      </p:sp>
      <p:sp>
        <p:nvSpPr>
          <p:cNvPr id="1126" name="TextBox 1125">
            <a:extLst>
              <a:ext uri="{FF2B5EF4-FFF2-40B4-BE49-F238E27FC236}">
                <a16:creationId xmlns:a16="http://schemas.microsoft.com/office/drawing/2014/main" id="{8B42968A-327E-6311-AC42-BF0FE084408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28171" y="3324455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ilan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27" name="TextBox 1126">
            <a:extLst>
              <a:ext uri="{FF2B5EF4-FFF2-40B4-BE49-F238E27FC236}">
                <a16:creationId xmlns:a16="http://schemas.microsoft.com/office/drawing/2014/main" id="{13D6C754-E60F-F7BB-710D-57D38CBF96F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455613" y="3120412"/>
            <a:ext cx="331005" cy="2257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Munich</a:t>
            </a:r>
            <a:endParaRPr lang="en-GB" sz="1100" dirty="0" err="1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28" name="Rectangle 1127">
            <a:extLst>
              <a:ext uri="{FF2B5EF4-FFF2-40B4-BE49-F238E27FC236}">
                <a16:creationId xmlns:a16="http://schemas.microsoft.com/office/drawing/2014/main" id="{3D24507B-488D-8DE3-98ED-59CDC551309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604929" y="295904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29" name="TextBox 1128">
            <a:extLst>
              <a:ext uri="{FF2B5EF4-FFF2-40B4-BE49-F238E27FC236}">
                <a16:creationId xmlns:a16="http://schemas.microsoft.com/office/drawing/2014/main" id="{AD2765CA-8108-155D-BE06-F771D8E0DE3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744984" y="2926915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Prague</a:t>
            </a:r>
          </a:p>
        </p:txBody>
      </p:sp>
      <p:sp>
        <p:nvSpPr>
          <p:cNvPr id="1130" name="Rectangle 1129">
            <a:extLst>
              <a:ext uri="{FF2B5EF4-FFF2-40B4-BE49-F238E27FC236}">
                <a16:creationId xmlns:a16="http://schemas.microsoft.com/office/drawing/2014/main" id="{1818E873-C81C-43C5-DC47-041E08F3BD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795073" y="306098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EE2F953B-9F61-21AD-E217-C587DF16DF4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899722" y="3074224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ratislava</a:t>
            </a:r>
          </a:p>
        </p:txBody>
      </p:sp>
      <p:sp>
        <p:nvSpPr>
          <p:cNvPr id="1132" name="TextBox 1131">
            <a:extLst>
              <a:ext uri="{FF2B5EF4-FFF2-40B4-BE49-F238E27FC236}">
                <a16:creationId xmlns:a16="http://schemas.microsoft.com/office/drawing/2014/main" id="{D126CDBC-CBF3-7905-4CBF-CB06A17A6DA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891464" y="2653708"/>
            <a:ext cx="651030" cy="144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Warsaw</a:t>
            </a:r>
          </a:p>
        </p:txBody>
      </p:sp>
      <p:sp>
        <p:nvSpPr>
          <p:cNvPr id="1133" name="TextBox 1132">
            <a:extLst>
              <a:ext uri="{FF2B5EF4-FFF2-40B4-BE49-F238E27FC236}">
                <a16:creationId xmlns:a16="http://schemas.microsoft.com/office/drawing/2014/main" id="{9EB657CA-7DE4-4FCF-F6D5-41028722BD3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93361" y="2831145"/>
            <a:ext cx="651030" cy="173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nl-BE" sz="11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Brest/Malaszewicze</a:t>
            </a:r>
          </a:p>
        </p:txBody>
      </p:sp>
      <p:sp>
        <p:nvSpPr>
          <p:cNvPr id="1134" name="Freeform: Shape 1133">
            <a:extLst>
              <a:ext uri="{FF2B5EF4-FFF2-40B4-BE49-F238E27FC236}">
                <a16:creationId xmlns:a16="http://schemas.microsoft.com/office/drawing/2014/main" id="{5F011E1C-63F5-5A22-D8C5-F74F4449F8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786314" y="2407568"/>
            <a:ext cx="3181474" cy="1773907"/>
          </a:xfrm>
          <a:custGeom>
            <a:avLst/>
            <a:gdLst>
              <a:gd name="connsiteX0" fmla="*/ 3386138 w 3386138"/>
              <a:gd name="connsiteY0" fmla="*/ 1800225 h 1800225"/>
              <a:gd name="connsiteX1" fmla="*/ 3028950 w 3386138"/>
              <a:gd name="connsiteY1" fmla="*/ 1395413 h 1800225"/>
              <a:gd name="connsiteX2" fmla="*/ 3148013 w 3386138"/>
              <a:gd name="connsiteY2" fmla="*/ 947738 h 1800225"/>
              <a:gd name="connsiteX3" fmla="*/ 2324100 w 3386138"/>
              <a:gd name="connsiteY3" fmla="*/ 428625 h 1800225"/>
              <a:gd name="connsiteX4" fmla="*/ 0 w 3386138"/>
              <a:gd name="connsiteY4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6138" h="1800225">
                <a:moveTo>
                  <a:pt x="3386138" y="1800225"/>
                </a:moveTo>
                <a:cubicBezTo>
                  <a:pt x="3227387" y="1668859"/>
                  <a:pt x="3068637" y="1537494"/>
                  <a:pt x="3028950" y="1395413"/>
                </a:cubicBezTo>
                <a:cubicBezTo>
                  <a:pt x="2989262" y="1253332"/>
                  <a:pt x="3265488" y="1108869"/>
                  <a:pt x="3148013" y="947738"/>
                </a:cubicBezTo>
                <a:cubicBezTo>
                  <a:pt x="3030538" y="786607"/>
                  <a:pt x="2848769" y="586581"/>
                  <a:pt x="2324100" y="428625"/>
                </a:cubicBezTo>
                <a:cubicBezTo>
                  <a:pt x="1799431" y="270669"/>
                  <a:pt x="899715" y="135334"/>
                  <a:pt x="0" y="0"/>
                </a:cubicBezTo>
              </a:path>
            </a:pathLst>
          </a:custGeom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5" name="Rectangle 1134">
            <a:extLst>
              <a:ext uri="{FF2B5EF4-FFF2-40B4-BE49-F238E27FC236}">
                <a16:creationId xmlns:a16="http://schemas.microsoft.com/office/drawing/2014/main" id="{48958728-B0F6-F247-EB8A-B8828FF143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71717" y="295603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36" name="Freeform: Shape 1135">
            <a:extLst>
              <a:ext uri="{FF2B5EF4-FFF2-40B4-BE49-F238E27FC236}">
                <a16:creationId xmlns:a16="http://schemas.microsoft.com/office/drawing/2014/main" id="{E5D0DA3D-A729-3C19-3550-4EB69FDC35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918158" y="2931695"/>
            <a:ext cx="1650817" cy="1038726"/>
          </a:xfrm>
          <a:custGeom>
            <a:avLst/>
            <a:gdLst>
              <a:gd name="connsiteX0" fmla="*/ 1588168 w 1650817"/>
              <a:gd name="connsiteY0" fmla="*/ 1038726 h 1038726"/>
              <a:gd name="connsiteX1" fmla="*/ 1552074 w 1650817"/>
              <a:gd name="connsiteY1" fmla="*/ 741947 h 1038726"/>
              <a:gd name="connsiteX2" fmla="*/ 657726 w 1650817"/>
              <a:gd name="connsiteY2" fmla="*/ 152400 h 1038726"/>
              <a:gd name="connsiteX3" fmla="*/ 0 w 1650817"/>
              <a:gd name="connsiteY3" fmla="*/ 0 h 1038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0817" h="1038726">
                <a:moveTo>
                  <a:pt x="1588168" y="1038726"/>
                </a:moveTo>
                <a:cubicBezTo>
                  <a:pt x="1647658" y="964197"/>
                  <a:pt x="1707148" y="889668"/>
                  <a:pt x="1552074" y="741947"/>
                </a:cubicBezTo>
                <a:cubicBezTo>
                  <a:pt x="1397000" y="594226"/>
                  <a:pt x="916405" y="276058"/>
                  <a:pt x="657726" y="152400"/>
                </a:cubicBezTo>
                <a:cubicBezTo>
                  <a:pt x="399047" y="28742"/>
                  <a:pt x="199523" y="14371"/>
                  <a:pt x="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7" name="Freeform: Shape 1136">
            <a:extLst>
              <a:ext uri="{FF2B5EF4-FFF2-40B4-BE49-F238E27FC236}">
                <a16:creationId xmlns:a16="http://schemas.microsoft.com/office/drawing/2014/main" id="{A97AB112-449B-B7DF-9998-046F3E99915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09547" y="3449053"/>
            <a:ext cx="311999" cy="505326"/>
          </a:xfrm>
          <a:custGeom>
            <a:avLst/>
            <a:gdLst>
              <a:gd name="connsiteX0" fmla="*/ 292769 w 311999"/>
              <a:gd name="connsiteY0" fmla="*/ 505326 h 505326"/>
              <a:gd name="connsiteX1" fmla="*/ 280737 w 311999"/>
              <a:gd name="connsiteY1" fmla="*/ 252663 h 505326"/>
              <a:gd name="connsiteX2" fmla="*/ 0 w 311999"/>
              <a:gd name="connsiteY2" fmla="*/ 0 h 505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99" h="505326">
                <a:moveTo>
                  <a:pt x="292769" y="505326"/>
                </a:moveTo>
                <a:cubicBezTo>
                  <a:pt x="311150" y="421105"/>
                  <a:pt x="329532" y="336884"/>
                  <a:pt x="280737" y="252663"/>
                </a:cubicBezTo>
                <a:cubicBezTo>
                  <a:pt x="231942" y="168442"/>
                  <a:pt x="115971" y="84221"/>
                  <a:pt x="0" y="0"/>
                </a:cubicBezTo>
              </a:path>
            </a:pathLst>
          </a:cu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8" name="Freeform: Shape 1137">
            <a:extLst>
              <a:ext uri="{FF2B5EF4-FFF2-40B4-BE49-F238E27FC236}">
                <a16:creationId xmlns:a16="http://schemas.microsoft.com/office/drawing/2014/main" id="{6744486C-58F6-27CF-B03B-7F06854932A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93505" y="3441032"/>
            <a:ext cx="713874" cy="97141"/>
          </a:xfrm>
          <a:custGeom>
            <a:avLst/>
            <a:gdLst>
              <a:gd name="connsiteX0" fmla="*/ 713874 w 713874"/>
              <a:gd name="connsiteY0" fmla="*/ 76200 h 97141"/>
              <a:gd name="connsiteX1" fmla="*/ 320842 w 713874"/>
              <a:gd name="connsiteY1" fmla="*/ 92242 h 97141"/>
              <a:gd name="connsiteX2" fmla="*/ 0 w 713874"/>
              <a:gd name="connsiteY2" fmla="*/ 0 h 97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3874" h="97141">
                <a:moveTo>
                  <a:pt x="713874" y="76200"/>
                </a:moveTo>
                <a:cubicBezTo>
                  <a:pt x="576847" y="90571"/>
                  <a:pt x="439821" y="104942"/>
                  <a:pt x="320842" y="92242"/>
                </a:cubicBezTo>
                <a:cubicBezTo>
                  <a:pt x="201863" y="79542"/>
                  <a:pt x="100931" y="39771"/>
                  <a:pt x="0" y="0"/>
                </a:cubicBezTo>
              </a:path>
            </a:pathLst>
          </a:cu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9" name="Freeform: Shape 1138">
            <a:extLst>
              <a:ext uri="{FF2B5EF4-FFF2-40B4-BE49-F238E27FC236}">
                <a16:creationId xmlns:a16="http://schemas.microsoft.com/office/drawing/2014/main" id="{D8DD2CC4-7592-6583-2069-2B4AB8DC5F4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499811" y="2382891"/>
            <a:ext cx="3689684" cy="1030067"/>
          </a:xfrm>
          <a:custGeom>
            <a:avLst/>
            <a:gdLst>
              <a:gd name="connsiteX0" fmla="*/ 3689684 w 3689684"/>
              <a:gd name="connsiteY0" fmla="*/ 1030067 h 1030067"/>
              <a:gd name="connsiteX1" fmla="*/ 2213810 w 3689684"/>
              <a:gd name="connsiteY1" fmla="*/ 324214 h 1030067"/>
              <a:gd name="connsiteX2" fmla="*/ 1090863 w 3689684"/>
              <a:gd name="connsiteY2" fmla="*/ 7383 h 1030067"/>
              <a:gd name="connsiteX3" fmla="*/ 0 w 3689684"/>
              <a:gd name="connsiteY3" fmla="*/ 131709 h 103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89684" h="1030067">
                <a:moveTo>
                  <a:pt x="3689684" y="1030067"/>
                </a:moveTo>
                <a:cubicBezTo>
                  <a:pt x="3168315" y="762364"/>
                  <a:pt x="2646947" y="494661"/>
                  <a:pt x="2213810" y="324214"/>
                </a:cubicBezTo>
                <a:cubicBezTo>
                  <a:pt x="1780673" y="153767"/>
                  <a:pt x="1459831" y="39467"/>
                  <a:pt x="1090863" y="7383"/>
                </a:cubicBezTo>
                <a:cubicBezTo>
                  <a:pt x="721895" y="-24701"/>
                  <a:pt x="360947" y="53504"/>
                  <a:pt x="0" y="131709"/>
                </a:cubicBezTo>
              </a:path>
            </a:pathLst>
          </a:cu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0" name="Freeform: Shape 1139">
            <a:extLst>
              <a:ext uri="{FF2B5EF4-FFF2-40B4-BE49-F238E27FC236}">
                <a16:creationId xmlns:a16="http://schemas.microsoft.com/office/drawing/2014/main" id="{31F1E1DE-5176-9E2F-216C-774DAE1B33E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64968" y="3280611"/>
            <a:ext cx="2338137" cy="1126957"/>
          </a:xfrm>
          <a:custGeom>
            <a:avLst/>
            <a:gdLst>
              <a:gd name="connsiteX0" fmla="*/ 2338137 w 2338137"/>
              <a:gd name="connsiteY0" fmla="*/ 1126957 h 1126957"/>
              <a:gd name="connsiteX1" fmla="*/ 2249906 w 2338137"/>
              <a:gd name="connsiteY1" fmla="*/ 982578 h 1126957"/>
              <a:gd name="connsiteX2" fmla="*/ 2105527 w 2338137"/>
              <a:gd name="connsiteY2" fmla="*/ 958515 h 1126957"/>
              <a:gd name="connsiteX3" fmla="*/ 1660358 w 2338137"/>
              <a:gd name="connsiteY3" fmla="*/ 802105 h 1126957"/>
              <a:gd name="connsiteX4" fmla="*/ 0 w 2338137"/>
              <a:gd name="connsiteY4" fmla="*/ 0 h 1126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8137" h="1126957">
                <a:moveTo>
                  <a:pt x="2338137" y="1126957"/>
                </a:moveTo>
                <a:cubicBezTo>
                  <a:pt x="2313405" y="1068804"/>
                  <a:pt x="2288674" y="1010652"/>
                  <a:pt x="2249906" y="982578"/>
                </a:cubicBezTo>
                <a:cubicBezTo>
                  <a:pt x="2211138" y="954504"/>
                  <a:pt x="2203785" y="988594"/>
                  <a:pt x="2105527" y="958515"/>
                </a:cubicBezTo>
                <a:cubicBezTo>
                  <a:pt x="2007269" y="928436"/>
                  <a:pt x="2011279" y="961857"/>
                  <a:pt x="1660358" y="802105"/>
                </a:cubicBezTo>
                <a:cubicBezTo>
                  <a:pt x="1309437" y="642353"/>
                  <a:pt x="654718" y="321176"/>
                  <a:pt x="0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1" name="Rectangle 1140">
            <a:extLst>
              <a:ext uri="{FF2B5EF4-FFF2-40B4-BE49-F238E27FC236}">
                <a16:creationId xmlns:a16="http://schemas.microsoft.com/office/drawing/2014/main" id="{E8C67328-0930-ADD2-7E7E-E5D4A5C9CEC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544973" y="421609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2" name="Rectangle 1141">
            <a:extLst>
              <a:ext uri="{FF2B5EF4-FFF2-40B4-BE49-F238E27FC236}">
                <a16:creationId xmlns:a16="http://schemas.microsoft.com/office/drawing/2014/main" id="{534713FD-C20A-7B5C-027F-B952550CE2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767658" y="439411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3" name="Rectangle 1142">
            <a:extLst>
              <a:ext uri="{FF2B5EF4-FFF2-40B4-BE49-F238E27FC236}">
                <a16:creationId xmlns:a16="http://schemas.microsoft.com/office/drawing/2014/main" id="{D641E734-533A-1FCF-9D32-A0458D461C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63256" y="339431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4" name="Rectangle 1143">
            <a:extLst>
              <a:ext uri="{FF2B5EF4-FFF2-40B4-BE49-F238E27FC236}">
                <a16:creationId xmlns:a16="http://schemas.microsoft.com/office/drawing/2014/main" id="{64275E88-9687-9FF7-66C8-ACB2378868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899652" y="3485170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5" name="Freeform: Shape 1144">
            <a:extLst>
              <a:ext uri="{FF2B5EF4-FFF2-40B4-BE49-F238E27FC236}">
                <a16:creationId xmlns:a16="http://schemas.microsoft.com/office/drawing/2014/main" id="{8FAAAF1D-61D5-F962-C023-9952498B55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880684" y="3971678"/>
            <a:ext cx="276727" cy="268705"/>
          </a:xfrm>
          <a:custGeom>
            <a:avLst/>
            <a:gdLst>
              <a:gd name="connsiteX0" fmla="*/ 276727 w 276727"/>
              <a:gd name="connsiteY0" fmla="*/ 268705 h 268705"/>
              <a:gd name="connsiteX1" fmla="*/ 96253 w 276727"/>
              <a:gd name="connsiteY1" fmla="*/ 132347 h 268705"/>
              <a:gd name="connsiteX2" fmla="*/ 0 w 276727"/>
              <a:gd name="connsiteY2" fmla="*/ 0 h 268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727" h="268705">
                <a:moveTo>
                  <a:pt x="276727" y="268705"/>
                </a:moveTo>
                <a:cubicBezTo>
                  <a:pt x="209550" y="222918"/>
                  <a:pt x="142374" y="177131"/>
                  <a:pt x="96253" y="132347"/>
                </a:cubicBezTo>
                <a:cubicBezTo>
                  <a:pt x="50132" y="87563"/>
                  <a:pt x="25066" y="43781"/>
                  <a:pt x="0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6" name="Freeform: Shape 1145">
            <a:extLst>
              <a:ext uri="{FF2B5EF4-FFF2-40B4-BE49-F238E27FC236}">
                <a16:creationId xmlns:a16="http://schemas.microsoft.com/office/drawing/2014/main" id="{F23E6858-7C1B-2F57-4C1E-E2641F5766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7889962" y="3971919"/>
            <a:ext cx="585537" cy="80452"/>
          </a:xfrm>
          <a:custGeom>
            <a:avLst/>
            <a:gdLst>
              <a:gd name="connsiteX0" fmla="*/ 585537 w 585537"/>
              <a:gd name="connsiteY0" fmla="*/ 20052 h 80452"/>
              <a:gd name="connsiteX1" fmla="*/ 453189 w 585537"/>
              <a:gd name="connsiteY1" fmla="*/ 80210 h 80452"/>
              <a:gd name="connsiteX2" fmla="*/ 0 w 585537"/>
              <a:gd name="connsiteY2" fmla="*/ 0 h 80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5537" h="80452">
                <a:moveTo>
                  <a:pt x="585537" y="20052"/>
                </a:moveTo>
                <a:cubicBezTo>
                  <a:pt x="568157" y="51802"/>
                  <a:pt x="550778" y="83552"/>
                  <a:pt x="453189" y="80210"/>
                </a:cubicBezTo>
                <a:cubicBezTo>
                  <a:pt x="355600" y="76868"/>
                  <a:pt x="177800" y="38434"/>
                  <a:pt x="0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7" name="Rectangle 1146">
            <a:extLst>
              <a:ext uri="{FF2B5EF4-FFF2-40B4-BE49-F238E27FC236}">
                <a16:creationId xmlns:a16="http://schemas.microsoft.com/office/drawing/2014/main" id="{8AD6294A-A60C-257D-DB9B-35E1201F8E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472282" y="395444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8" name="Rectangle 1147">
            <a:extLst>
              <a:ext uri="{FF2B5EF4-FFF2-40B4-BE49-F238E27FC236}">
                <a16:creationId xmlns:a16="http://schemas.microsoft.com/office/drawing/2014/main" id="{7A31BB0A-F5B2-20E0-B5B6-7EC5B854FF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127486" y="4244856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49" name="Freeform: Shape 1148">
            <a:extLst>
              <a:ext uri="{FF2B5EF4-FFF2-40B4-BE49-F238E27FC236}">
                <a16:creationId xmlns:a16="http://schemas.microsoft.com/office/drawing/2014/main" id="{B4CC1968-727A-0F99-894D-E5B64A104DD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5692035" y="3089200"/>
            <a:ext cx="1014483" cy="312258"/>
          </a:xfrm>
          <a:custGeom>
            <a:avLst/>
            <a:gdLst>
              <a:gd name="connsiteX0" fmla="*/ 994272 w 994272"/>
              <a:gd name="connsiteY0" fmla="*/ 297456 h 297456"/>
              <a:gd name="connsiteX1" fmla="*/ 694062 w 994272"/>
              <a:gd name="connsiteY1" fmla="*/ 269914 h 297456"/>
              <a:gd name="connsiteX2" fmla="*/ 239617 w 994272"/>
              <a:gd name="connsiteY2" fmla="*/ 253388 h 297456"/>
              <a:gd name="connsiteX3" fmla="*/ 0 w 994272"/>
              <a:gd name="connsiteY3" fmla="*/ 0 h 297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272" h="297456">
                <a:moveTo>
                  <a:pt x="994272" y="297456"/>
                </a:moveTo>
                <a:cubicBezTo>
                  <a:pt x="907055" y="287357"/>
                  <a:pt x="819838" y="277259"/>
                  <a:pt x="694062" y="269914"/>
                </a:cubicBezTo>
                <a:cubicBezTo>
                  <a:pt x="568286" y="262569"/>
                  <a:pt x="355294" y="298374"/>
                  <a:pt x="239617" y="253388"/>
                </a:cubicBezTo>
                <a:cubicBezTo>
                  <a:pt x="123940" y="208402"/>
                  <a:pt x="61970" y="104201"/>
                  <a:pt x="0" y="0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0" name="Freeform: Shape 1149">
            <a:extLst>
              <a:ext uri="{FF2B5EF4-FFF2-40B4-BE49-F238E27FC236}">
                <a16:creationId xmlns:a16="http://schemas.microsoft.com/office/drawing/2014/main" id="{81377408-0850-C4A2-DB25-6120E3DA5D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505899" y="2514600"/>
            <a:ext cx="1933460" cy="749147"/>
          </a:xfrm>
          <a:custGeom>
            <a:avLst/>
            <a:gdLst>
              <a:gd name="connsiteX0" fmla="*/ 0 w 1933460"/>
              <a:gd name="connsiteY0" fmla="*/ 0 h 749147"/>
              <a:gd name="connsiteX1" fmla="*/ 751901 w 1933460"/>
              <a:gd name="connsiteY1" fmla="*/ 435166 h 749147"/>
              <a:gd name="connsiteX2" fmla="*/ 1346812 w 1933460"/>
              <a:gd name="connsiteY2" fmla="*/ 608682 h 749147"/>
              <a:gd name="connsiteX3" fmla="*/ 1740665 w 1933460"/>
              <a:gd name="connsiteY3" fmla="*/ 638978 h 749147"/>
              <a:gd name="connsiteX4" fmla="*/ 1933460 w 1933460"/>
              <a:gd name="connsiteY4" fmla="*/ 749147 h 749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3460" h="749147">
                <a:moveTo>
                  <a:pt x="0" y="0"/>
                </a:moveTo>
                <a:cubicBezTo>
                  <a:pt x="263716" y="166859"/>
                  <a:pt x="527432" y="333719"/>
                  <a:pt x="751901" y="435166"/>
                </a:cubicBezTo>
                <a:cubicBezTo>
                  <a:pt x="976370" y="536613"/>
                  <a:pt x="1182018" y="574713"/>
                  <a:pt x="1346812" y="608682"/>
                </a:cubicBezTo>
                <a:cubicBezTo>
                  <a:pt x="1511606" y="642651"/>
                  <a:pt x="1642890" y="615567"/>
                  <a:pt x="1740665" y="638978"/>
                </a:cubicBezTo>
                <a:cubicBezTo>
                  <a:pt x="1838440" y="662389"/>
                  <a:pt x="1885950" y="705768"/>
                  <a:pt x="1933460" y="749147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1" name="Rectangle 1150">
            <a:extLst>
              <a:ext uri="{FF2B5EF4-FFF2-40B4-BE49-F238E27FC236}">
                <a16:creationId xmlns:a16="http://schemas.microsoft.com/office/drawing/2014/main" id="{CF89F818-ADBB-468A-5150-21BA41A9C9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372706" y="334068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52" name="Rectangle 1151">
            <a:extLst>
              <a:ext uri="{FF2B5EF4-FFF2-40B4-BE49-F238E27FC236}">
                <a16:creationId xmlns:a16="http://schemas.microsoft.com/office/drawing/2014/main" id="{B6DF54FD-4E98-9F0D-0870-0FD7E0FC23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6434951" y="325221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53" name="Freeform: Shape 1152">
            <a:extLst>
              <a:ext uri="{FF2B5EF4-FFF2-40B4-BE49-F238E27FC236}">
                <a16:creationId xmlns:a16="http://schemas.microsoft.com/office/drawing/2014/main" id="{69572190-6EC6-073B-8449-550B294477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50824" y="2514600"/>
            <a:ext cx="1352321" cy="336014"/>
          </a:xfrm>
          <a:custGeom>
            <a:avLst/>
            <a:gdLst>
              <a:gd name="connsiteX0" fmla="*/ 1352321 w 1352321"/>
              <a:gd name="connsiteY0" fmla="*/ 0 h 336014"/>
              <a:gd name="connsiteX1" fmla="*/ 0 w 1352321"/>
              <a:gd name="connsiteY1" fmla="*/ 336014 h 336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52321" h="336014">
                <a:moveTo>
                  <a:pt x="1352321" y="0"/>
                </a:moveTo>
                <a:lnTo>
                  <a:pt x="0" y="336014"/>
                </a:ln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4" name="Freeform: Shape 1153">
            <a:extLst>
              <a:ext uri="{FF2B5EF4-FFF2-40B4-BE49-F238E27FC236}">
                <a16:creationId xmlns:a16="http://schemas.microsoft.com/office/drawing/2014/main" id="{B7E58EC9-B7CD-3961-04A3-DDBD3767BA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91508" y="2856123"/>
            <a:ext cx="829020" cy="55084"/>
          </a:xfrm>
          <a:custGeom>
            <a:avLst/>
            <a:gdLst>
              <a:gd name="connsiteX0" fmla="*/ 829020 w 829020"/>
              <a:gd name="connsiteY0" fmla="*/ 0 h 55084"/>
              <a:gd name="connsiteX1" fmla="*/ 0 w 829020"/>
              <a:gd name="connsiteY1" fmla="*/ 55084 h 55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020" h="55084">
                <a:moveTo>
                  <a:pt x="829020" y="0"/>
                </a:moveTo>
                <a:lnTo>
                  <a:pt x="0" y="55084"/>
                </a:ln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5" name="Freeform: Shape 1154">
            <a:extLst>
              <a:ext uri="{FF2B5EF4-FFF2-40B4-BE49-F238E27FC236}">
                <a16:creationId xmlns:a16="http://schemas.microsoft.com/office/drawing/2014/main" id="{46ECEF18-0AEC-070C-3EDB-B75AC329C70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641513" y="2927733"/>
            <a:ext cx="647241" cy="713342"/>
          </a:xfrm>
          <a:custGeom>
            <a:avLst/>
            <a:gdLst>
              <a:gd name="connsiteX0" fmla="*/ 647241 w 647241"/>
              <a:gd name="connsiteY0" fmla="*/ 0 h 713342"/>
              <a:gd name="connsiteX1" fmla="*/ 280930 w 647241"/>
              <a:gd name="connsiteY1" fmla="*/ 498513 h 713342"/>
              <a:gd name="connsiteX2" fmla="*/ 0 w 647241"/>
              <a:gd name="connsiteY2" fmla="*/ 713342 h 7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7241" h="713342">
                <a:moveTo>
                  <a:pt x="647241" y="0"/>
                </a:moveTo>
                <a:cubicBezTo>
                  <a:pt x="518022" y="189811"/>
                  <a:pt x="388804" y="379623"/>
                  <a:pt x="280930" y="498513"/>
                </a:cubicBezTo>
                <a:cubicBezTo>
                  <a:pt x="173056" y="617403"/>
                  <a:pt x="86528" y="665372"/>
                  <a:pt x="0" y="713342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6" name="Freeform: Shape 1155">
            <a:extLst>
              <a:ext uri="{FF2B5EF4-FFF2-40B4-BE49-F238E27FC236}">
                <a16:creationId xmlns:a16="http://schemas.microsoft.com/office/drawing/2014/main" id="{33ED225E-3B9A-CE1B-8D2A-E3459D56DF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500829" y="2872648"/>
            <a:ext cx="630716" cy="209321"/>
          </a:xfrm>
          <a:custGeom>
            <a:avLst/>
            <a:gdLst>
              <a:gd name="connsiteX0" fmla="*/ 630716 w 630716"/>
              <a:gd name="connsiteY0" fmla="*/ 0 h 209321"/>
              <a:gd name="connsiteX1" fmla="*/ 137711 w 630716"/>
              <a:gd name="connsiteY1" fmla="*/ 112923 h 209321"/>
              <a:gd name="connsiteX2" fmla="*/ 0 w 630716"/>
              <a:gd name="connsiteY2" fmla="*/ 209321 h 209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716" h="209321">
                <a:moveTo>
                  <a:pt x="630716" y="0"/>
                </a:moveTo>
                <a:cubicBezTo>
                  <a:pt x="436773" y="39018"/>
                  <a:pt x="242830" y="78036"/>
                  <a:pt x="137711" y="112923"/>
                </a:cubicBezTo>
                <a:cubicBezTo>
                  <a:pt x="32592" y="147810"/>
                  <a:pt x="16296" y="178565"/>
                  <a:pt x="0" y="209321"/>
                </a:cubicBezTo>
              </a:path>
            </a:pathLst>
          </a:cu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7" name="Freeform: Shape 1156">
            <a:extLst>
              <a:ext uri="{FF2B5EF4-FFF2-40B4-BE49-F238E27FC236}">
                <a16:creationId xmlns:a16="http://schemas.microsoft.com/office/drawing/2014/main" id="{033A989A-7407-8BC4-947C-54A012E8AF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63118" y="2751463"/>
            <a:ext cx="782198" cy="107414"/>
          </a:xfrm>
          <a:custGeom>
            <a:avLst/>
            <a:gdLst>
              <a:gd name="connsiteX0" fmla="*/ 782198 w 782198"/>
              <a:gd name="connsiteY0" fmla="*/ 107414 h 107414"/>
              <a:gd name="connsiteX1" fmla="*/ 652749 w 782198"/>
              <a:gd name="connsiteY1" fmla="*/ 93643 h 107414"/>
              <a:gd name="connsiteX2" fmla="*/ 0 w 782198"/>
              <a:gd name="connsiteY2" fmla="*/ 0 h 10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2198" h="107414">
                <a:moveTo>
                  <a:pt x="782198" y="107414"/>
                </a:moveTo>
                <a:lnTo>
                  <a:pt x="652749" y="93643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58" name="Rectangle 1157">
            <a:extLst>
              <a:ext uri="{FF2B5EF4-FFF2-40B4-BE49-F238E27FC236}">
                <a16:creationId xmlns:a16="http://schemas.microsoft.com/office/drawing/2014/main" id="{A52F997C-71BD-D8F3-9FEA-615334D60A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976921" y="2820378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59" name="Rectangle 1158">
            <a:extLst>
              <a:ext uri="{FF2B5EF4-FFF2-40B4-BE49-F238E27FC236}">
                <a16:creationId xmlns:a16="http://schemas.microsoft.com/office/drawing/2014/main" id="{069E5891-4A9F-BCF6-F85C-0FADBB25C5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3112219" y="282708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0" name="Rectangle 1159">
            <a:extLst>
              <a:ext uri="{FF2B5EF4-FFF2-40B4-BE49-F238E27FC236}">
                <a16:creationId xmlns:a16="http://schemas.microsoft.com/office/drawing/2014/main" id="{C56729D3-6045-FB65-6B6C-86714414E9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24083" y="2716413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1" name="Freeform: Shape 1160">
            <a:extLst>
              <a:ext uri="{FF2B5EF4-FFF2-40B4-BE49-F238E27FC236}">
                <a16:creationId xmlns:a16="http://schemas.microsoft.com/office/drawing/2014/main" id="{A30E34F8-B7C1-0B98-040B-573F768A0B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97017" y="2919470"/>
            <a:ext cx="201369" cy="382836"/>
          </a:xfrm>
          <a:custGeom>
            <a:avLst/>
            <a:gdLst>
              <a:gd name="connsiteX0" fmla="*/ 0 w 201369"/>
              <a:gd name="connsiteY0" fmla="*/ 0 h 382836"/>
              <a:gd name="connsiteX1" fmla="*/ 162499 w 201369"/>
              <a:gd name="connsiteY1" fmla="*/ 104660 h 382836"/>
              <a:gd name="connsiteX2" fmla="*/ 195549 w 201369"/>
              <a:gd name="connsiteY2" fmla="*/ 173516 h 382836"/>
              <a:gd name="connsiteX3" fmla="*/ 71610 w 201369"/>
              <a:gd name="connsiteY3" fmla="*/ 382836 h 38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369" h="382836">
                <a:moveTo>
                  <a:pt x="0" y="0"/>
                </a:moveTo>
                <a:cubicBezTo>
                  <a:pt x="64954" y="37870"/>
                  <a:pt x="129908" y="75741"/>
                  <a:pt x="162499" y="104660"/>
                </a:cubicBezTo>
                <a:cubicBezTo>
                  <a:pt x="195090" y="133579"/>
                  <a:pt x="210697" y="127153"/>
                  <a:pt x="195549" y="173516"/>
                </a:cubicBezTo>
                <a:cubicBezTo>
                  <a:pt x="180401" y="219879"/>
                  <a:pt x="126005" y="301357"/>
                  <a:pt x="71610" y="382836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2" name="Rectangle 1161">
            <a:extLst>
              <a:ext uri="{FF2B5EF4-FFF2-40B4-BE49-F238E27FC236}">
                <a16:creationId xmlns:a16="http://schemas.microsoft.com/office/drawing/2014/main" id="{2D9DB5E7-F34F-D2E3-9263-E0E5130A83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248375" y="287330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3" name="Rectangle 1162">
            <a:extLst>
              <a:ext uri="{FF2B5EF4-FFF2-40B4-BE49-F238E27FC236}">
                <a16:creationId xmlns:a16="http://schemas.microsoft.com/office/drawing/2014/main" id="{9D00CD4C-E906-F0F6-E6DF-34E501F476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466360" y="3049357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4" name="Rectangle 1163">
            <a:extLst>
              <a:ext uri="{FF2B5EF4-FFF2-40B4-BE49-F238E27FC236}">
                <a16:creationId xmlns:a16="http://schemas.microsoft.com/office/drawing/2014/main" id="{AC7263FC-8272-2ED9-D0D2-373816486E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2328919" y="3274984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5" name="Rectangle 1164">
            <a:extLst>
              <a:ext uri="{FF2B5EF4-FFF2-40B4-BE49-F238E27FC236}">
                <a16:creationId xmlns:a16="http://schemas.microsoft.com/office/drawing/2014/main" id="{D0AADB38-1E3B-0E91-19B2-35A7812EB3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1601951" y="3623582"/>
            <a:ext cx="71539" cy="669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66" name="Freeform: Shape 1165">
            <a:extLst>
              <a:ext uri="{FF2B5EF4-FFF2-40B4-BE49-F238E27FC236}">
                <a16:creationId xmlns:a16="http://schemas.microsoft.com/office/drawing/2014/main" id="{A1D1F269-AB67-C840-E072-48174EDB20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rot="331254">
            <a:off x="1864735" y="2868035"/>
            <a:ext cx="270163" cy="51954"/>
          </a:xfrm>
          <a:custGeom>
            <a:avLst/>
            <a:gdLst>
              <a:gd name="connsiteX0" fmla="*/ 270163 w 270163"/>
              <a:gd name="connsiteY0" fmla="*/ 51954 h 51954"/>
              <a:gd name="connsiteX1" fmla="*/ 51954 w 270163"/>
              <a:gd name="connsiteY1" fmla="*/ 15586 h 51954"/>
              <a:gd name="connsiteX2" fmla="*/ 0 w 270163"/>
              <a:gd name="connsiteY2" fmla="*/ 0 h 5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0163" h="51954">
                <a:moveTo>
                  <a:pt x="270163" y="51954"/>
                </a:moveTo>
                <a:lnTo>
                  <a:pt x="51954" y="15586"/>
                </a:lnTo>
                <a:cubicBezTo>
                  <a:pt x="6927" y="6927"/>
                  <a:pt x="3463" y="3463"/>
                  <a:pt x="0" y="0"/>
                </a:cubicBezTo>
              </a:path>
            </a:pathLst>
          </a:cu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7" name="Rectangle: Single Corner Snipped 226">
            <a:extLst>
              <a:ext uri="{FF2B5EF4-FFF2-40B4-BE49-F238E27FC236}">
                <a16:creationId xmlns:a16="http://schemas.microsoft.com/office/drawing/2014/main" id="{801AA85A-A96B-1887-772E-9CC5F9344C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flipV="1">
            <a:off x="4153280" y="5010883"/>
            <a:ext cx="3895143" cy="1444922"/>
          </a:xfrm>
          <a:prstGeom prst="snip1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1AA4BD7F-BE76-A301-CD70-0697FC15A39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4279197" y="5114975"/>
            <a:ext cx="4227839" cy="1286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>
              <a:lnSpc>
                <a:spcPct val="110000"/>
              </a:lnSpc>
              <a:buNone/>
            </a:pPr>
            <a:r>
              <a:rPr lang="ru-RU" sz="1200" cap="all" dirty="0">
                <a:solidFill>
                  <a:schemeClr val="accent2"/>
                </a:solidFill>
              </a:rPr>
              <a:t>средний коридор </a:t>
            </a:r>
            <a:br>
              <a:rPr lang="ru-RU" sz="1200" cap="all" dirty="0">
                <a:solidFill>
                  <a:schemeClr val="accent2"/>
                </a:solidFill>
              </a:rPr>
            </a:br>
            <a:r>
              <a:rPr lang="ru-RU" sz="1200" cap="all" dirty="0">
                <a:solidFill>
                  <a:schemeClr val="accent2"/>
                </a:solidFill>
              </a:rPr>
              <a:t>(новый шелковый путь)</a:t>
            </a:r>
            <a:endParaRPr lang="en-US" sz="1200" cap="all" dirty="0">
              <a:solidFill>
                <a:schemeClr val="accent2"/>
              </a:solidFill>
            </a:endParaRPr>
          </a:p>
          <a:p>
            <a:endParaRPr lang="nl-BE" sz="400" dirty="0">
              <a:solidFill>
                <a:srgbClr val="00469B"/>
              </a:solidFill>
            </a:endParaRP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Китай</a:t>
            </a:r>
            <a:r>
              <a:rPr lang="de-DE" sz="1000" dirty="0">
                <a:solidFill>
                  <a:schemeClr val="tx2"/>
                </a:solidFill>
              </a:rPr>
              <a:t>: Zhengzhou</a:t>
            </a: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1: </a:t>
            </a:r>
            <a:r>
              <a:rPr lang="de-DE" sz="1000" dirty="0" err="1">
                <a:solidFill>
                  <a:schemeClr val="tx2"/>
                </a:solidFill>
              </a:rPr>
              <a:t>Erlian</a:t>
            </a:r>
            <a:r>
              <a:rPr lang="de-DE" sz="1000" dirty="0">
                <a:solidFill>
                  <a:schemeClr val="tx2"/>
                </a:solidFill>
              </a:rPr>
              <a:t> (CN) / </a:t>
            </a:r>
            <a:r>
              <a:rPr lang="de-DE" sz="1000" dirty="0" err="1">
                <a:solidFill>
                  <a:schemeClr val="tx2"/>
                </a:solidFill>
              </a:rPr>
              <a:t>Zamyn-Uud</a:t>
            </a:r>
            <a:r>
              <a:rPr lang="de-DE" sz="1000" dirty="0">
                <a:solidFill>
                  <a:schemeClr val="tx2"/>
                </a:solidFill>
              </a:rPr>
              <a:t> (MN)</a:t>
            </a: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2: Brest (BY) / </a:t>
            </a:r>
            <a:r>
              <a:rPr lang="de-DE" sz="1000" dirty="0" err="1">
                <a:solidFill>
                  <a:schemeClr val="tx2"/>
                </a:solidFill>
              </a:rPr>
              <a:t>Malaszewicze</a:t>
            </a:r>
            <a:r>
              <a:rPr lang="de-DE" sz="1000" dirty="0">
                <a:solidFill>
                  <a:schemeClr val="tx2"/>
                </a:solidFill>
              </a:rPr>
              <a:t> (PL)</a:t>
            </a:r>
          </a:p>
        </p:txBody>
      </p:sp>
      <p:sp>
        <p:nvSpPr>
          <p:cNvPr id="229" name="Rectangle: Single Corner Snipped 228">
            <a:extLst>
              <a:ext uri="{FF2B5EF4-FFF2-40B4-BE49-F238E27FC236}">
                <a16:creationId xmlns:a16="http://schemas.microsoft.com/office/drawing/2014/main" id="{3FBBC142-F9C4-492F-BD0C-D36AD71EB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gray">
          <a:xfrm flipV="1">
            <a:off x="8182820" y="5003278"/>
            <a:ext cx="3895143" cy="1444922"/>
          </a:xfrm>
          <a:prstGeom prst="snip1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FBC571C9-257A-95F8-73FF-B6CAD13EDCA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 bwMode="gray">
          <a:xfrm>
            <a:off x="8289354" y="5114975"/>
            <a:ext cx="4227839" cy="1286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>
              <a:lnSpc>
                <a:spcPct val="110000"/>
              </a:lnSpc>
              <a:buNone/>
            </a:pPr>
            <a:r>
              <a:rPr lang="ru-RU" sz="1200" cap="all" dirty="0">
                <a:solidFill>
                  <a:schemeClr val="accent2"/>
                </a:solidFill>
              </a:rPr>
              <a:t>Северный коридор </a:t>
            </a:r>
            <a:br>
              <a:rPr lang="ru-RU" sz="1200" cap="all" dirty="0">
                <a:solidFill>
                  <a:schemeClr val="accent2"/>
                </a:solidFill>
              </a:rPr>
            </a:br>
            <a:r>
              <a:rPr lang="ru-RU" sz="1200" cap="all" dirty="0">
                <a:solidFill>
                  <a:schemeClr val="accent2"/>
                </a:solidFill>
              </a:rPr>
              <a:t>(транссибирская магистраль)</a:t>
            </a:r>
            <a:endParaRPr lang="en-US" sz="1200" cap="all" dirty="0">
              <a:solidFill>
                <a:schemeClr val="accent2"/>
              </a:solidFill>
            </a:endParaRPr>
          </a:p>
          <a:p>
            <a:endParaRPr lang="nl-BE" sz="400" dirty="0">
              <a:solidFill>
                <a:srgbClr val="00469B"/>
              </a:solidFill>
            </a:endParaRP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Китай</a:t>
            </a:r>
            <a:r>
              <a:rPr lang="de-DE" sz="1000" dirty="0">
                <a:solidFill>
                  <a:schemeClr val="tx2"/>
                </a:solidFill>
              </a:rPr>
              <a:t>: Suzhou / </a:t>
            </a:r>
            <a:r>
              <a:rPr lang="de-DE" sz="1000" dirty="0" err="1">
                <a:solidFill>
                  <a:schemeClr val="tx2"/>
                </a:solidFill>
              </a:rPr>
              <a:t>Shilong</a:t>
            </a:r>
            <a:r>
              <a:rPr lang="de-DE" sz="1000" dirty="0">
                <a:solidFill>
                  <a:schemeClr val="tx2"/>
                </a:solidFill>
              </a:rPr>
              <a:t> / </a:t>
            </a:r>
            <a:r>
              <a:rPr lang="de-DE" sz="1000" dirty="0" err="1">
                <a:solidFill>
                  <a:schemeClr val="tx2"/>
                </a:solidFill>
              </a:rPr>
              <a:t>Ganzhou</a:t>
            </a:r>
            <a:r>
              <a:rPr lang="de-DE" sz="1000" dirty="0">
                <a:solidFill>
                  <a:schemeClr val="tx2"/>
                </a:solidFill>
              </a:rPr>
              <a:t> /</a:t>
            </a:r>
          </a:p>
          <a:p>
            <a:pPr marL="612000" lvl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de-DE" sz="1000" dirty="0">
                <a:solidFill>
                  <a:schemeClr val="tx2"/>
                </a:solidFill>
              </a:rPr>
              <a:t>Changchun / Shenyang / Wuhan</a:t>
            </a: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1: </a:t>
            </a:r>
            <a:r>
              <a:rPr lang="de-DE" sz="1000" dirty="0" err="1">
                <a:solidFill>
                  <a:schemeClr val="tx2"/>
                </a:solidFill>
              </a:rPr>
              <a:t>Manzhouli</a:t>
            </a:r>
            <a:r>
              <a:rPr lang="de-DE" sz="1000" dirty="0">
                <a:solidFill>
                  <a:schemeClr val="tx2"/>
                </a:solidFill>
              </a:rPr>
              <a:t> (CN) / </a:t>
            </a:r>
            <a:r>
              <a:rPr lang="de-DE" sz="1000" dirty="0" err="1">
                <a:solidFill>
                  <a:schemeClr val="tx2"/>
                </a:solidFill>
              </a:rPr>
              <a:t>Zabaykalsk</a:t>
            </a:r>
            <a:r>
              <a:rPr lang="de-DE" sz="1000" dirty="0">
                <a:solidFill>
                  <a:schemeClr val="tx2"/>
                </a:solidFill>
              </a:rPr>
              <a:t> (RU)</a:t>
            </a:r>
          </a:p>
          <a:p>
            <a:pPr marL="171450" lvl="1" indent="-17145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есечение границы </a:t>
            </a:r>
            <a:r>
              <a:rPr lang="de-DE" sz="1000" dirty="0">
                <a:solidFill>
                  <a:schemeClr val="tx2"/>
                </a:solidFill>
              </a:rPr>
              <a:t>2: Brest (BY) / </a:t>
            </a:r>
            <a:r>
              <a:rPr lang="de-DE" sz="1000" dirty="0" err="1">
                <a:solidFill>
                  <a:schemeClr val="tx2"/>
                </a:solidFill>
              </a:rPr>
              <a:t>Malaszewicze</a:t>
            </a:r>
            <a:r>
              <a:rPr lang="de-DE" sz="1000" dirty="0">
                <a:solidFill>
                  <a:schemeClr val="tx2"/>
                </a:solidFill>
              </a:rPr>
              <a:t> (PL)</a:t>
            </a:r>
          </a:p>
        </p:txBody>
      </p:sp>
    </p:spTree>
    <p:extLst>
      <p:ext uri="{BB962C8B-B14F-4D97-AF65-F5344CB8AC3E}">
        <p14:creationId xmlns:p14="http://schemas.microsoft.com/office/powerpoint/2010/main" val="332378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2"/>
  <p:tag name="MIO_SHOW_DATE" val="True"/>
  <p:tag name="MIO_SHOW_FOOTER" val="True"/>
  <p:tag name="MIO_SHOW_PAGENUMBER" val="True"/>
  <p:tag name="MIO_AVOID_BLANK_LAYOUT" val="True"/>
  <p:tag name="MIO_NUMBER_OF_VALID_LAYOUTS" val="13"/>
  <p:tag name="MIO_EK" val="-1"/>
  <p:tag name="MIO_MST_COLOR_1" val="31,31,31,Dunkel 1"/>
  <p:tag name="MIO_MST_COLOR_2" val="255,255,255,Hell 1"/>
  <p:tag name="MIO_MST_COLOR_3" val="80,80,80,Dunkel 2"/>
  <p:tag name="MIO_MST_COLOR_4" val="133,149,157,Hell 2"/>
  <p:tag name="MIO_MST_COLOR_5" val="204,224,238,Akzent 1"/>
  <p:tag name="MIO_MST_COLOR_6" val="0,70,155,Akzent 2"/>
  <p:tag name="MIO_MST_COLOR_7" val="207,207,209,Akzent 3"/>
  <p:tag name="MIO_MST_COLOR_8" val="110,110,110,Akzent 4"/>
  <p:tag name="MIO_MST_COLOR_9" val="246,221,150,Akzent 5"/>
  <p:tag name="MIO_MST_COLOR_10" val="250,187,0,Akzent 6"/>
  <p:tag name="MIO_MST_COLOR_11" val="0,70,155,"/>
  <p:tag name="MIO_MST_COLOR_12" val="110,110,110,"/>
  <p:tag name="MIO_HDS" val="True"/>
  <p:tag name="MIO_SKIPVERSION" val="01.01.0001 00:00:00"/>
  <p:tag name="MIO_EKGUID" val="8fcf5f79-334e-40e4-8ad4-3c806139c157"/>
  <p:tag name="MIO_UPDATE" val="True"/>
  <p:tag name="MIO_VERSION" val="01.12.2017 13:01:54"/>
  <p:tag name="MIO_DBID" val="CDC8DDF9-BA27-4DFF-8EA4-DA6384CCA584"/>
  <p:tag name="MIO_LASTDOWNLOADED" val="02.03.2018 10:33:21"/>
  <p:tag name="MIO_OBJECTNAME" val="Rhenus Master 2017_D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2"/>
  <p:tag name="MIO_SHOW_DATE" val="True"/>
  <p:tag name="MIO_SHOW_FOOTER" val="True"/>
  <p:tag name="MIO_SHOW_PAGENUMBER" val="True"/>
  <p:tag name="MIO_AVOID_BLANK_LAYOUT" val="True"/>
  <p:tag name="MIO_NUMBER_OF_VALID_LAYOUTS" val="13"/>
  <p:tag name="MIO_EK" val="-1"/>
  <p:tag name="MIO_MST_COLOR_1" val="31,31,31,Dunkel 1"/>
  <p:tag name="MIO_MST_COLOR_2" val="255,255,255,Hell 1"/>
  <p:tag name="MIO_MST_COLOR_3" val="80,80,80,Dunkel 2"/>
  <p:tag name="MIO_MST_COLOR_4" val="133,149,157,Hell 2"/>
  <p:tag name="MIO_MST_COLOR_5" val="204,224,238,Akzent 1"/>
  <p:tag name="MIO_MST_COLOR_6" val="0,70,155,Akzent 2"/>
  <p:tag name="MIO_MST_COLOR_7" val="207,207,209,Akzent 3"/>
  <p:tag name="MIO_MST_COLOR_8" val="110,110,110,Akzent 4"/>
  <p:tag name="MIO_MST_COLOR_9" val="246,221,150,Akzent 5"/>
  <p:tag name="MIO_MST_COLOR_10" val="250,187,0,Akzent 6"/>
  <p:tag name="MIO_MST_COLOR_11" val="0,70,155,"/>
  <p:tag name="MIO_MST_COLOR_12" val="110,110,110,"/>
  <p:tag name="MIO_HDS" val="True"/>
  <p:tag name="MIO_SKIPVERSION" val="01.01.0001 00:00:00"/>
  <p:tag name="MIO_EKGUID" val="2710ab82-0ca2-496c-a421-99236d5af8f9"/>
  <p:tag name="MIO_UPDATE" val="True"/>
  <p:tag name="MIO_VERSION" val="05.01.2018 11:19:36"/>
  <p:tag name="MIO_DBID" val="CDC8DDF9-BA27-4DFF-8EA4-DA6384CCA584"/>
  <p:tag name="MIO_LASTDOWNLOADED" val="02.03.2018 10:43:18"/>
  <p:tag name="MIO_OBJECTNAME" val="Rhenus Master 2017_E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11825"/>
  <p:tag name="MIO_VERSION_DESIGN" val="05.01.2018 11:19:36"/>
  <p:tag name="MIO_DBID_DESIGN" val="E952B8C7-91E4-4C8C-8BA0-51C2319F7D6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d4d773-d3e4-436b-9529-5bb975432290"/>
  <p:tag name="MIO_EKGUID" val="1c52b7a2-dfe5-47ed-98af-de1bb531b84b"/>
  <p:tag name="MIO_UPDATE" val="True"/>
  <p:tag name="MIO_VERSION" val="14.01.2021 16:05:55"/>
  <p:tag name="MIO_DBID" val="CDC8DDF9-BA27-4DFF-8EA4-DA6384CCA584"/>
  <p:tag name="MIO_LASTDOWNLOADED" val="14.01.2021 16:05:55"/>
  <p:tag name="MIO_OBJECTNAME" val="A STRONG FAMILY: RHENUS IS PART OF A SERVICE GROUP"/>
  <p:tag name="MIO_LASTEDITORNAME" val="Lynn Schaar"/>
  <p:tag name="MIO_STRING_IGNORE_CHECKSUM_FOR_NEXT_SAV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12bd401-edc9-4fa0-acfd-ac43502705d3"/>
  <p:tag name="MIO_EKGUID" val="103e3cf2-6dbf-45a1-9cf2-01ae4728563e"/>
  <p:tag name="MIO_UPDATE" val="True"/>
  <p:tag name="MIO_VERSION" val="06.07.2021 08:52:59"/>
  <p:tag name="MIO_DBID" val="CDC8DDF9-BA27-4DFF-8EA4-DA6384CCA584"/>
  <p:tag name="MIO_LASTDOWNLOADED" val="06.07.2021 08:52:59"/>
  <p:tag name="MIO_OBJECTNAME" val="WIR WACHSEN MIT IHREN ANFORDERUNGEN: RHENUS IN ZAHLEN"/>
  <p:tag name="MIO_LASTEDITORNAME" val="Jana Gruener"/>
  <p:tag name="MIO_STRING_IGNORE_CHECKSUM_FOR_NEXT_SAV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c835816-759d-4fba-b860-a1e908a0191d"/>
  <p:tag name="MIO_EKGUID" val="041dc28e-0180-4e99-bf4a-ed5486ccb879"/>
  <p:tag name="MIO_UPDATE" val="True"/>
  <p:tag name="MIO_VERSION" val="10.06.2020 10:02:11"/>
  <p:tag name="MIO_DBID" val="CDC8DDF9-BA27-4DFF-8EA4-DA6384CCA584"/>
  <p:tag name="MIO_LASTDOWNLOADED" val="10.06.2020 10:02:11"/>
  <p:tag name="MIO_OBJECTNAME" val="World map"/>
  <p:tag name="MIO_LASTEDITORNAME" val="Lynn Schaar"/>
  <p:tag name="MIO_STRING_IGNORE_CHECKSUM_FOR_NEXT_SAVE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4cfb9f-f3c5-48af-97a7-e684eb8c0038"/>
  <p:tag name="MIO_EKGUID" val="8221e783-4c68-4e98-adc2-208c0a66fff3"/>
  <p:tag name="MIO_UPDATE" val="True"/>
  <p:tag name="MIO_VERSION" val="14.01.2021 16:06:03"/>
  <p:tag name="MIO_DBID" val="CDC8DDF9-BA27-4DFF-8EA4-DA6384CCA584"/>
  <p:tag name="MIO_LASTDOWNLOADED" val="14.01.2021 16:06:03"/>
  <p:tag name="MIO_OBJECTNAME" val="FORWARD-LOOKING LOGISTICS: SHAPING THE FUTURE WITH RHENUS"/>
  <p:tag name="MIO_LASTEDITORNAME" val="Lynn Schaar"/>
  <p:tag name="MIO_STRING_IGNORE_CHECKSUM_FOR_NEXT_SAVE" val="False"/>
</p:tagLst>
</file>

<file path=ppt/theme/theme1.xml><?xml version="1.0" encoding="utf-8"?>
<a:theme xmlns:a="http://schemas.openxmlformats.org/drawingml/2006/main" name="Rhenus_Logistics">
  <a:themeElements>
    <a:clrScheme name="Rhenus">
      <a:dk1>
        <a:srgbClr val="1F1F1F"/>
      </a:dk1>
      <a:lt1>
        <a:sysClr val="window" lastClr="FFFFFF"/>
      </a:lt1>
      <a:dk2>
        <a:srgbClr val="505050"/>
      </a:dk2>
      <a:lt2>
        <a:srgbClr val="85959D"/>
      </a:lt2>
      <a:accent1>
        <a:srgbClr val="CCE0EE"/>
      </a:accent1>
      <a:accent2>
        <a:srgbClr val="00469B"/>
      </a:accent2>
      <a:accent3>
        <a:srgbClr val="CFCFD1"/>
      </a:accent3>
      <a:accent4>
        <a:srgbClr val="6E6E6E"/>
      </a:accent4>
      <a:accent5>
        <a:srgbClr val="F6DD96"/>
      </a:accent5>
      <a:accent6>
        <a:srgbClr val="FABB00"/>
      </a:accent6>
      <a:hlink>
        <a:srgbClr val="00469B"/>
      </a:hlink>
      <a:folHlink>
        <a:srgbClr val="6E6E6E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1F1F1F"/>
            </a:solidFill>
            <a:latin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Rhenus Logistics ENG">
  <a:themeElements>
    <a:clrScheme name="Rhenus">
      <a:dk1>
        <a:srgbClr val="1F1F1F"/>
      </a:dk1>
      <a:lt1>
        <a:sysClr val="window" lastClr="FFFFFF"/>
      </a:lt1>
      <a:dk2>
        <a:srgbClr val="505050"/>
      </a:dk2>
      <a:lt2>
        <a:srgbClr val="85959D"/>
      </a:lt2>
      <a:accent1>
        <a:srgbClr val="CCE0EE"/>
      </a:accent1>
      <a:accent2>
        <a:srgbClr val="00469B"/>
      </a:accent2>
      <a:accent3>
        <a:srgbClr val="CFCFD1"/>
      </a:accent3>
      <a:accent4>
        <a:srgbClr val="6E6E6E"/>
      </a:accent4>
      <a:accent5>
        <a:srgbClr val="F6DD96"/>
      </a:accent5>
      <a:accent6>
        <a:srgbClr val="FABB00"/>
      </a:accent6>
      <a:hlink>
        <a:srgbClr val="00469B"/>
      </a:hlink>
      <a:folHlink>
        <a:srgbClr val="6E6E6E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1F1F1F"/>
            </a:solidFill>
            <a:latin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Rhenus">
      <a:dk1>
        <a:srgbClr val="1F1F1F"/>
      </a:dk1>
      <a:lt1>
        <a:sysClr val="window" lastClr="FFFFFF"/>
      </a:lt1>
      <a:dk2>
        <a:srgbClr val="505050"/>
      </a:dk2>
      <a:lt2>
        <a:srgbClr val="BE0C4A"/>
      </a:lt2>
      <a:accent1>
        <a:srgbClr val="CCE0EE"/>
      </a:accent1>
      <a:accent2>
        <a:srgbClr val="00469B"/>
      </a:accent2>
      <a:accent3>
        <a:srgbClr val="CFCFD1"/>
      </a:accent3>
      <a:accent4>
        <a:srgbClr val="6E6E6E"/>
      </a:accent4>
      <a:accent5>
        <a:srgbClr val="F6DD96"/>
      </a:accent5>
      <a:accent6>
        <a:srgbClr val="FABB00"/>
      </a:accent6>
      <a:hlink>
        <a:srgbClr val="00469B"/>
      </a:hlink>
      <a:folHlink>
        <a:srgbClr val="6E6E6E"/>
      </a:folHlink>
    </a:clrScheme>
    <a:fontScheme name="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Rhenus">
      <a:dk1>
        <a:srgbClr val="1F1F1F"/>
      </a:dk1>
      <a:lt1>
        <a:sysClr val="window" lastClr="FFFFFF"/>
      </a:lt1>
      <a:dk2>
        <a:srgbClr val="505050"/>
      </a:dk2>
      <a:lt2>
        <a:srgbClr val="BE0C4A"/>
      </a:lt2>
      <a:accent1>
        <a:srgbClr val="CCE0EE"/>
      </a:accent1>
      <a:accent2>
        <a:srgbClr val="00469B"/>
      </a:accent2>
      <a:accent3>
        <a:srgbClr val="CFCFD1"/>
      </a:accent3>
      <a:accent4>
        <a:srgbClr val="6E6E6E"/>
      </a:accent4>
      <a:accent5>
        <a:srgbClr val="F6DD96"/>
      </a:accent5>
      <a:accent6>
        <a:srgbClr val="FABB00"/>
      </a:accent6>
      <a:hlink>
        <a:srgbClr val="00469B"/>
      </a:hlink>
      <a:folHlink>
        <a:srgbClr val="6E6E6E"/>
      </a:folHlink>
    </a:clrScheme>
    <a:fontScheme name="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AD94AEB9F6784D9CDD55D1561335E8" ma:contentTypeVersion="3" ma:contentTypeDescription="Een nieuw document maken." ma:contentTypeScope="" ma:versionID="ed87e19a5742782750d72bd5fb174bc3">
  <xsd:schema xmlns:xsd="http://www.w3.org/2001/XMLSchema" xmlns:xs="http://www.w3.org/2001/XMLSchema" xmlns:p="http://schemas.microsoft.com/office/2006/metadata/properties" xmlns:ns3="dd627aa0-7023-4a76-91a0-290f35cbc7d3" targetNamespace="http://schemas.microsoft.com/office/2006/metadata/properties" ma:root="true" ma:fieldsID="ba9ba3d4d239b36b2cc30d350b2f0374" ns3:_="">
    <xsd:import namespace="dd627aa0-7023-4a76-91a0-290f35cbc7d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627aa0-7023-4a76-91a0-290f35cbc7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14BB108-DFC7-4CBE-92EB-17A9D33D37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627aa0-7023-4a76-91a0-290f35cbc7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12FDFB-9870-4557-B7C2-C971F91272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728EA5-0702-4710-A9D3-BD88A50E52BC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dd627aa0-7023-4a76-91a0-290f35cbc7d3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henus Logistics ENG</Template>
  <TotalTime>39</TotalTime>
  <Words>1365</Words>
  <Application>Microsoft Office PowerPoint</Application>
  <PresentationFormat>Произвольный</PresentationFormat>
  <Paragraphs>480</Paragraphs>
  <Slides>19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4" baseType="lpstr">
      <vt:lpstr>Arial</vt:lpstr>
      <vt:lpstr>Calibri</vt:lpstr>
      <vt:lpstr>Wingdings</vt:lpstr>
      <vt:lpstr>Rhenus_Logistics</vt:lpstr>
      <vt:lpstr>1_Rhenus Logistics ENG</vt:lpstr>
      <vt:lpstr>Презентация компании</vt:lpstr>
      <vt:lpstr>крепкая семья: RHENUS В СОСТАВЕ группы компаний </vt:lpstr>
      <vt:lpstr>Мы растем в соответствии с Вашими потребностями: RHENUS в цифрах</vt:lpstr>
      <vt:lpstr>Ris: ГЛОБАЛЬНЫЙ ПОДХОД С ЛОКАЛЬНЫМ АКЦЕНТОМ</vt:lpstr>
      <vt:lpstr>RIS: ФОКУС НА ИНТЕРМОДАЛЬНЫЕ ПЕРЕВОЗКИ</vt:lpstr>
      <vt:lpstr>Мы предоставляем следующие услуги</vt:lpstr>
      <vt:lpstr>Наши маршруты в Россию</vt:lpstr>
      <vt:lpstr>Презентация PowerPoint</vt:lpstr>
      <vt:lpstr>Использование сухопутного моста </vt:lpstr>
      <vt:lpstr>Ваши преимущества</vt:lpstr>
      <vt:lpstr>Интермодальные перевозки</vt:lpstr>
      <vt:lpstr>Контейнеры</vt:lpstr>
      <vt:lpstr>Железнодорожные перевозки</vt:lpstr>
      <vt:lpstr>Морской фрахт</vt:lpstr>
      <vt:lpstr>АВИаперевозки</vt:lpstr>
      <vt:lpstr>Автодорожные перевозки</vt:lpstr>
      <vt:lpstr>Устойчивое развитие окружающей среды</vt:lpstr>
      <vt:lpstr>Корпоративный комплаенс: ключевые принципы нашей работы</vt:lpstr>
      <vt:lpstr>Мы рады ответить  на ваши вопрос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urt Wouters</dc:creator>
  <cp:lastModifiedBy>Alina Murzina</cp:lastModifiedBy>
  <cp:revision>143</cp:revision>
  <cp:lastPrinted>2023-08-17T07:24:47Z</cp:lastPrinted>
  <dcterms:created xsi:type="dcterms:W3CDTF">2017-09-25T12:39:44Z</dcterms:created>
  <dcterms:modified xsi:type="dcterms:W3CDTF">2023-09-11T11:1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AD94AEB9F6784D9CDD55D1561335E8</vt:lpwstr>
  </property>
</Properties>
</file>